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slideLayouts/slideLayout2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7.xml" ContentType="application/vnd.openxmlformats-officedocument.presentationml.notesSlide+xml"/>
  <Override PartName="/ppt/charts/chart1.xml" ContentType="application/vnd.openxmlformats-officedocument.drawingml.chart+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2.xml" ContentType="application/vnd.openxmlformats-officedocument.presentationml.tags+xml"/>
  <Override PartName="/ppt/notesSlides/notesSlide1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820" r:id="rId4"/>
    <p:sldMasterId id="2147483703" r:id="rId5"/>
  </p:sldMasterIdLst>
  <p:notesMasterIdLst>
    <p:notesMasterId r:id="rId45"/>
  </p:notesMasterIdLst>
  <p:sldIdLst>
    <p:sldId id="895" r:id="rId6"/>
    <p:sldId id="308" r:id="rId7"/>
    <p:sldId id="258" r:id="rId8"/>
    <p:sldId id="260" r:id="rId9"/>
    <p:sldId id="257" r:id="rId10"/>
    <p:sldId id="269" r:id="rId11"/>
    <p:sldId id="318" r:id="rId12"/>
    <p:sldId id="310" r:id="rId13"/>
    <p:sldId id="874" r:id="rId14"/>
    <p:sldId id="866" r:id="rId15"/>
    <p:sldId id="309" r:id="rId16"/>
    <p:sldId id="261" r:id="rId17"/>
    <p:sldId id="867" r:id="rId18"/>
    <p:sldId id="270" r:id="rId19"/>
    <p:sldId id="311" r:id="rId20"/>
    <p:sldId id="280" r:id="rId21"/>
    <p:sldId id="279" r:id="rId22"/>
    <p:sldId id="869" r:id="rId23"/>
    <p:sldId id="865" r:id="rId24"/>
    <p:sldId id="312" r:id="rId25"/>
    <p:sldId id="875" r:id="rId26"/>
    <p:sldId id="894" r:id="rId27"/>
    <p:sldId id="317" r:id="rId28"/>
    <p:sldId id="876" r:id="rId29"/>
    <p:sldId id="881" r:id="rId30"/>
    <p:sldId id="883" r:id="rId31"/>
    <p:sldId id="880" r:id="rId32"/>
    <p:sldId id="884" r:id="rId33"/>
    <p:sldId id="885" r:id="rId34"/>
    <p:sldId id="886" r:id="rId35"/>
    <p:sldId id="877" r:id="rId36"/>
    <p:sldId id="890" r:id="rId37"/>
    <p:sldId id="891" r:id="rId38"/>
    <p:sldId id="888" r:id="rId39"/>
    <p:sldId id="889" r:id="rId40"/>
    <p:sldId id="887" r:id="rId41"/>
    <p:sldId id="878" r:id="rId42"/>
    <p:sldId id="879" r:id="rId43"/>
    <p:sldId id="892" r:id="rId44"/>
  </p:sldIdLst>
  <p:sldSz cx="9144000" cy="5143500" type="screen16x9"/>
  <p:notesSz cx="6858000" cy="9144000"/>
  <p:custDataLst>
    <p:tags r:id="rId46"/>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Slide" id="{5ED001EA-395B-4521-BD5A-97A92E10EBEC}">
          <p14:sldIdLst>
            <p14:sldId id="895"/>
          </p14:sldIdLst>
        </p14:section>
        <p14:section name="Team Intro / Agenda" id="{8119B7EB-258F-47F2-A12F-43CDFB7CD9B6}">
          <p14:sldIdLst>
            <p14:sldId id="308"/>
            <p14:sldId id="258"/>
          </p14:sldIdLst>
        </p14:section>
        <p14:section name="Intro/Background" id="{893491AC-EC7D-48F9-8EE8-E33BC8F4B54B}">
          <p14:sldIdLst>
            <p14:sldId id="260"/>
            <p14:sldId id="257"/>
            <p14:sldId id="269"/>
            <p14:sldId id="318"/>
          </p14:sldIdLst>
        </p14:section>
        <p14:section name="EDA Overview" id="{7031C284-F5AC-41DE-9978-74AEF4A8A94C}">
          <p14:sldIdLst>
            <p14:sldId id="310"/>
            <p14:sldId id="874"/>
            <p14:sldId id="866"/>
          </p14:sldIdLst>
        </p14:section>
        <p14:section name="Modelling Approach" id="{27FBEEAD-1411-44E4-B2DA-D8FD37FD7C1F}">
          <p14:sldIdLst>
            <p14:sldId id="309"/>
            <p14:sldId id="261"/>
            <p14:sldId id="867"/>
            <p14:sldId id="270"/>
          </p14:sldIdLst>
        </p14:section>
        <p14:section name="Customer Seg." id="{B3E4C997-3046-43C6-B51C-1C87BB48BF01}">
          <p14:sldIdLst>
            <p14:sldId id="311"/>
            <p14:sldId id="280"/>
            <p14:sldId id="279"/>
            <p14:sldId id="869"/>
          </p14:sldIdLst>
        </p14:section>
        <p14:section name="ML Process Overview" id="{21EAC81C-F83F-449F-85D2-DBB62283A068}">
          <p14:sldIdLst>
            <p14:sldId id="865"/>
          </p14:sldIdLst>
        </p14:section>
        <p14:section name="Marketing Strategies" id="{A66EA8FC-4E25-404F-9E7A-ADC0C3E5533F}">
          <p14:sldIdLst>
            <p14:sldId id="312"/>
            <p14:sldId id="875"/>
            <p14:sldId id="894"/>
            <p14:sldId id="317"/>
            <p14:sldId id="876"/>
            <p14:sldId id="881"/>
            <p14:sldId id="883"/>
            <p14:sldId id="880"/>
            <p14:sldId id="884"/>
            <p14:sldId id="885"/>
            <p14:sldId id="886"/>
            <p14:sldId id="877"/>
            <p14:sldId id="890"/>
            <p14:sldId id="891"/>
            <p14:sldId id="888"/>
            <p14:sldId id="889"/>
            <p14:sldId id="887"/>
            <p14:sldId id="878"/>
            <p14:sldId id="879"/>
            <p14:sldId id="892"/>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81818"/>
    <a:srgbClr val="FDC342"/>
    <a:srgbClr val="699FBE"/>
    <a:srgbClr val="00F0F6"/>
    <a:srgbClr val="00BFC4"/>
    <a:srgbClr val="D00242"/>
    <a:srgbClr val="18E1E6"/>
    <a:srgbClr val="660066"/>
    <a:srgbClr val="18F9FF"/>
    <a:srgbClr val="FF33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805E13C-BD23-77A8-0F9A-B59EC4185F51}" v="17" vWet="30" dt="2023-12-07T01:09:23.261"/>
    <p1510:client id="{18B43093-9BA5-B13F-C169-CF321638AA76}" v="622" dt="2023-12-06T02:21:26.135"/>
    <p1510:client id="{77B59678-B034-496C-900F-CA978DE1EB22}" v="291" dt="2023-12-06T19:50:04.236"/>
    <p1510:client id="{8A834BB1-7BE2-4917-BD19-0B43FC38E3F1}" v="74" dt="2023-12-06T20:45:38.358"/>
    <p1510:client id="{9573EE78-C52A-0991-FE79-F6FC932F5670}" v="76" dt="2023-12-06T20:28:03.098"/>
    <p1510:client id="{9BF3D32B-5D56-4ECD-8142-593E51F8010D}" v="17" dt="2023-12-06T21:18:38.408"/>
    <p1510:client id="{A0764BDA-E809-5042-78D0-6699C2E69358}" v="9" dt="2023-12-06T20:29:12.920"/>
    <p1510:client id="{A46FE153-DBDF-442B-B15B-2E5D6C2EA3A2}" v="8003" vWet="8005" dt="2023-12-07T01:14:13.183"/>
    <p1510:client id="{D164627D-7D2A-4D70-B6AE-D17D467E90BC}" v="5231" dt="2023-12-06T02:41:01.595"/>
    <p1510:client id="{DE8640C8-25F9-47B4-86B4-83AA5834E384}" v="423" vWet="425" dt="2023-12-06T22:57:08.161"/>
    <p1510:client id="{F22B88E4-60B4-4627-8FD5-4DAD619BC682}" v="7817" vWet="7819" dt="2023-12-06T23:40:25.180"/>
  </p1510:revLst>
</p1510:revInfo>
</file>

<file path=ppt/tableStyles.xml><?xml version="1.0" encoding="utf-8"?>
<a:tblStyleLst xmlns:a="http://schemas.openxmlformats.org/drawingml/2006/main" def="{6BA33E1A-2E7D-4324-B998-0E850DA1E6A2}">
  <a:tblStyle styleId="{6BA33E1A-2E7D-4324-B998-0E850DA1E6A2}"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69C7853C-536D-4A76-A0AE-DD22124D55A5}" styleName="Stile con tema 1 - Colore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D113A9D2-9D6B-4929-AA2D-F23B5EE8CBE7}" styleName="Stile con tema 2 - Colore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C2FFA5D-87B4-456A-9821-1D502468CF0F}" styleName="Stile con tema 1 - Colore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7" d="100"/>
          <a:sy n="107" d="100"/>
        </p:scale>
        <p:origin x="754" y="8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viewProps" Target="viewProps.xml"/><Relationship Id="rId8" Type="http://schemas.openxmlformats.org/officeDocument/2006/relationships/slide" Target="slides/slide3.xml"/><Relationship Id="rId51"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0324825986078884E-2"/>
          <c:y val="0.12213359920239282"/>
          <c:w val="0.87935034802784218"/>
          <c:h val="0.75573280159521439"/>
        </c:manualLayout>
      </c:layout>
      <c:pieChart>
        <c:varyColors val="0"/>
        <c:ser>
          <c:idx val="0"/>
          <c:order val="0"/>
          <c:dPt>
            <c:idx val="0"/>
            <c:bubble3D val="0"/>
            <c:spPr>
              <a:solidFill>
                <a:schemeClr val="accent1"/>
              </a:solidFill>
              <a:ln>
                <a:noFill/>
              </a:ln>
            </c:spPr>
            <c:extLst>
              <c:ext xmlns:c16="http://schemas.microsoft.com/office/drawing/2014/chart" uri="{C3380CC4-5D6E-409C-BE32-E72D297353CC}">
                <c16:uniqueId val="{00000000-730A-49F5-AF9C-4FF515C55DE1}"/>
              </c:ext>
            </c:extLst>
          </c:dPt>
          <c:dPt>
            <c:idx val="1"/>
            <c:bubble3D val="0"/>
            <c:spPr>
              <a:solidFill>
                <a:srgbClr val="F82C18"/>
              </a:solidFill>
              <a:ln>
                <a:noFill/>
              </a:ln>
            </c:spPr>
            <c:extLst>
              <c:ext xmlns:c16="http://schemas.microsoft.com/office/drawing/2014/chart" uri="{C3380CC4-5D6E-409C-BE32-E72D297353CC}">
                <c16:uniqueId val="{00000001-730A-49F5-AF9C-4FF515C55DE1}"/>
              </c:ext>
            </c:extLst>
          </c:dPt>
          <c:dLbls>
            <c:dLbl>
              <c:idx val="0"/>
              <c:layout>
                <c:manualLayout>
                  <c:x val="0.11890951276102088"/>
                  <c:y val="-4.9351944167497511E-2"/>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30A-49F5-AF9C-4FF515C55DE1}"/>
                </c:ext>
              </c:extLst>
            </c:dLbl>
            <c:dLbl>
              <c:idx val="1"/>
              <c:layout>
                <c:manualLayout>
                  <c:x val="-0.11948955916473318"/>
                  <c:y val="5.6331006979062813E-2"/>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30A-49F5-AF9C-4FF515C55DE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2</c:f>
              <c:numCache>
                <c:formatCode>General</c:formatCode>
                <c:ptCount val="2"/>
                <c:pt idx="0">
                  <c:v>15.474452554744525</c:v>
                </c:pt>
                <c:pt idx="1">
                  <c:v>84.525547445255484</c:v>
                </c:pt>
              </c:numCache>
            </c:numRef>
          </c:val>
          <c:extLst>
            <c:ext xmlns:c16="http://schemas.microsoft.com/office/drawing/2014/chart" uri="{C3380CC4-5D6E-409C-BE32-E72D297353CC}">
              <c16:uniqueId val="{00000002-730A-49F5-AF9C-4FF515C55DE1}"/>
            </c:ext>
          </c:extLst>
        </c:ser>
        <c:dLbls>
          <c:showLegendKey val="0"/>
          <c:showVal val="0"/>
          <c:showCatName val="0"/>
          <c:showSerName val="0"/>
          <c:showPercent val="0"/>
          <c:showBubbleSize val="0"/>
          <c:showLeaderLines val="1"/>
        </c:dLbls>
        <c:firstSliceAng val="34"/>
      </c:pieChart>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a:t>Visitors</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3-EBC0-4413-9393-1710D46DD501}"/>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2-EBC0-4413-9393-1710D46DD501}"/>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EBC0-4413-9393-1710D46DD501}"/>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4-EBC0-4413-9393-1710D46DD501}"/>
              </c:ext>
            </c:extLst>
          </c:dPt>
          <c:dLbls>
            <c:dLbl>
              <c:idx val="0"/>
              <c:layout>
                <c:manualLayout>
                  <c:x val="-7.309630550540043E-2"/>
                  <c:y val="9.2541845569401551E-2"/>
                </c:manualLayout>
              </c:layout>
              <c:tx>
                <c:rich>
                  <a:bodyPr/>
                  <a:lstStyle/>
                  <a:p>
                    <a:r>
                      <a:rPr lang="en-US"/>
                      <a:t>1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BC0-4413-9393-1710D46DD501}"/>
                </c:ext>
              </c:extLst>
            </c:dLbl>
            <c:dLbl>
              <c:idx val="1"/>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BC0-4413-9393-1710D46DD501}"/>
                </c:ext>
              </c:extLst>
            </c:dLbl>
            <c:dLbl>
              <c:idx val="2"/>
              <c:tx>
                <c:rich>
                  <a:bodyPr/>
                  <a:lstStyle/>
                  <a:p>
                    <a:fld id="{8F614E0A-CCC8-436C-8391-39272AE196B8}" type="VALUE">
                      <a:rPr lang="en-US" smtClean="0"/>
                      <a:pPr/>
                      <a:t>[VALUE]</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EBC0-4413-9393-1710D46DD501}"/>
                </c:ext>
              </c:extLst>
            </c:dLbl>
            <c:dLbl>
              <c:idx val="3"/>
              <c:tx>
                <c:rich>
                  <a:bodyPr/>
                  <a:lstStyle/>
                  <a:p>
                    <a:r>
                      <a:rPr lang="en-US"/>
                      <a:t>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BC0-4413-9393-1710D46DD501}"/>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Loyal Shoppers</c:v>
                </c:pt>
                <c:pt idx="1">
                  <c:v>Confused Shoppers</c:v>
                </c:pt>
                <c:pt idx="2">
                  <c:v>Deal Seekers</c:v>
                </c:pt>
                <c:pt idx="3">
                  <c:v>Bouncers</c:v>
                </c:pt>
              </c:strCache>
            </c:strRef>
          </c:cat>
          <c:val>
            <c:numRef>
              <c:f>Sheet1!$B$2:$B$5</c:f>
              <c:numCache>
                <c:formatCode>General</c:formatCode>
                <c:ptCount val="4"/>
                <c:pt idx="0">
                  <c:v>13.5</c:v>
                </c:pt>
                <c:pt idx="1">
                  <c:v>10.5</c:v>
                </c:pt>
                <c:pt idx="2">
                  <c:v>68</c:v>
                </c:pt>
                <c:pt idx="3">
                  <c:v>8</c:v>
                </c:pt>
              </c:numCache>
            </c:numRef>
          </c:val>
          <c:extLst>
            <c:ext xmlns:c16="http://schemas.microsoft.com/office/drawing/2014/chart" uri="{C3380CC4-5D6E-409C-BE32-E72D297353CC}">
              <c16:uniqueId val="{00000000-EBC0-4413-9393-1710D46DD501}"/>
            </c:ext>
          </c:extLst>
        </c:ser>
        <c:ser>
          <c:idx val="1"/>
          <c:order val="1"/>
          <c:tx>
            <c:strRef>
              <c:f>Sheet1!$C$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9-037D-4A32-91D9-9AD486445AFC}"/>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B-037D-4A32-91D9-9AD486445AFC}"/>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D-037D-4A32-91D9-9AD486445AFC}"/>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F-037D-4A32-91D9-9AD486445AFC}"/>
              </c:ext>
            </c:extLst>
          </c:dPt>
          <c:cat>
            <c:strRef>
              <c:f>Sheet1!$A$2:$A$5</c:f>
              <c:strCache>
                <c:ptCount val="4"/>
                <c:pt idx="0">
                  <c:v>Loyal Shoppers</c:v>
                </c:pt>
                <c:pt idx="1">
                  <c:v>Confused Shoppers</c:v>
                </c:pt>
                <c:pt idx="2">
                  <c:v>Deal Seekers</c:v>
                </c:pt>
                <c:pt idx="3">
                  <c:v>Bouncers</c:v>
                </c:pt>
              </c:strCache>
            </c:strRef>
          </c:cat>
          <c:val>
            <c:numRef>
              <c:f>Sheet1!$C$2:$C$5</c:f>
              <c:numCache>
                <c:formatCode>General</c:formatCode>
                <c:ptCount val="4"/>
              </c:numCache>
            </c:numRef>
          </c:val>
          <c:extLst>
            <c:ext xmlns:c16="http://schemas.microsoft.com/office/drawing/2014/chart" uri="{C3380CC4-5D6E-409C-BE32-E72D297353CC}">
              <c16:uniqueId val="{00000001-EBC0-4413-9393-1710D46DD501}"/>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a:t>Transaction</a:t>
            </a:r>
            <a:r>
              <a:rPr lang="en-US" baseline="0"/>
              <a:t> Breakdown</a:t>
            </a:r>
            <a:endParaRPr lang="en-US"/>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8204-4FE5-87CB-D75C9CB38D09}"/>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8204-4FE5-87CB-D75C9CB38D09}"/>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8204-4FE5-87CB-D75C9CB38D09}"/>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8204-4FE5-87CB-D75C9CB38D09}"/>
              </c:ext>
            </c:extLst>
          </c:dPt>
          <c:dLbls>
            <c:dLbl>
              <c:idx val="0"/>
              <c:tx>
                <c:rich>
                  <a:bodyPr/>
                  <a:lstStyle/>
                  <a:p>
                    <a:r>
                      <a:rPr lang="en-US"/>
                      <a:t>84.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204-4FE5-87CB-D75C9CB38D09}"/>
                </c:ext>
              </c:extLst>
            </c:dLbl>
            <c:dLbl>
              <c:idx val="1"/>
              <c:tx>
                <c:rich>
                  <a:bodyPr/>
                  <a:lstStyle/>
                  <a:p>
                    <a:fld id="{FE074355-F536-4896-8772-30A87240C309}" type="VALUE">
                      <a:rPr lang="en-US" smtClean="0"/>
                      <a:pPr/>
                      <a:t>[VALUE]</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8204-4FE5-87CB-D75C9CB38D09}"/>
                </c:ext>
              </c:extLst>
            </c:dLbl>
            <c:dLbl>
              <c:idx val="2"/>
              <c:tx>
                <c:rich>
                  <a:bodyPr/>
                  <a:lstStyle/>
                  <a:p>
                    <a:fld id="{BE956991-4AED-4E11-9F96-8228E3ADFFE7}" type="VALUE">
                      <a:rPr lang="en-US" smtClean="0"/>
                      <a:pPr/>
                      <a:t>[VALUE]</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8204-4FE5-87CB-D75C9CB38D09}"/>
                </c:ext>
              </c:extLst>
            </c:dLbl>
            <c:dLbl>
              <c:idx val="3"/>
              <c:tx>
                <c:rich>
                  <a:bodyPr/>
                  <a:lstStyle/>
                  <a:p>
                    <a:r>
                      <a:rPr lang="en-US"/>
                      <a:t>0.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204-4FE5-87CB-D75C9CB38D09}"/>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Loyal Shoppers</c:v>
                </c:pt>
                <c:pt idx="1">
                  <c:v>Confused Shoppers</c:v>
                </c:pt>
                <c:pt idx="2">
                  <c:v>Deal Seekers</c:v>
                </c:pt>
                <c:pt idx="3">
                  <c:v>Bouncers</c:v>
                </c:pt>
              </c:strCache>
            </c:strRef>
          </c:cat>
          <c:val>
            <c:numRef>
              <c:f>Sheet1!$B$2:$B$5</c:f>
              <c:numCache>
                <c:formatCode>General</c:formatCode>
                <c:ptCount val="4"/>
                <c:pt idx="0">
                  <c:v>84.6</c:v>
                </c:pt>
                <c:pt idx="1">
                  <c:v>15</c:v>
                </c:pt>
                <c:pt idx="2">
                  <c:v>0</c:v>
                </c:pt>
                <c:pt idx="3">
                  <c:v>0.4</c:v>
                </c:pt>
              </c:numCache>
            </c:numRef>
          </c:val>
          <c:extLst>
            <c:ext xmlns:c16="http://schemas.microsoft.com/office/drawing/2014/chart" uri="{C3380CC4-5D6E-409C-BE32-E72D297353CC}">
              <c16:uniqueId val="{00000008-8204-4FE5-87CB-D75C9CB38D09}"/>
            </c:ext>
          </c:extLst>
        </c:ser>
        <c:ser>
          <c:idx val="1"/>
          <c:order val="1"/>
          <c:tx>
            <c:strRef>
              <c:f>Sheet1!$C$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A-8204-4FE5-87CB-D75C9CB38D09}"/>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C-8204-4FE5-87CB-D75C9CB38D09}"/>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E-8204-4FE5-87CB-D75C9CB38D09}"/>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10-8204-4FE5-87CB-D75C9CB38D09}"/>
              </c:ext>
            </c:extLst>
          </c:dPt>
          <c:cat>
            <c:strRef>
              <c:f>Sheet1!$A$2:$A$5</c:f>
              <c:strCache>
                <c:ptCount val="4"/>
                <c:pt idx="0">
                  <c:v>Loyal Shoppers</c:v>
                </c:pt>
                <c:pt idx="1">
                  <c:v>Confused Shoppers</c:v>
                </c:pt>
                <c:pt idx="2">
                  <c:v>Deal Seekers</c:v>
                </c:pt>
                <c:pt idx="3">
                  <c:v>Bouncers</c:v>
                </c:pt>
              </c:strCache>
            </c:strRef>
          </c:cat>
          <c:val>
            <c:numRef>
              <c:f>Sheet1!$C$2:$C$5</c:f>
              <c:numCache>
                <c:formatCode>General</c:formatCode>
                <c:ptCount val="4"/>
                <c:pt idx="0">
                  <c:v>100</c:v>
                </c:pt>
                <c:pt idx="1">
                  <c:v>100</c:v>
                </c:pt>
                <c:pt idx="2">
                  <c:v>100</c:v>
                </c:pt>
                <c:pt idx="3">
                  <c:v>100</c:v>
                </c:pt>
              </c:numCache>
            </c:numRef>
          </c:val>
          <c:extLst>
            <c:ext xmlns:c16="http://schemas.microsoft.com/office/drawing/2014/chart" uri="{C3380CC4-5D6E-409C-BE32-E72D297353CC}">
              <c16:uniqueId val="{00000011-8204-4FE5-87CB-D75C9CB38D09}"/>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9"/>
        <p:cNvGrpSpPr/>
        <p:nvPr/>
      </p:nvGrpSpPr>
      <p:grpSpPr>
        <a:xfrm>
          <a:off x="0" y="0"/>
          <a:ext cx="0" cy="0"/>
          <a:chOff x="0" y="0"/>
          <a:chExt cx="0" cy="0"/>
        </a:xfrm>
      </p:grpSpPr>
      <p:sp>
        <p:nvSpPr>
          <p:cNvPr id="300" name="Google Shape;300;ga6a9e8cae7_0_42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01" name="Google Shape;301;ga6a9e8cae7_0_42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CA"/>
              <a:t>●To develop the machine learning model we initially started with selecting the relevant models such as </a:t>
            </a:r>
            <a:r>
              <a:rPr lang="en-CA" err="1"/>
              <a:t>Logisitc</a:t>
            </a:r>
            <a:r>
              <a:rPr lang="en-CA"/>
              <a:t> Regression, K nearest neighbour and Decision tree Analysis. From there we run the models using all the data variables, and then from determining the important variables we reduce the data and re-run the model. Once we have our reduced models we then apply the best threshold to accurately separate the data however due to the low threshold values to apply a business threshold that balances the approach to accurately predicting customers.</a:t>
            </a:r>
            <a:endParaRPr lang="en-US"/>
          </a:p>
          <a:p>
            <a:endParaRPr lang="en-CA"/>
          </a:p>
        </p:txBody>
      </p:sp>
    </p:spTree>
    <p:extLst>
      <p:ext uri="{BB962C8B-B14F-4D97-AF65-F5344CB8AC3E}">
        <p14:creationId xmlns:p14="http://schemas.microsoft.com/office/powerpoint/2010/main" val="39885211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86"/>
        <p:cNvGrpSpPr/>
        <p:nvPr/>
      </p:nvGrpSpPr>
      <p:grpSpPr>
        <a:xfrm>
          <a:off x="0" y="0"/>
          <a:ext cx="0" cy="0"/>
          <a:chOff x="0" y="0"/>
          <a:chExt cx="0" cy="0"/>
        </a:xfrm>
      </p:grpSpPr>
      <p:sp>
        <p:nvSpPr>
          <p:cNvPr id="987" name="Google Shape;987;ga6a9e8cae7_0_30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88" name="Google Shape;988;ga6a9e8cae7_0_30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a:buNone/>
            </a:pPr>
            <a:r>
              <a:rPr lang="en-CA"/>
              <a:t>For our chosen model the business threshold decision tree model we utilize 7 variables or levels in this case to develop the model. With these variables we produce a model that is able to predict customers 88.4% of the time, therefore 88 out of 100 customers can be accurately predict their transaction behaviour. For No Transaction customers we were able to predict with very high accuracy vs the Customers that did complete transactions which we have a balanced model accuracy. We recommend to retrain this model semi-annually to continuously update and improve our accuracy.</a:t>
            </a:r>
            <a:endParaRPr lang="en-US"/>
          </a:p>
          <a:p>
            <a:pPr marL="0" lvl="0" indent="0" algn="l">
              <a:spcBef>
                <a:spcPts val="0"/>
              </a:spcBef>
              <a:spcAft>
                <a:spcPts val="0"/>
              </a:spcAft>
              <a:buNone/>
            </a:pPr>
            <a:endParaRPr lang="en-CA"/>
          </a:p>
        </p:txBody>
      </p:sp>
    </p:spTree>
    <p:extLst>
      <p:ext uri="{BB962C8B-B14F-4D97-AF65-F5344CB8AC3E}">
        <p14:creationId xmlns:p14="http://schemas.microsoft.com/office/powerpoint/2010/main" val="6504519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0"/>
        <p:cNvGrpSpPr/>
        <p:nvPr/>
      </p:nvGrpSpPr>
      <p:grpSpPr>
        <a:xfrm>
          <a:off x="0" y="0"/>
          <a:ext cx="0" cy="0"/>
          <a:chOff x="0" y="0"/>
          <a:chExt cx="0" cy="0"/>
        </a:xfrm>
      </p:grpSpPr>
      <p:sp>
        <p:nvSpPr>
          <p:cNvPr id="401" name="Google Shape;401;ga6a9e8cae7_0_43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02" name="Google Shape;402;ga6a9e8cae7_0_43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8267627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39"/>
        <p:cNvGrpSpPr/>
        <p:nvPr/>
      </p:nvGrpSpPr>
      <p:grpSpPr>
        <a:xfrm>
          <a:off x="0" y="0"/>
          <a:ext cx="0" cy="0"/>
          <a:chOff x="0" y="0"/>
          <a:chExt cx="0" cy="0"/>
        </a:xfrm>
      </p:grpSpPr>
      <p:sp>
        <p:nvSpPr>
          <p:cNvPr id="1640" name="Google Shape;1640;ga6a9e8cae7_0_45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41" name="Google Shape;1641;ga6a9e8cae7_0_45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CA"/>
              <a:t>In customer segmentation process, we want to group customers with similar behaviour in to one segment. So, we can target similar customer through marketing strategy and.  We trained a segmentation model to group your customers in to 4 groups. Now, this model can put customer in one of these groups based on its similarity. Now, let’s look at 4 customer segments which have been.</a:t>
            </a:r>
            <a:endParaRPr/>
          </a:p>
        </p:txBody>
      </p:sp>
    </p:spTree>
    <p:extLst>
      <p:ext uri="{BB962C8B-B14F-4D97-AF65-F5344CB8AC3E}">
        <p14:creationId xmlns:p14="http://schemas.microsoft.com/office/powerpoint/2010/main" val="19258536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97"/>
        <p:cNvGrpSpPr/>
        <p:nvPr/>
      </p:nvGrpSpPr>
      <p:grpSpPr>
        <a:xfrm>
          <a:off x="0" y="0"/>
          <a:ext cx="0" cy="0"/>
          <a:chOff x="0" y="0"/>
          <a:chExt cx="0" cy="0"/>
        </a:xfrm>
      </p:grpSpPr>
      <p:sp>
        <p:nvSpPr>
          <p:cNvPr id="1598" name="Google Shape;1598;ga6a9e8cae7_0_13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99" name="Google Shape;1599;ga6a9e8cae7_0_13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6308299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39"/>
        <p:cNvGrpSpPr/>
        <p:nvPr/>
      </p:nvGrpSpPr>
      <p:grpSpPr>
        <a:xfrm>
          <a:off x="0" y="0"/>
          <a:ext cx="0" cy="0"/>
          <a:chOff x="0" y="0"/>
          <a:chExt cx="0" cy="0"/>
        </a:xfrm>
      </p:grpSpPr>
      <p:sp>
        <p:nvSpPr>
          <p:cNvPr id="1640" name="Google Shape;1640;ga6a9e8cae7_0_45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41" name="Google Shape;1641;ga6a9e8cae7_0_45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1033669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5"/>
        <p:cNvGrpSpPr/>
        <p:nvPr/>
      </p:nvGrpSpPr>
      <p:grpSpPr>
        <a:xfrm>
          <a:off x="0" y="0"/>
          <a:ext cx="0" cy="0"/>
          <a:chOff x="0" y="0"/>
          <a:chExt cx="0" cy="0"/>
        </a:xfrm>
      </p:grpSpPr>
      <p:sp>
        <p:nvSpPr>
          <p:cNvPr id="856" name="Google Shape;856;ga6a9e8cae7_0_43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57" name="Google Shape;857;ga6a9e8cae7_0_43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996885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7"/>
        <p:cNvGrpSpPr/>
        <p:nvPr/>
      </p:nvGrpSpPr>
      <p:grpSpPr>
        <a:xfrm>
          <a:off x="0" y="0"/>
          <a:ext cx="0" cy="0"/>
          <a:chOff x="0" y="0"/>
          <a:chExt cx="0" cy="0"/>
        </a:xfrm>
      </p:grpSpPr>
      <p:sp>
        <p:nvSpPr>
          <p:cNvPr id="1008" name="Google Shape;1008;ga6a9e8cae7_0_1689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09" name="Google Shape;1009;ga6a9e8cae7_0_1689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8334146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7"/>
        <p:cNvGrpSpPr/>
        <p:nvPr/>
      </p:nvGrpSpPr>
      <p:grpSpPr>
        <a:xfrm>
          <a:off x="0" y="0"/>
          <a:ext cx="0" cy="0"/>
          <a:chOff x="0" y="0"/>
          <a:chExt cx="0" cy="0"/>
        </a:xfrm>
      </p:grpSpPr>
      <p:sp>
        <p:nvSpPr>
          <p:cNvPr id="1008" name="Google Shape;1008;ga6a9e8cae7_0_1689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09" name="Google Shape;1009;ga6a9e8cae7_0_1689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5018433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0"/>
        <p:cNvGrpSpPr/>
        <p:nvPr/>
      </p:nvGrpSpPr>
      <p:grpSpPr>
        <a:xfrm>
          <a:off x="0" y="0"/>
          <a:ext cx="0" cy="0"/>
          <a:chOff x="0" y="0"/>
          <a:chExt cx="0" cy="0"/>
        </a:xfrm>
      </p:grpSpPr>
      <p:sp>
        <p:nvSpPr>
          <p:cNvPr id="401" name="Google Shape;401;ga6a9e8cae7_0_43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02" name="Google Shape;402;ga6a9e8cae7_0_43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3"/>
        <p:cNvGrpSpPr/>
        <p:nvPr/>
      </p:nvGrpSpPr>
      <p:grpSpPr>
        <a:xfrm>
          <a:off x="0" y="0"/>
          <a:ext cx="0" cy="0"/>
          <a:chOff x="0" y="0"/>
          <a:chExt cx="0" cy="0"/>
        </a:xfrm>
      </p:grpSpPr>
      <p:sp>
        <p:nvSpPr>
          <p:cNvPr id="294" name="Google Shape;294;ga6a9e8cae7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95" name="Google Shape;295;ga6a9e8cae7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5"/>
        <p:cNvGrpSpPr/>
        <p:nvPr/>
      </p:nvGrpSpPr>
      <p:grpSpPr>
        <a:xfrm>
          <a:off x="0" y="0"/>
          <a:ext cx="0" cy="0"/>
          <a:chOff x="0" y="0"/>
          <a:chExt cx="0" cy="0"/>
        </a:xfrm>
      </p:grpSpPr>
      <p:sp>
        <p:nvSpPr>
          <p:cNvPr id="856" name="Google Shape;856;ga6a9e8cae7_0_43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57" name="Google Shape;857;ga6a9e8cae7_0_43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0"/>
        <p:cNvGrpSpPr/>
        <p:nvPr/>
      </p:nvGrpSpPr>
      <p:grpSpPr>
        <a:xfrm>
          <a:off x="0" y="0"/>
          <a:ext cx="0" cy="0"/>
          <a:chOff x="0" y="0"/>
          <a:chExt cx="0" cy="0"/>
        </a:xfrm>
      </p:grpSpPr>
      <p:sp>
        <p:nvSpPr>
          <p:cNvPr id="401" name="Google Shape;401;ga6a9e8cae7_0_43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02" name="Google Shape;402;ga6a9e8cae7_0_43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0872550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73"/>
        <p:cNvGrpSpPr/>
        <p:nvPr/>
      </p:nvGrpSpPr>
      <p:grpSpPr>
        <a:xfrm>
          <a:off x="0" y="0"/>
          <a:ext cx="0" cy="0"/>
          <a:chOff x="0" y="0"/>
          <a:chExt cx="0" cy="0"/>
        </a:xfrm>
      </p:grpSpPr>
      <p:sp>
        <p:nvSpPr>
          <p:cNvPr id="1874" name="Google Shape;1874;g9951f3b26d_0_88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75" name="Google Shape;1875;g9951f3b26d_0_88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2427502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86"/>
        <p:cNvGrpSpPr/>
        <p:nvPr/>
      </p:nvGrpSpPr>
      <p:grpSpPr>
        <a:xfrm>
          <a:off x="0" y="0"/>
          <a:ext cx="0" cy="0"/>
          <a:chOff x="0" y="0"/>
          <a:chExt cx="0" cy="0"/>
        </a:xfrm>
      </p:grpSpPr>
      <p:sp>
        <p:nvSpPr>
          <p:cNvPr id="1887" name="Google Shape;1887;ga6a9e8cae7_0_1688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88" name="Google Shape;1888;ga6a9e8cae7_0_1688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4452792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5"/>
        <p:cNvGrpSpPr/>
        <p:nvPr/>
      </p:nvGrpSpPr>
      <p:grpSpPr>
        <a:xfrm>
          <a:off x="0" y="0"/>
          <a:ext cx="0" cy="0"/>
          <a:chOff x="0" y="0"/>
          <a:chExt cx="0" cy="0"/>
        </a:xfrm>
      </p:grpSpPr>
      <p:sp>
        <p:nvSpPr>
          <p:cNvPr id="856" name="Google Shape;856;ga6a9e8cae7_0_43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57" name="Google Shape;857;ga6a9e8cae7_0_43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a:buNone/>
            </a:pPr>
            <a:r>
              <a:rPr lang="en-US"/>
              <a:t>Thank you Dario – I would now like to introduce you how we modelled your customers and plan to predict the future customers</a:t>
            </a:r>
          </a:p>
          <a:p>
            <a:pPr marL="0" lvl="0" indent="0" algn="l">
              <a:spcBef>
                <a:spcPts val="0"/>
              </a:spcBef>
              <a:spcAft>
                <a:spcPts val="0"/>
              </a:spcAft>
              <a:buNone/>
            </a:pPr>
            <a:endParaRPr lang="en-US"/>
          </a:p>
        </p:txBody>
      </p:sp>
    </p:spTree>
    <p:extLst>
      <p:ext uri="{BB962C8B-B14F-4D97-AF65-F5344CB8AC3E}">
        <p14:creationId xmlns:p14="http://schemas.microsoft.com/office/powerpoint/2010/main" val="17536698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1"/>
        <p:cNvGrpSpPr/>
        <p:nvPr/>
      </p:nvGrpSpPr>
      <p:grpSpPr>
        <a:xfrm>
          <a:off x="0" y="0"/>
          <a:ext cx="0" cy="0"/>
          <a:chOff x="0" y="0"/>
          <a:chExt cx="0" cy="0"/>
        </a:xfrm>
      </p:grpSpPr>
      <p:sp>
        <p:nvSpPr>
          <p:cNvPr id="492" name="Google Shape;492;ga631c3065b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93" name="Google Shape;493;ga631c3065b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a:buNone/>
            </a:pPr>
            <a:r>
              <a:rPr lang="en-US"/>
              <a:t>To aid in modelling your customers we want to first introduce you to the Data Analysis Process. The 1st Process is the collect data and metrics from the website and its users – which you have so kindly provided. The next step is to clean the data which is basically preparing the data to make it usable to analyze. Once the data is cleaned we will move to variable analysis where we compare 2 variables at a time to determine correlations and from there we will start developing data models to trying and develop a model that can accurately predict future customer </a:t>
            </a:r>
            <a:r>
              <a:rPr lang="en-US" err="1"/>
              <a:t>behaviours</a:t>
            </a:r>
            <a:r>
              <a:rPr lang="en-US"/>
              <a:t>. Once the model has been developed we can split into categorical analysis to see how the </a:t>
            </a:r>
            <a:r>
              <a:rPr lang="en-US" err="1"/>
              <a:t>behaviours</a:t>
            </a:r>
            <a:r>
              <a:rPr lang="en-US"/>
              <a:t> can further be summarized. The final step is to develop machine learning models to help develop future insights for new customer data.</a:t>
            </a:r>
          </a:p>
          <a:p>
            <a:pPr marL="0" lvl="0" indent="0" algn="l">
              <a:spcBef>
                <a:spcPts val="0"/>
              </a:spcBef>
              <a:spcAft>
                <a:spcPts val="0"/>
              </a:spcAft>
              <a:buNone/>
            </a:pPr>
            <a:endParaRPr lang="en-US"/>
          </a:p>
        </p:txBody>
      </p:sp>
    </p:spTree>
    <p:extLst>
      <p:ext uri="{BB962C8B-B14F-4D97-AF65-F5344CB8AC3E}">
        <p14:creationId xmlns:p14="http://schemas.microsoft.com/office/powerpoint/2010/main" val="4238906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96452" y="841772"/>
            <a:ext cx="6751097" cy="1790700"/>
          </a:xfrm>
        </p:spPr>
        <p:txBody>
          <a:bodyPr anchor="b">
            <a:normAutofit/>
          </a:bodyPr>
          <a:lstStyle>
            <a:lvl1pPr algn="ctr">
              <a:defRPr sz="3600"/>
            </a:lvl1pPr>
          </a:lstStyle>
          <a:p>
            <a:r>
              <a:rPr lang="en-US"/>
              <a:t>Click to edit Master title style</a:t>
            </a:r>
          </a:p>
        </p:txBody>
      </p:sp>
      <p:sp>
        <p:nvSpPr>
          <p:cNvPr id="3" name="Subtitle 2"/>
          <p:cNvSpPr>
            <a:spLocks noGrp="1"/>
          </p:cNvSpPr>
          <p:nvPr>
            <p:ph type="subTitle" idx="1"/>
          </p:nvPr>
        </p:nvSpPr>
        <p:spPr>
          <a:xfrm>
            <a:off x="1196452" y="2701528"/>
            <a:ext cx="6751097"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E939230C-3F9B-4D59-BF21-1C313FCDBA8C}" type="datetimeFigureOut">
              <a:rPr lang="en-IN" smtClean="0"/>
              <a:t>22-12-2023</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9474F7D0-A60F-4B10-A58C-D526B4A9CAD1}" type="slidenum">
              <a:rPr lang="en-IN" smtClean="0"/>
              <a:t>‹#›</a:t>
            </a:fld>
            <a:endParaRPr lang="en-IN"/>
          </a:p>
        </p:txBody>
      </p:sp>
    </p:spTree>
    <p:extLst>
      <p:ext uri="{BB962C8B-B14F-4D97-AF65-F5344CB8AC3E}">
        <p14:creationId xmlns:p14="http://schemas.microsoft.com/office/powerpoint/2010/main" val="1811467813"/>
      </p:ext>
    </p:extLst>
  </p:cSld>
  <p:clrMapOvr>
    <a:masterClrMapping/>
  </p:clrMapOvr>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5355" y="3217030"/>
            <a:ext cx="7775673" cy="614516"/>
          </a:xfrm>
        </p:spPr>
        <p:txBody>
          <a:bodyPr anchor="b">
            <a:normAutofit/>
          </a:bodyPr>
          <a:lstStyle>
            <a:lvl1pPr>
              <a:defRPr sz="2100"/>
            </a:lvl1pPr>
          </a:lstStyle>
          <a:p>
            <a:r>
              <a:rPr lang="en-US"/>
              <a:t>Click to edit Master title style</a:t>
            </a:r>
          </a:p>
        </p:txBody>
      </p:sp>
      <p:sp>
        <p:nvSpPr>
          <p:cNvPr id="3" name="Picture Placeholder 2"/>
          <p:cNvSpPr>
            <a:spLocks noGrp="1" noChangeAspect="1"/>
          </p:cNvSpPr>
          <p:nvPr>
            <p:ph type="pic" idx="1"/>
          </p:nvPr>
        </p:nvSpPr>
        <p:spPr>
          <a:xfrm>
            <a:off x="685355" y="465991"/>
            <a:ext cx="7775673" cy="2534801"/>
          </a:xfrm>
          <a:noFill/>
          <a:ln w="1905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txBody>
          <a:bodyPr anchor="t"/>
          <a:lstStyle>
            <a:lvl1pPr marL="0" indent="0" algn="ctr">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p>
        </p:txBody>
      </p:sp>
      <p:sp>
        <p:nvSpPr>
          <p:cNvPr id="4" name="Text Placeholder 3"/>
          <p:cNvSpPr>
            <a:spLocks noGrp="1"/>
          </p:cNvSpPr>
          <p:nvPr>
            <p:ph type="body" sz="half" idx="2"/>
          </p:nvPr>
        </p:nvSpPr>
        <p:spPr>
          <a:xfrm>
            <a:off x="685346" y="3831546"/>
            <a:ext cx="7774499" cy="511854"/>
          </a:xfrm>
        </p:spPr>
        <p:txBody>
          <a:bodyPr>
            <a:normAutofit/>
          </a:bodyPr>
          <a:lstStyle>
            <a:lvl1pPr marL="0" indent="0" algn="ctr">
              <a:buNone/>
              <a:defRPr sz="135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smtClean="0"/>
              <a:pPr/>
              <a:t>12/2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22F896-40B5-4ADD-8801-0D06FADFA095}" type="slidenum">
              <a:rPr lang="en-US" smtClean="0"/>
              <a:pPr/>
              <a:t>‹#›</a:t>
            </a:fld>
            <a:endParaRPr lang="en-US"/>
          </a:p>
        </p:txBody>
      </p:sp>
    </p:spTree>
    <p:extLst>
      <p:ext uri="{BB962C8B-B14F-4D97-AF65-F5344CB8AC3E}">
        <p14:creationId xmlns:p14="http://schemas.microsoft.com/office/powerpoint/2010/main" val="2378726003"/>
      </p:ext>
    </p:extLst>
  </p:cSld>
  <p:clrMapOvr>
    <a:masterClrMapping/>
  </p:clrMapOvr>
  <p:hf sldNum="0"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85346" y="457201"/>
            <a:ext cx="7765322" cy="2568644"/>
          </a:xfrm>
        </p:spPr>
        <p:txBody>
          <a:bodyPr anchor="ctr"/>
          <a:lstStyle>
            <a:lvl1pPr>
              <a:defRPr sz="2400"/>
            </a:lvl1pPr>
          </a:lstStyle>
          <a:p>
            <a:r>
              <a:rPr lang="en-US"/>
              <a:t>Click to edit Master title style</a:t>
            </a:r>
          </a:p>
        </p:txBody>
      </p:sp>
      <p:sp>
        <p:nvSpPr>
          <p:cNvPr id="4" name="Text Placeholder 3"/>
          <p:cNvSpPr>
            <a:spLocks noGrp="1"/>
          </p:cNvSpPr>
          <p:nvPr>
            <p:ph type="body" sz="half" idx="2"/>
          </p:nvPr>
        </p:nvSpPr>
        <p:spPr>
          <a:xfrm>
            <a:off x="685347" y="3153615"/>
            <a:ext cx="7765321" cy="1194140"/>
          </a:xfrm>
        </p:spPr>
        <p:txBody>
          <a:bodyPr anchor="ctr"/>
          <a:lstStyle>
            <a:lvl1pPr marL="0" indent="0" algn="ctr">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smtClean="0"/>
              <a:pPr/>
              <a:t>12/2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22F896-40B5-4ADD-8801-0D06FADFA095}" type="slidenum">
              <a:rPr lang="en-US" smtClean="0"/>
              <a:pPr/>
              <a:t>‹#›</a:t>
            </a:fld>
            <a:endParaRPr lang="en-US"/>
          </a:p>
        </p:txBody>
      </p:sp>
    </p:spTree>
    <p:extLst>
      <p:ext uri="{BB962C8B-B14F-4D97-AF65-F5344CB8AC3E}">
        <p14:creationId xmlns:p14="http://schemas.microsoft.com/office/powerpoint/2010/main" val="1763508109"/>
      </p:ext>
    </p:extLst>
  </p:cSld>
  <p:clrMapOvr>
    <a:masterClrMapping/>
  </p:clrMapOvr>
  <p:hf sldNum="0"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084659" y="457200"/>
            <a:ext cx="6977064" cy="2244678"/>
          </a:xfrm>
        </p:spPr>
        <p:txBody>
          <a:bodyPr anchor="ctr"/>
          <a:lstStyle>
            <a:lvl1pPr>
              <a:defRPr sz="2400"/>
            </a:lvl1pPr>
          </a:lstStyle>
          <a:p>
            <a:r>
              <a:rPr lang="en-US"/>
              <a:t>Click to edit Master title style</a:t>
            </a:r>
          </a:p>
        </p:txBody>
      </p:sp>
      <p:sp>
        <p:nvSpPr>
          <p:cNvPr id="12" name="Text Placeholder 3"/>
          <p:cNvSpPr>
            <a:spLocks noGrp="1"/>
          </p:cNvSpPr>
          <p:nvPr>
            <p:ph type="body" sz="half" idx="13"/>
          </p:nvPr>
        </p:nvSpPr>
        <p:spPr>
          <a:xfrm>
            <a:off x="1290484" y="2707524"/>
            <a:ext cx="6564224" cy="320109"/>
          </a:xfrm>
        </p:spPr>
        <p:txBody>
          <a:bodyPr anchor="t">
            <a:normAutofit/>
          </a:bodyPr>
          <a:lstStyle>
            <a:lvl1pPr marL="0" indent="0" algn="r">
              <a:buNone/>
              <a:defRPr sz="105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4" name="Text Placeholder 3"/>
          <p:cNvSpPr>
            <a:spLocks noGrp="1"/>
          </p:cNvSpPr>
          <p:nvPr>
            <p:ph type="body" sz="half" idx="2"/>
          </p:nvPr>
        </p:nvSpPr>
        <p:spPr>
          <a:xfrm>
            <a:off x="685345" y="3153616"/>
            <a:ext cx="7765322" cy="1189785"/>
          </a:xfrm>
        </p:spPr>
        <p:txBody>
          <a:bodyPr anchor="ctr">
            <a:normAutofit/>
          </a:bodyPr>
          <a:lstStyle>
            <a:lvl1pPr marL="0" indent="0" algn="ctr">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smtClean="0"/>
              <a:pPr/>
              <a:t>12/2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22F896-40B5-4ADD-8801-0D06FADFA095}" type="slidenum">
              <a:rPr lang="en-US" smtClean="0"/>
              <a:pPr/>
              <a:t>‹#›</a:t>
            </a:fld>
            <a:endParaRPr lang="en-US"/>
          </a:p>
        </p:txBody>
      </p:sp>
      <p:sp>
        <p:nvSpPr>
          <p:cNvPr id="11" name="TextBox 10"/>
          <p:cNvSpPr txBox="1"/>
          <p:nvPr/>
        </p:nvSpPr>
        <p:spPr>
          <a:xfrm>
            <a:off x="627459" y="551431"/>
            <a:ext cx="457200" cy="438582"/>
          </a:xfrm>
          <a:prstGeom prst="rect">
            <a:avLst/>
          </a:prstGeom>
        </p:spPr>
        <p:txBody>
          <a:bodyPr vert="horz" lIns="68580" tIns="34290" rIns="68580" bIns="3429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6000">
                <a:solidFill>
                  <a:schemeClr val="tx1"/>
                </a:solidFill>
                <a:effectLst/>
              </a:rPr>
              <a:t>“</a:t>
            </a:r>
          </a:p>
        </p:txBody>
      </p:sp>
      <p:sp>
        <p:nvSpPr>
          <p:cNvPr id="13" name="TextBox 12"/>
          <p:cNvSpPr txBox="1"/>
          <p:nvPr/>
        </p:nvSpPr>
        <p:spPr>
          <a:xfrm>
            <a:off x="7993467" y="2229070"/>
            <a:ext cx="457200" cy="438582"/>
          </a:xfrm>
          <a:prstGeom prst="rect">
            <a:avLst/>
          </a:prstGeom>
        </p:spPr>
        <p:txBody>
          <a:bodyPr vert="horz" lIns="68580" tIns="34290" rIns="68580" bIns="3429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6000">
                <a:solidFill>
                  <a:schemeClr val="tx1"/>
                </a:solidFill>
                <a:effectLst/>
              </a:rPr>
              <a:t>”</a:t>
            </a:r>
          </a:p>
        </p:txBody>
      </p:sp>
    </p:spTree>
    <p:extLst>
      <p:ext uri="{BB962C8B-B14F-4D97-AF65-F5344CB8AC3E}">
        <p14:creationId xmlns:p14="http://schemas.microsoft.com/office/powerpoint/2010/main" val="3448814166"/>
      </p:ext>
    </p:extLst>
  </p:cSld>
  <p:clrMapOvr>
    <a:masterClrMapping/>
  </p:clrMapOvr>
  <p:hf sldNum="0"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85355" y="1595207"/>
            <a:ext cx="7766495" cy="1883876"/>
          </a:xfrm>
        </p:spPr>
        <p:txBody>
          <a:bodyPr anchor="b"/>
          <a:lstStyle>
            <a:lvl1pPr>
              <a:defRPr sz="2400"/>
            </a:lvl1pPr>
          </a:lstStyle>
          <a:p>
            <a:r>
              <a:rPr lang="en-US"/>
              <a:t>Click to edit Master title style</a:t>
            </a:r>
          </a:p>
        </p:txBody>
      </p:sp>
      <p:sp>
        <p:nvSpPr>
          <p:cNvPr id="4" name="Text Placeholder 3"/>
          <p:cNvSpPr>
            <a:spLocks noGrp="1"/>
          </p:cNvSpPr>
          <p:nvPr>
            <p:ph type="body" sz="half" idx="2"/>
          </p:nvPr>
        </p:nvSpPr>
        <p:spPr>
          <a:xfrm>
            <a:off x="685346" y="3487917"/>
            <a:ext cx="7765322" cy="855483"/>
          </a:xfrm>
        </p:spPr>
        <p:txBody>
          <a:bodyPr anchor="t"/>
          <a:lstStyle>
            <a:lvl1pPr marL="0" indent="0" algn="ctr">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smtClean="0"/>
              <a:pPr/>
              <a:t>12/2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22F896-40B5-4ADD-8801-0D06FADFA095}" type="slidenum">
              <a:rPr lang="en-US" smtClean="0"/>
              <a:pPr/>
              <a:t>‹#›</a:t>
            </a:fld>
            <a:endParaRPr lang="en-US"/>
          </a:p>
        </p:txBody>
      </p:sp>
    </p:spTree>
    <p:extLst>
      <p:ext uri="{BB962C8B-B14F-4D97-AF65-F5344CB8AC3E}">
        <p14:creationId xmlns:p14="http://schemas.microsoft.com/office/powerpoint/2010/main" val="89510746"/>
      </p:ext>
    </p:extLst>
  </p:cSld>
  <p:clrMapOvr>
    <a:masterClrMapping/>
  </p:clrMapOvr>
  <p:hf sldNum="0"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685345" y="457201"/>
            <a:ext cx="7765322" cy="994172"/>
          </a:xfrm>
        </p:spPr>
        <p:txBody>
          <a:bodyPr/>
          <a:lstStyle/>
          <a:p>
            <a:r>
              <a:rPr lang="en-US"/>
              <a:t>Click to edit Master title style</a:t>
            </a:r>
          </a:p>
        </p:txBody>
      </p:sp>
      <p:sp>
        <p:nvSpPr>
          <p:cNvPr id="7" name="Text Placeholder 2"/>
          <p:cNvSpPr>
            <a:spLocks noGrp="1"/>
          </p:cNvSpPr>
          <p:nvPr>
            <p:ph type="body" idx="1"/>
          </p:nvPr>
        </p:nvSpPr>
        <p:spPr>
          <a:xfrm>
            <a:off x="685346" y="1566240"/>
            <a:ext cx="2474217" cy="617479"/>
          </a:xfrm>
        </p:spPr>
        <p:txBody>
          <a:bodyPr anchor="b">
            <a:noAutofit/>
          </a:bodyPr>
          <a:lstStyle>
            <a:lvl1pPr marL="0" indent="0" algn="ctr">
              <a:lnSpc>
                <a:spcPct val="100000"/>
              </a:lnSpc>
              <a:buNone/>
              <a:defRPr sz="1800" b="0">
                <a:solidFill>
                  <a:schemeClr val="tx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8" name="Text Placeholder 3"/>
          <p:cNvSpPr>
            <a:spLocks noGrp="1"/>
          </p:cNvSpPr>
          <p:nvPr>
            <p:ph type="body" sz="half" idx="15"/>
          </p:nvPr>
        </p:nvSpPr>
        <p:spPr>
          <a:xfrm>
            <a:off x="685346" y="2183718"/>
            <a:ext cx="2474217" cy="2159682"/>
          </a:xfrm>
        </p:spPr>
        <p:txBody>
          <a:bodyPr anchor="t">
            <a:normAutofit/>
          </a:bodyPr>
          <a:lstStyle>
            <a:lvl1pPr marL="0" indent="0" algn="ctr">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9" name="Text Placeholder 4"/>
          <p:cNvSpPr>
            <a:spLocks noGrp="1"/>
          </p:cNvSpPr>
          <p:nvPr>
            <p:ph type="body" sz="quarter" idx="3"/>
          </p:nvPr>
        </p:nvSpPr>
        <p:spPr>
          <a:xfrm>
            <a:off x="3333658" y="1566240"/>
            <a:ext cx="2473919" cy="617478"/>
          </a:xfrm>
        </p:spPr>
        <p:txBody>
          <a:bodyPr anchor="b">
            <a:noAutofit/>
          </a:bodyPr>
          <a:lstStyle>
            <a:lvl1pPr marL="0" indent="0" algn="ctr">
              <a:lnSpc>
                <a:spcPct val="100000"/>
              </a:lnSpc>
              <a:buNone/>
              <a:defRPr sz="1800" b="0">
                <a:solidFill>
                  <a:schemeClr val="tx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10" name="Text Placeholder 3"/>
          <p:cNvSpPr>
            <a:spLocks noGrp="1"/>
          </p:cNvSpPr>
          <p:nvPr>
            <p:ph type="body" sz="half" idx="16"/>
          </p:nvPr>
        </p:nvSpPr>
        <p:spPr>
          <a:xfrm>
            <a:off x="3333659" y="2183718"/>
            <a:ext cx="2474866" cy="2159682"/>
          </a:xfrm>
        </p:spPr>
        <p:txBody>
          <a:bodyPr anchor="t">
            <a:normAutofit/>
          </a:bodyPr>
          <a:lstStyle>
            <a:lvl1pPr marL="0" indent="0" algn="ctr">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11" name="Text Placeholder 4"/>
          <p:cNvSpPr>
            <a:spLocks noGrp="1"/>
          </p:cNvSpPr>
          <p:nvPr>
            <p:ph type="body" sz="quarter" idx="13"/>
          </p:nvPr>
        </p:nvSpPr>
        <p:spPr>
          <a:xfrm>
            <a:off x="5979974" y="1566240"/>
            <a:ext cx="2468408" cy="617478"/>
          </a:xfrm>
        </p:spPr>
        <p:txBody>
          <a:bodyPr anchor="b">
            <a:noAutofit/>
          </a:bodyPr>
          <a:lstStyle>
            <a:lvl1pPr marL="0" indent="0" algn="ctr">
              <a:lnSpc>
                <a:spcPct val="100000"/>
              </a:lnSpc>
              <a:buNone/>
              <a:defRPr sz="1800" b="0">
                <a:solidFill>
                  <a:schemeClr val="tx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12" name="Text Placeholder 3"/>
          <p:cNvSpPr>
            <a:spLocks noGrp="1"/>
          </p:cNvSpPr>
          <p:nvPr>
            <p:ph type="body" sz="half" idx="17"/>
          </p:nvPr>
        </p:nvSpPr>
        <p:spPr>
          <a:xfrm>
            <a:off x="5982260" y="2183718"/>
            <a:ext cx="2468408" cy="2159682"/>
          </a:xfrm>
        </p:spPr>
        <p:txBody>
          <a:bodyPr anchor="t">
            <a:normAutofit/>
          </a:bodyPr>
          <a:lstStyle>
            <a:lvl1pPr marL="0" indent="0" algn="ctr">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smtClean="0"/>
              <a:pPr/>
              <a:t>12/22/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D22F896-40B5-4ADD-8801-0D06FADFA095}" type="slidenum">
              <a:rPr lang="en-US" smtClean="0"/>
              <a:pPr/>
              <a:t>‹#›</a:t>
            </a:fld>
            <a:endParaRPr lang="en-US"/>
          </a:p>
        </p:txBody>
      </p:sp>
    </p:spTree>
    <p:extLst>
      <p:ext uri="{BB962C8B-B14F-4D97-AF65-F5344CB8AC3E}">
        <p14:creationId xmlns:p14="http://schemas.microsoft.com/office/powerpoint/2010/main" val="2309161741"/>
      </p:ext>
    </p:extLst>
  </p:cSld>
  <p:clrMapOvr>
    <a:masterClrMapping/>
  </p:clrMapOvr>
  <p:hf sldNum="0"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0" name="Title 1"/>
          <p:cNvSpPr>
            <a:spLocks noGrp="1"/>
          </p:cNvSpPr>
          <p:nvPr>
            <p:ph type="title"/>
          </p:nvPr>
        </p:nvSpPr>
        <p:spPr>
          <a:xfrm>
            <a:off x="685346" y="457201"/>
            <a:ext cx="7765322" cy="994172"/>
          </a:xfrm>
        </p:spPr>
        <p:txBody>
          <a:bodyPr/>
          <a:lstStyle/>
          <a:p>
            <a:r>
              <a:rPr lang="en-US"/>
              <a:t>Click to edit Master title style</a:t>
            </a:r>
          </a:p>
        </p:txBody>
      </p:sp>
      <p:sp>
        <p:nvSpPr>
          <p:cNvPr id="19" name="Text Placeholder 2"/>
          <p:cNvSpPr>
            <a:spLocks noGrp="1"/>
          </p:cNvSpPr>
          <p:nvPr>
            <p:ph type="body" idx="1"/>
          </p:nvPr>
        </p:nvSpPr>
        <p:spPr>
          <a:xfrm>
            <a:off x="685347" y="3146924"/>
            <a:ext cx="2474216" cy="432197"/>
          </a:xfrm>
        </p:spPr>
        <p:txBody>
          <a:bodyPr anchor="b">
            <a:noAutofit/>
          </a:bodyPr>
          <a:lstStyle>
            <a:lvl1pPr marL="0" indent="0" algn="ctr">
              <a:lnSpc>
                <a:spcPct val="100000"/>
              </a:lnSpc>
              <a:buNone/>
              <a:defRPr sz="1500" b="0">
                <a:solidFill>
                  <a:schemeClr val="tx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20" name="Picture Placeholder 2"/>
          <p:cNvSpPr>
            <a:spLocks noGrp="1" noChangeAspect="1"/>
          </p:cNvSpPr>
          <p:nvPr>
            <p:ph type="pic" idx="15"/>
          </p:nvPr>
        </p:nvSpPr>
        <p:spPr>
          <a:xfrm>
            <a:off x="819015" y="1724240"/>
            <a:ext cx="2205038" cy="1143000"/>
          </a:xfrm>
          <a:prstGeom prst="roundRect">
            <a:avLst>
              <a:gd name="adj" fmla="val 0"/>
            </a:avLst>
          </a:prstGeom>
          <a:noFill/>
          <a:ln w="14605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txBody>
          <a:bodyPr anchor="t">
            <a:normAutofit/>
          </a:bodyPr>
          <a:lstStyle>
            <a:lvl1pPr marL="0" indent="0" algn="ctr">
              <a:buNone/>
              <a:defRPr sz="1200"/>
            </a:lvl1pPr>
            <a:lvl2pPr marL="342900" indent="0">
              <a:buNone/>
              <a:defRPr sz="1200"/>
            </a:lvl2pPr>
            <a:lvl3pPr marL="685800" indent="0">
              <a:buNone/>
              <a:defRPr sz="1200"/>
            </a:lvl3pPr>
            <a:lvl4pPr marL="1028700" indent="0">
              <a:buNone/>
              <a:defRPr sz="1200"/>
            </a:lvl4pPr>
            <a:lvl5pPr marL="1371600" indent="0">
              <a:buNone/>
              <a:defRPr sz="1200"/>
            </a:lvl5pPr>
            <a:lvl6pPr marL="1714500" indent="0">
              <a:buNone/>
              <a:defRPr sz="1200"/>
            </a:lvl6pPr>
            <a:lvl7pPr marL="2057400" indent="0">
              <a:buNone/>
              <a:defRPr sz="1200"/>
            </a:lvl7pPr>
            <a:lvl8pPr marL="2400300" indent="0">
              <a:buNone/>
              <a:defRPr sz="1200"/>
            </a:lvl8pPr>
            <a:lvl9pPr marL="2743200" indent="0">
              <a:buNone/>
              <a:defRPr sz="1200"/>
            </a:lvl9pPr>
          </a:lstStyle>
          <a:p>
            <a:r>
              <a:rPr lang="en-US"/>
              <a:t>Click icon to add picture</a:t>
            </a:r>
          </a:p>
        </p:txBody>
      </p:sp>
      <p:sp>
        <p:nvSpPr>
          <p:cNvPr id="21" name="Text Placeholder 3"/>
          <p:cNvSpPr>
            <a:spLocks noGrp="1"/>
          </p:cNvSpPr>
          <p:nvPr>
            <p:ph type="body" sz="half" idx="18"/>
          </p:nvPr>
        </p:nvSpPr>
        <p:spPr>
          <a:xfrm>
            <a:off x="685347" y="3579121"/>
            <a:ext cx="2474216" cy="764279"/>
          </a:xfrm>
        </p:spPr>
        <p:txBody>
          <a:bodyPr anchor="t">
            <a:normAutofit/>
          </a:bodyPr>
          <a:lstStyle>
            <a:lvl1pPr marL="0" indent="0" algn="ctr">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22" name="Text Placeholder 4"/>
          <p:cNvSpPr>
            <a:spLocks noGrp="1"/>
          </p:cNvSpPr>
          <p:nvPr>
            <p:ph type="body" sz="quarter" idx="3"/>
          </p:nvPr>
        </p:nvSpPr>
        <p:spPr>
          <a:xfrm>
            <a:off x="3332026" y="3146924"/>
            <a:ext cx="2474237" cy="432197"/>
          </a:xfrm>
        </p:spPr>
        <p:txBody>
          <a:bodyPr anchor="b">
            <a:noAutofit/>
          </a:bodyPr>
          <a:lstStyle>
            <a:lvl1pPr marL="0" indent="0" algn="ctr">
              <a:lnSpc>
                <a:spcPct val="100000"/>
              </a:lnSpc>
              <a:buNone/>
              <a:defRPr sz="1500" b="0">
                <a:solidFill>
                  <a:schemeClr val="tx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23" name="Picture Placeholder 2"/>
          <p:cNvSpPr>
            <a:spLocks noGrp="1" noChangeAspect="1"/>
          </p:cNvSpPr>
          <p:nvPr>
            <p:ph type="pic" idx="21"/>
          </p:nvPr>
        </p:nvSpPr>
        <p:spPr>
          <a:xfrm>
            <a:off x="3426747" y="1724240"/>
            <a:ext cx="2197894" cy="1143000"/>
          </a:xfrm>
          <a:prstGeom prst="roundRect">
            <a:avLst>
              <a:gd name="adj" fmla="val 0"/>
            </a:avLst>
          </a:prstGeom>
          <a:noFill/>
          <a:ln w="14605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txBody>
          <a:bodyPr anchor="t">
            <a:normAutofit/>
          </a:bodyPr>
          <a:lstStyle>
            <a:lvl1pPr marL="0" indent="0" algn="ctr">
              <a:buNone/>
              <a:defRPr sz="1200"/>
            </a:lvl1pPr>
            <a:lvl2pPr marL="342900" indent="0">
              <a:buNone/>
              <a:defRPr sz="1200"/>
            </a:lvl2pPr>
            <a:lvl3pPr marL="685800" indent="0">
              <a:buNone/>
              <a:defRPr sz="1200"/>
            </a:lvl3pPr>
            <a:lvl4pPr marL="1028700" indent="0">
              <a:buNone/>
              <a:defRPr sz="1200"/>
            </a:lvl4pPr>
            <a:lvl5pPr marL="1371600" indent="0">
              <a:buNone/>
              <a:defRPr sz="1200"/>
            </a:lvl5pPr>
            <a:lvl6pPr marL="1714500" indent="0">
              <a:buNone/>
              <a:defRPr sz="1200"/>
            </a:lvl6pPr>
            <a:lvl7pPr marL="2057400" indent="0">
              <a:buNone/>
              <a:defRPr sz="1200"/>
            </a:lvl7pPr>
            <a:lvl8pPr marL="2400300" indent="0">
              <a:buNone/>
              <a:defRPr sz="1200"/>
            </a:lvl8pPr>
            <a:lvl9pPr marL="2743200" indent="0">
              <a:buNone/>
              <a:defRPr sz="1200"/>
            </a:lvl9pPr>
          </a:lstStyle>
          <a:p>
            <a:r>
              <a:rPr lang="en-US"/>
              <a:t>Click icon to add picture</a:t>
            </a:r>
          </a:p>
        </p:txBody>
      </p:sp>
      <p:sp>
        <p:nvSpPr>
          <p:cNvPr id="24" name="Text Placeholder 3"/>
          <p:cNvSpPr>
            <a:spLocks noGrp="1"/>
          </p:cNvSpPr>
          <p:nvPr>
            <p:ph type="body" sz="half" idx="19"/>
          </p:nvPr>
        </p:nvSpPr>
        <p:spPr>
          <a:xfrm>
            <a:off x="3331011" y="3579120"/>
            <a:ext cx="2475252" cy="764279"/>
          </a:xfrm>
        </p:spPr>
        <p:txBody>
          <a:bodyPr anchor="t">
            <a:normAutofit/>
          </a:bodyPr>
          <a:lstStyle>
            <a:lvl1pPr marL="0" indent="0" algn="ctr">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25" name="Text Placeholder 4"/>
          <p:cNvSpPr>
            <a:spLocks noGrp="1"/>
          </p:cNvSpPr>
          <p:nvPr>
            <p:ph type="body" sz="quarter" idx="13"/>
          </p:nvPr>
        </p:nvSpPr>
        <p:spPr>
          <a:xfrm>
            <a:off x="5980067" y="3146924"/>
            <a:ext cx="2467425" cy="432197"/>
          </a:xfrm>
        </p:spPr>
        <p:txBody>
          <a:bodyPr anchor="b">
            <a:noAutofit/>
          </a:bodyPr>
          <a:lstStyle>
            <a:lvl1pPr marL="0" indent="0" algn="ctr">
              <a:lnSpc>
                <a:spcPct val="100000"/>
              </a:lnSpc>
              <a:buNone/>
              <a:defRPr sz="1500" b="0">
                <a:solidFill>
                  <a:schemeClr val="tx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26" name="Picture Placeholder 2"/>
          <p:cNvSpPr>
            <a:spLocks noGrp="1" noChangeAspect="1"/>
          </p:cNvSpPr>
          <p:nvPr>
            <p:ph type="pic" idx="22"/>
          </p:nvPr>
        </p:nvSpPr>
        <p:spPr>
          <a:xfrm>
            <a:off x="6114603" y="1724240"/>
            <a:ext cx="2199085" cy="1143000"/>
          </a:xfrm>
          <a:prstGeom prst="roundRect">
            <a:avLst>
              <a:gd name="adj" fmla="val 0"/>
            </a:avLst>
          </a:prstGeom>
          <a:noFill/>
          <a:ln w="14605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txBody>
          <a:bodyPr anchor="t">
            <a:normAutofit/>
          </a:bodyPr>
          <a:lstStyle>
            <a:lvl1pPr marL="0" indent="0" algn="ctr">
              <a:buNone/>
              <a:defRPr sz="1200"/>
            </a:lvl1pPr>
            <a:lvl2pPr marL="342900" indent="0">
              <a:buNone/>
              <a:defRPr sz="1200"/>
            </a:lvl2pPr>
            <a:lvl3pPr marL="685800" indent="0">
              <a:buNone/>
              <a:defRPr sz="1200"/>
            </a:lvl3pPr>
            <a:lvl4pPr marL="1028700" indent="0">
              <a:buNone/>
              <a:defRPr sz="1200"/>
            </a:lvl4pPr>
            <a:lvl5pPr marL="1371600" indent="0">
              <a:buNone/>
              <a:defRPr sz="1200"/>
            </a:lvl5pPr>
            <a:lvl6pPr marL="1714500" indent="0">
              <a:buNone/>
              <a:defRPr sz="1200"/>
            </a:lvl6pPr>
            <a:lvl7pPr marL="2057400" indent="0">
              <a:buNone/>
              <a:defRPr sz="1200"/>
            </a:lvl7pPr>
            <a:lvl8pPr marL="2400300" indent="0">
              <a:buNone/>
              <a:defRPr sz="1200"/>
            </a:lvl8pPr>
            <a:lvl9pPr marL="2743200" indent="0">
              <a:buNone/>
              <a:defRPr sz="1200"/>
            </a:lvl9pPr>
          </a:lstStyle>
          <a:p>
            <a:r>
              <a:rPr lang="en-US"/>
              <a:t>Click icon to add picture</a:t>
            </a:r>
          </a:p>
        </p:txBody>
      </p:sp>
      <p:sp>
        <p:nvSpPr>
          <p:cNvPr id="27" name="Text Placeholder 3"/>
          <p:cNvSpPr>
            <a:spLocks noGrp="1"/>
          </p:cNvSpPr>
          <p:nvPr>
            <p:ph type="body" sz="half" idx="20"/>
          </p:nvPr>
        </p:nvSpPr>
        <p:spPr>
          <a:xfrm>
            <a:off x="5979973" y="3579121"/>
            <a:ext cx="2470694" cy="764278"/>
          </a:xfrm>
        </p:spPr>
        <p:txBody>
          <a:bodyPr anchor="t">
            <a:normAutofit/>
          </a:bodyPr>
          <a:lstStyle>
            <a:lvl1pPr marL="0" indent="0" algn="ctr">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smtClean="0"/>
              <a:pPr/>
              <a:t>12/22/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D22F896-40B5-4ADD-8801-0D06FADFA095}" type="slidenum">
              <a:rPr lang="en-US" smtClean="0"/>
              <a:pPr/>
              <a:t>‹#›</a:t>
            </a:fld>
            <a:endParaRPr lang="en-US"/>
          </a:p>
        </p:txBody>
      </p:sp>
    </p:spTree>
    <p:extLst>
      <p:ext uri="{BB962C8B-B14F-4D97-AF65-F5344CB8AC3E}">
        <p14:creationId xmlns:p14="http://schemas.microsoft.com/office/powerpoint/2010/main" val="493188251"/>
      </p:ext>
    </p:extLst>
  </p:cSld>
  <p:clrMapOvr>
    <a:masterClrMapping/>
  </p:clrMapOvr>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8A87A34-81AB-432B-8DAE-1953F412C126}" type="datetimeFigureOut">
              <a:rPr lang="en-US" smtClean="0"/>
              <a:t>12/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smtClean="0"/>
              <a:t>‹#›</a:t>
            </a:fld>
            <a:endParaRPr lang="en-US"/>
          </a:p>
        </p:txBody>
      </p:sp>
    </p:spTree>
    <p:extLst>
      <p:ext uri="{BB962C8B-B14F-4D97-AF65-F5344CB8AC3E}">
        <p14:creationId xmlns:p14="http://schemas.microsoft.com/office/powerpoint/2010/main" val="1275701330"/>
      </p:ext>
    </p:extLst>
  </p:cSld>
  <p:clrMapOvr>
    <a:masterClrMapping/>
  </p:clrMapOvr>
  <p:hf sldNum="0"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457200"/>
            <a:ext cx="1906993" cy="3886201"/>
          </a:xfrm>
        </p:spPr>
        <p:txBody>
          <a:bodyPr vert="eaVert"/>
          <a:lstStyle>
            <a:lvl1pPr algn="l">
              <a:defRPr/>
            </a:lvl1pPr>
          </a:lstStyle>
          <a:p>
            <a:r>
              <a:rPr lang="en-US"/>
              <a:t>Click to edit Master title style</a:t>
            </a:r>
          </a:p>
        </p:txBody>
      </p:sp>
      <p:sp>
        <p:nvSpPr>
          <p:cNvPr id="3" name="Vertical Text Placeholder 2"/>
          <p:cNvSpPr>
            <a:spLocks noGrp="1"/>
          </p:cNvSpPr>
          <p:nvPr>
            <p:ph type="body" orient="vert" idx="1"/>
          </p:nvPr>
        </p:nvSpPr>
        <p:spPr>
          <a:xfrm>
            <a:off x="685346" y="457200"/>
            <a:ext cx="5744029" cy="388620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8A87A34-81AB-432B-8DAE-1953F412C126}" type="datetimeFigureOut">
              <a:rPr lang="en-US" smtClean="0"/>
              <a:t>12/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smtClean="0"/>
              <a:t>‹#›</a:t>
            </a:fld>
            <a:endParaRPr lang="en-US"/>
          </a:p>
        </p:txBody>
      </p:sp>
    </p:spTree>
    <p:extLst>
      <p:ext uri="{BB962C8B-B14F-4D97-AF65-F5344CB8AC3E}">
        <p14:creationId xmlns:p14="http://schemas.microsoft.com/office/powerpoint/2010/main" val="2597108149"/>
      </p:ext>
    </p:extLst>
  </p:cSld>
  <p:clrMapOvr>
    <a:masterClrMapping/>
  </p:clrMapOvr>
  <p:hf sldNum="0"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able of contents">
  <p:cSld name="Table of contents">
    <p:spTree>
      <p:nvGrpSpPr>
        <p:cNvPr id="1" name="Shape 89"/>
        <p:cNvGrpSpPr/>
        <p:nvPr/>
      </p:nvGrpSpPr>
      <p:grpSpPr>
        <a:xfrm>
          <a:off x="0" y="0"/>
          <a:ext cx="0" cy="0"/>
          <a:chOff x="0" y="0"/>
          <a:chExt cx="0" cy="0"/>
        </a:xfrm>
      </p:grpSpPr>
      <p:sp>
        <p:nvSpPr>
          <p:cNvPr id="90" name="Google Shape;90;p14"/>
          <p:cNvSpPr txBox="1">
            <a:spLocks noGrp="1"/>
          </p:cNvSpPr>
          <p:nvPr>
            <p:ph type="subTitle" idx="1"/>
          </p:nvPr>
        </p:nvSpPr>
        <p:spPr>
          <a:xfrm>
            <a:off x="1333692" y="1587926"/>
            <a:ext cx="1505700" cy="572700"/>
          </a:xfrm>
          <a:prstGeom prst="rect">
            <a:avLst/>
          </a:prstGeom>
        </p:spPr>
        <p:txBody>
          <a:bodyPr spcFirstLastPara="1" wrap="square" lIns="91425" tIns="91425" rIns="91425" bIns="91425" anchor="b" anchorCtr="0">
            <a:noAutofit/>
          </a:bodyPr>
          <a:lstStyle>
            <a:lvl1pPr lvl="0" algn="ctr" rtl="0">
              <a:lnSpc>
                <a:spcPct val="100000"/>
              </a:lnSpc>
              <a:spcBef>
                <a:spcPts val="0"/>
              </a:spcBef>
              <a:spcAft>
                <a:spcPts val="0"/>
              </a:spcAft>
              <a:buClr>
                <a:schemeClr val="lt1"/>
              </a:buClr>
              <a:buSzPts val="1800"/>
              <a:buFont typeface="Hammersmith One"/>
              <a:buNone/>
              <a:defRPr>
                <a:solidFill>
                  <a:schemeClr val="lt1"/>
                </a:solidFill>
                <a:latin typeface="Hammersmith One"/>
                <a:ea typeface="Hammersmith One"/>
                <a:cs typeface="Hammersmith One"/>
                <a:sym typeface="Hammersmith One"/>
              </a:defRPr>
            </a:lvl1pPr>
            <a:lvl2pPr lvl="1" algn="r" rtl="0">
              <a:lnSpc>
                <a:spcPct val="100000"/>
              </a:lnSpc>
              <a:spcBef>
                <a:spcPts val="0"/>
              </a:spcBef>
              <a:spcAft>
                <a:spcPts val="0"/>
              </a:spcAft>
              <a:buClr>
                <a:schemeClr val="lt1"/>
              </a:buClr>
              <a:buSzPts val="1800"/>
              <a:buFont typeface="Hammersmith One"/>
              <a:buNone/>
              <a:defRPr sz="1800">
                <a:solidFill>
                  <a:schemeClr val="lt1"/>
                </a:solidFill>
                <a:latin typeface="Hammersmith One"/>
                <a:ea typeface="Hammersmith One"/>
                <a:cs typeface="Hammersmith One"/>
                <a:sym typeface="Hammersmith One"/>
              </a:defRPr>
            </a:lvl2pPr>
            <a:lvl3pPr lvl="2" algn="r" rtl="0">
              <a:lnSpc>
                <a:spcPct val="100000"/>
              </a:lnSpc>
              <a:spcBef>
                <a:spcPts val="0"/>
              </a:spcBef>
              <a:spcAft>
                <a:spcPts val="0"/>
              </a:spcAft>
              <a:buClr>
                <a:schemeClr val="lt1"/>
              </a:buClr>
              <a:buSzPts val="1800"/>
              <a:buFont typeface="Hammersmith One"/>
              <a:buNone/>
              <a:defRPr sz="1800">
                <a:solidFill>
                  <a:schemeClr val="lt1"/>
                </a:solidFill>
                <a:latin typeface="Hammersmith One"/>
                <a:ea typeface="Hammersmith One"/>
                <a:cs typeface="Hammersmith One"/>
                <a:sym typeface="Hammersmith One"/>
              </a:defRPr>
            </a:lvl3pPr>
            <a:lvl4pPr lvl="3" algn="r" rtl="0">
              <a:lnSpc>
                <a:spcPct val="100000"/>
              </a:lnSpc>
              <a:spcBef>
                <a:spcPts val="0"/>
              </a:spcBef>
              <a:spcAft>
                <a:spcPts val="0"/>
              </a:spcAft>
              <a:buClr>
                <a:schemeClr val="lt1"/>
              </a:buClr>
              <a:buSzPts val="1800"/>
              <a:buFont typeface="Hammersmith One"/>
              <a:buNone/>
              <a:defRPr sz="1800">
                <a:solidFill>
                  <a:schemeClr val="lt1"/>
                </a:solidFill>
                <a:latin typeface="Hammersmith One"/>
                <a:ea typeface="Hammersmith One"/>
                <a:cs typeface="Hammersmith One"/>
                <a:sym typeface="Hammersmith One"/>
              </a:defRPr>
            </a:lvl4pPr>
            <a:lvl5pPr lvl="4" algn="r" rtl="0">
              <a:lnSpc>
                <a:spcPct val="100000"/>
              </a:lnSpc>
              <a:spcBef>
                <a:spcPts val="0"/>
              </a:spcBef>
              <a:spcAft>
                <a:spcPts val="0"/>
              </a:spcAft>
              <a:buClr>
                <a:schemeClr val="lt1"/>
              </a:buClr>
              <a:buSzPts val="1800"/>
              <a:buFont typeface="Hammersmith One"/>
              <a:buNone/>
              <a:defRPr sz="1800">
                <a:solidFill>
                  <a:schemeClr val="lt1"/>
                </a:solidFill>
                <a:latin typeface="Hammersmith One"/>
                <a:ea typeface="Hammersmith One"/>
                <a:cs typeface="Hammersmith One"/>
                <a:sym typeface="Hammersmith One"/>
              </a:defRPr>
            </a:lvl5pPr>
            <a:lvl6pPr lvl="5" algn="r" rtl="0">
              <a:lnSpc>
                <a:spcPct val="100000"/>
              </a:lnSpc>
              <a:spcBef>
                <a:spcPts val="0"/>
              </a:spcBef>
              <a:spcAft>
                <a:spcPts val="0"/>
              </a:spcAft>
              <a:buClr>
                <a:schemeClr val="lt1"/>
              </a:buClr>
              <a:buSzPts val="1800"/>
              <a:buFont typeface="Hammersmith One"/>
              <a:buNone/>
              <a:defRPr sz="1800">
                <a:solidFill>
                  <a:schemeClr val="lt1"/>
                </a:solidFill>
                <a:latin typeface="Hammersmith One"/>
                <a:ea typeface="Hammersmith One"/>
                <a:cs typeface="Hammersmith One"/>
                <a:sym typeface="Hammersmith One"/>
              </a:defRPr>
            </a:lvl6pPr>
            <a:lvl7pPr lvl="6" algn="r" rtl="0">
              <a:lnSpc>
                <a:spcPct val="100000"/>
              </a:lnSpc>
              <a:spcBef>
                <a:spcPts val="0"/>
              </a:spcBef>
              <a:spcAft>
                <a:spcPts val="0"/>
              </a:spcAft>
              <a:buClr>
                <a:schemeClr val="lt1"/>
              </a:buClr>
              <a:buSzPts val="1800"/>
              <a:buFont typeface="Hammersmith One"/>
              <a:buNone/>
              <a:defRPr sz="1800">
                <a:solidFill>
                  <a:schemeClr val="lt1"/>
                </a:solidFill>
                <a:latin typeface="Hammersmith One"/>
                <a:ea typeface="Hammersmith One"/>
                <a:cs typeface="Hammersmith One"/>
                <a:sym typeface="Hammersmith One"/>
              </a:defRPr>
            </a:lvl7pPr>
            <a:lvl8pPr lvl="7" algn="r" rtl="0">
              <a:lnSpc>
                <a:spcPct val="100000"/>
              </a:lnSpc>
              <a:spcBef>
                <a:spcPts val="0"/>
              </a:spcBef>
              <a:spcAft>
                <a:spcPts val="0"/>
              </a:spcAft>
              <a:buClr>
                <a:schemeClr val="lt1"/>
              </a:buClr>
              <a:buSzPts val="1800"/>
              <a:buFont typeface="Hammersmith One"/>
              <a:buNone/>
              <a:defRPr sz="1800">
                <a:solidFill>
                  <a:schemeClr val="lt1"/>
                </a:solidFill>
                <a:latin typeface="Hammersmith One"/>
                <a:ea typeface="Hammersmith One"/>
                <a:cs typeface="Hammersmith One"/>
                <a:sym typeface="Hammersmith One"/>
              </a:defRPr>
            </a:lvl8pPr>
            <a:lvl9pPr lvl="8" algn="r" rtl="0">
              <a:lnSpc>
                <a:spcPct val="100000"/>
              </a:lnSpc>
              <a:spcBef>
                <a:spcPts val="0"/>
              </a:spcBef>
              <a:spcAft>
                <a:spcPts val="0"/>
              </a:spcAft>
              <a:buClr>
                <a:schemeClr val="lt1"/>
              </a:buClr>
              <a:buSzPts val="1800"/>
              <a:buFont typeface="Hammersmith One"/>
              <a:buNone/>
              <a:defRPr sz="1800">
                <a:solidFill>
                  <a:schemeClr val="lt1"/>
                </a:solidFill>
                <a:latin typeface="Hammersmith One"/>
                <a:ea typeface="Hammersmith One"/>
                <a:cs typeface="Hammersmith One"/>
                <a:sym typeface="Hammersmith One"/>
              </a:defRPr>
            </a:lvl9pPr>
          </a:lstStyle>
          <a:p>
            <a:endParaRPr/>
          </a:p>
        </p:txBody>
      </p:sp>
      <p:sp>
        <p:nvSpPr>
          <p:cNvPr id="91" name="Google Shape;91;p14"/>
          <p:cNvSpPr txBox="1">
            <a:spLocks noGrp="1"/>
          </p:cNvSpPr>
          <p:nvPr>
            <p:ph type="subTitle" idx="2"/>
          </p:nvPr>
        </p:nvSpPr>
        <p:spPr>
          <a:xfrm>
            <a:off x="1211142" y="2023341"/>
            <a:ext cx="1750800" cy="7014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sz="1400"/>
            </a:lvl1pPr>
            <a:lvl2pPr lvl="1" algn="r" rtl="0">
              <a:lnSpc>
                <a:spcPct val="100000"/>
              </a:lnSpc>
              <a:spcBef>
                <a:spcPts val="0"/>
              </a:spcBef>
              <a:spcAft>
                <a:spcPts val="0"/>
              </a:spcAft>
              <a:buSzPts val="1400"/>
              <a:buNone/>
              <a:defRPr/>
            </a:lvl2pPr>
            <a:lvl3pPr lvl="2" algn="r" rtl="0">
              <a:lnSpc>
                <a:spcPct val="100000"/>
              </a:lnSpc>
              <a:spcBef>
                <a:spcPts val="0"/>
              </a:spcBef>
              <a:spcAft>
                <a:spcPts val="0"/>
              </a:spcAft>
              <a:buSzPts val="1400"/>
              <a:buNone/>
              <a:defRPr/>
            </a:lvl3pPr>
            <a:lvl4pPr lvl="3" algn="r" rtl="0">
              <a:lnSpc>
                <a:spcPct val="100000"/>
              </a:lnSpc>
              <a:spcBef>
                <a:spcPts val="0"/>
              </a:spcBef>
              <a:spcAft>
                <a:spcPts val="0"/>
              </a:spcAft>
              <a:buSzPts val="1400"/>
              <a:buNone/>
              <a:defRPr/>
            </a:lvl4pPr>
            <a:lvl5pPr lvl="4" algn="r" rtl="0">
              <a:lnSpc>
                <a:spcPct val="100000"/>
              </a:lnSpc>
              <a:spcBef>
                <a:spcPts val="0"/>
              </a:spcBef>
              <a:spcAft>
                <a:spcPts val="0"/>
              </a:spcAft>
              <a:buSzPts val="1400"/>
              <a:buNone/>
              <a:defRPr/>
            </a:lvl5pPr>
            <a:lvl6pPr lvl="5" algn="r" rtl="0">
              <a:lnSpc>
                <a:spcPct val="100000"/>
              </a:lnSpc>
              <a:spcBef>
                <a:spcPts val="0"/>
              </a:spcBef>
              <a:spcAft>
                <a:spcPts val="0"/>
              </a:spcAft>
              <a:buSzPts val="1400"/>
              <a:buNone/>
              <a:defRPr/>
            </a:lvl6pPr>
            <a:lvl7pPr lvl="6" algn="r" rtl="0">
              <a:lnSpc>
                <a:spcPct val="100000"/>
              </a:lnSpc>
              <a:spcBef>
                <a:spcPts val="0"/>
              </a:spcBef>
              <a:spcAft>
                <a:spcPts val="0"/>
              </a:spcAft>
              <a:buSzPts val="1400"/>
              <a:buNone/>
              <a:defRPr/>
            </a:lvl7pPr>
            <a:lvl8pPr lvl="7" algn="r" rtl="0">
              <a:lnSpc>
                <a:spcPct val="100000"/>
              </a:lnSpc>
              <a:spcBef>
                <a:spcPts val="0"/>
              </a:spcBef>
              <a:spcAft>
                <a:spcPts val="0"/>
              </a:spcAft>
              <a:buSzPts val="1400"/>
              <a:buNone/>
              <a:defRPr/>
            </a:lvl8pPr>
            <a:lvl9pPr lvl="8" algn="r" rtl="0">
              <a:lnSpc>
                <a:spcPct val="100000"/>
              </a:lnSpc>
              <a:spcBef>
                <a:spcPts val="0"/>
              </a:spcBef>
              <a:spcAft>
                <a:spcPts val="0"/>
              </a:spcAft>
              <a:buSzPts val="1400"/>
              <a:buNone/>
              <a:defRPr/>
            </a:lvl9pPr>
          </a:lstStyle>
          <a:p>
            <a:endParaRPr/>
          </a:p>
        </p:txBody>
      </p:sp>
      <p:sp>
        <p:nvSpPr>
          <p:cNvPr id="92" name="Google Shape;92;p14"/>
          <p:cNvSpPr txBox="1">
            <a:spLocks noGrp="1"/>
          </p:cNvSpPr>
          <p:nvPr>
            <p:ph type="subTitle" idx="3"/>
          </p:nvPr>
        </p:nvSpPr>
        <p:spPr>
          <a:xfrm>
            <a:off x="3801300" y="1587926"/>
            <a:ext cx="1505700" cy="572700"/>
          </a:xfrm>
          <a:prstGeom prst="rect">
            <a:avLst/>
          </a:prstGeom>
        </p:spPr>
        <p:txBody>
          <a:bodyPr spcFirstLastPara="1" wrap="square" lIns="91425" tIns="91425" rIns="91425" bIns="91425" anchor="b" anchorCtr="0">
            <a:noAutofit/>
          </a:bodyPr>
          <a:lstStyle>
            <a:lvl1pPr lvl="0" algn="ctr" rtl="0">
              <a:lnSpc>
                <a:spcPct val="100000"/>
              </a:lnSpc>
              <a:spcBef>
                <a:spcPts val="0"/>
              </a:spcBef>
              <a:spcAft>
                <a:spcPts val="0"/>
              </a:spcAft>
              <a:buClr>
                <a:schemeClr val="lt1"/>
              </a:buClr>
              <a:buSzPts val="1800"/>
              <a:buFont typeface="Hammersmith One"/>
              <a:buNone/>
              <a:defRPr>
                <a:solidFill>
                  <a:schemeClr val="lt1"/>
                </a:solidFill>
                <a:latin typeface="Hammersmith One"/>
                <a:ea typeface="Hammersmith One"/>
                <a:cs typeface="Hammersmith One"/>
                <a:sym typeface="Hammersmith One"/>
              </a:defRPr>
            </a:lvl1pPr>
            <a:lvl2pPr lvl="1" algn="r" rtl="0">
              <a:lnSpc>
                <a:spcPct val="100000"/>
              </a:lnSpc>
              <a:spcBef>
                <a:spcPts val="0"/>
              </a:spcBef>
              <a:spcAft>
                <a:spcPts val="0"/>
              </a:spcAft>
              <a:buClr>
                <a:schemeClr val="lt1"/>
              </a:buClr>
              <a:buSzPts val="1800"/>
              <a:buFont typeface="Hammersmith One"/>
              <a:buNone/>
              <a:defRPr sz="1800">
                <a:solidFill>
                  <a:schemeClr val="lt1"/>
                </a:solidFill>
                <a:latin typeface="Hammersmith One"/>
                <a:ea typeface="Hammersmith One"/>
                <a:cs typeface="Hammersmith One"/>
                <a:sym typeface="Hammersmith One"/>
              </a:defRPr>
            </a:lvl2pPr>
            <a:lvl3pPr lvl="2" algn="r" rtl="0">
              <a:lnSpc>
                <a:spcPct val="100000"/>
              </a:lnSpc>
              <a:spcBef>
                <a:spcPts val="0"/>
              </a:spcBef>
              <a:spcAft>
                <a:spcPts val="0"/>
              </a:spcAft>
              <a:buClr>
                <a:schemeClr val="lt1"/>
              </a:buClr>
              <a:buSzPts val="1800"/>
              <a:buFont typeface="Hammersmith One"/>
              <a:buNone/>
              <a:defRPr sz="1800">
                <a:solidFill>
                  <a:schemeClr val="lt1"/>
                </a:solidFill>
                <a:latin typeface="Hammersmith One"/>
                <a:ea typeface="Hammersmith One"/>
                <a:cs typeface="Hammersmith One"/>
                <a:sym typeface="Hammersmith One"/>
              </a:defRPr>
            </a:lvl3pPr>
            <a:lvl4pPr lvl="3" algn="r" rtl="0">
              <a:lnSpc>
                <a:spcPct val="100000"/>
              </a:lnSpc>
              <a:spcBef>
                <a:spcPts val="0"/>
              </a:spcBef>
              <a:spcAft>
                <a:spcPts val="0"/>
              </a:spcAft>
              <a:buClr>
                <a:schemeClr val="lt1"/>
              </a:buClr>
              <a:buSzPts val="1800"/>
              <a:buFont typeface="Hammersmith One"/>
              <a:buNone/>
              <a:defRPr sz="1800">
                <a:solidFill>
                  <a:schemeClr val="lt1"/>
                </a:solidFill>
                <a:latin typeface="Hammersmith One"/>
                <a:ea typeface="Hammersmith One"/>
                <a:cs typeface="Hammersmith One"/>
                <a:sym typeface="Hammersmith One"/>
              </a:defRPr>
            </a:lvl4pPr>
            <a:lvl5pPr lvl="4" algn="r" rtl="0">
              <a:lnSpc>
                <a:spcPct val="100000"/>
              </a:lnSpc>
              <a:spcBef>
                <a:spcPts val="0"/>
              </a:spcBef>
              <a:spcAft>
                <a:spcPts val="0"/>
              </a:spcAft>
              <a:buClr>
                <a:schemeClr val="lt1"/>
              </a:buClr>
              <a:buSzPts val="1800"/>
              <a:buFont typeface="Hammersmith One"/>
              <a:buNone/>
              <a:defRPr sz="1800">
                <a:solidFill>
                  <a:schemeClr val="lt1"/>
                </a:solidFill>
                <a:latin typeface="Hammersmith One"/>
                <a:ea typeface="Hammersmith One"/>
                <a:cs typeface="Hammersmith One"/>
                <a:sym typeface="Hammersmith One"/>
              </a:defRPr>
            </a:lvl5pPr>
            <a:lvl6pPr lvl="5" algn="r" rtl="0">
              <a:lnSpc>
                <a:spcPct val="100000"/>
              </a:lnSpc>
              <a:spcBef>
                <a:spcPts val="0"/>
              </a:spcBef>
              <a:spcAft>
                <a:spcPts val="0"/>
              </a:spcAft>
              <a:buClr>
                <a:schemeClr val="lt1"/>
              </a:buClr>
              <a:buSzPts val="1800"/>
              <a:buFont typeface="Hammersmith One"/>
              <a:buNone/>
              <a:defRPr sz="1800">
                <a:solidFill>
                  <a:schemeClr val="lt1"/>
                </a:solidFill>
                <a:latin typeface="Hammersmith One"/>
                <a:ea typeface="Hammersmith One"/>
                <a:cs typeface="Hammersmith One"/>
                <a:sym typeface="Hammersmith One"/>
              </a:defRPr>
            </a:lvl6pPr>
            <a:lvl7pPr lvl="6" algn="r" rtl="0">
              <a:lnSpc>
                <a:spcPct val="100000"/>
              </a:lnSpc>
              <a:spcBef>
                <a:spcPts val="0"/>
              </a:spcBef>
              <a:spcAft>
                <a:spcPts val="0"/>
              </a:spcAft>
              <a:buClr>
                <a:schemeClr val="lt1"/>
              </a:buClr>
              <a:buSzPts val="1800"/>
              <a:buFont typeface="Hammersmith One"/>
              <a:buNone/>
              <a:defRPr sz="1800">
                <a:solidFill>
                  <a:schemeClr val="lt1"/>
                </a:solidFill>
                <a:latin typeface="Hammersmith One"/>
                <a:ea typeface="Hammersmith One"/>
                <a:cs typeface="Hammersmith One"/>
                <a:sym typeface="Hammersmith One"/>
              </a:defRPr>
            </a:lvl7pPr>
            <a:lvl8pPr lvl="7" algn="r" rtl="0">
              <a:lnSpc>
                <a:spcPct val="100000"/>
              </a:lnSpc>
              <a:spcBef>
                <a:spcPts val="0"/>
              </a:spcBef>
              <a:spcAft>
                <a:spcPts val="0"/>
              </a:spcAft>
              <a:buClr>
                <a:schemeClr val="lt1"/>
              </a:buClr>
              <a:buSzPts val="1800"/>
              <a:buFont typeface="Hammersmith One"/>
              <a:buNone/>
              <a:defRPr sz="1800">
                <a:solidFill>
                  <a:schemeClr val="lt1"/>
                </a:solidFill>
                <a:latin typeface="Hammersmith One"/>
                <a:ea typeface="Hammersmith One"/>
                <a:cs typeface="Hammersmith One"/>
                <a:sym typeface="Hammersmith One"/>
              </a:defRPr>
            </a:lvl8pPr>
            <a:lvl9pPr lvl="8" algn="r" rtl="0">
              <a:lnSpc>
                <a:spcPct val="100000"/>
              </a:lnSpc>
              <a:spcBef>
                <a:spcPts val="0"/>
              </a:spcBef>
              <a:spcAft>
                <a:spcPts val="0"/>
              </a:spcAft>
              <a:buClr>
                <a:schemeClr val="lt1"/>
              </a:buClr>
              <a:buSzPts val="1800"/>
              <a:buFont typeface="Hammersmith One"/>
              <a:buNone/>
              <a:defRPr sz="1800">
                <a:solidFill>
                  <a:schemeClr val="lt1"/>
                </a:solidFill>
                <a:latin typeface="Hammersmith One"/>
                <a:ea typeface="Hammersmith One"/>
                <a:cs typeface="Hammersmith One"/>
                <a:sym typeface="Hammersmith One"/>
              </a:defRPr>
            </a:lvl9pPr>
          </a:lstStyle>
          <a:p>
            <a:endParaRPr/>
          </a:p>
        </p:txBody>
      </p:sp>
      <p:sp>
        <p:nvSpPr>
          <p:cNvPr id="93" name="Google Shape;93;p14"/>
          <p:cNvSpPr txBox="1">
            <a:spLocks noGrp="1"/>
          </p:cNvSpPr>
          <p:nvPr>
            <p:ph type="subTitle" idx="4"/>
          </p:nvPr>
        </p:nvSpPr>
        <p:spPr>
          <a:xfrm>
            <a:off x="3678750" y="2020364"/>
            <a:ext cx="1750800" cy="7014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sz="1400"/>
            </a:lvl1pPr>
            <a:lvl2pPr lvl="1" algn="r" rtl="0">
              <a:lnSpc>
                <a:spcPct val="100000"/>
              </a:lnSpc>
              <a:spcBef>
                <a:spcPts val="0"/>
              </a:spcBef>
              <a:spcAft>
                <a:spcPts val="0"/>
              </a:spcAft>
              <a:buSzPts val="1400"/>
              <a:buNone/>
              <a:defRPr/>
            </a:lvl2pPr>
            <a:lvl3pPr lvl="2" algn="r" rtl="0">
              <a:lnSpc>
                <a:spcPct val="100000"/>
              </a:lnSpc>
              <a:spcBef>
                <a:spcPts val="0"/>
              </a:spcBef>
              <a:spcAft>
                <a:spcPts val="0"/>
              </a:spcAft>
              <a:buSzPts val="1400"/>
              <a:buNone/>
              <a:defRPr/>
            </a:lvl3pPr>
            <a:lvl4pPr lvl="3" algn="r" rtl="0">
              <a:lnSpc>
                <a:spcPct val="100000"/>
              </a:lnSpc>
              <a:spcBef>
                <a:spcPts val="0"/>
              </a:spcBef>
              <a:spcAft>
                <a:spcPts val="0"/>
              </a:spcAft>
              <a:buSzPts val="1400"/>
              <a:buNone/>
              <a:defRPr/>
            </a:lvl4pPr>
            <a:lvl5pPr lvl="4" algn="r" rtl="0">
              <a:lnSpc>
                <a:spcPct val="100000"/>
              </a:lnSpc>
              <a:spcBef>
                <a:spcPts val="0"/>
              </a:spcBef>
              <a:spcAft>
                <a:spcPts val="0"/>
              </a:spcAft>
              <a:buSzPts val="1400"/>
              <a:buNone/>
              <a:defRPr/>
            </a:lvl5pPr>
            <a:lvl6pPr lvl="5" algn="r" rtl="0">
              <a:lnSpc>
                <a:spcPct val="100000"/>
              </a:lnSpc>
              <a:spcBef>
                <a:spcPts val="0"/>
              </a:spcBef>
              <a:spcAft>
                <a:spcPts val="0"/>
              </a:spcAft>
              <a:buSzPts val="1400"/>
              <a:buNone/>
              <a:defRPr/>
            </a:lvl6pPr>
            <a:lvl7pPr lvl="6" algn="r" rtl="0">
              <a:lnSpc>
                <a:spcPct val="100000"/>
              </a:lnSpc>
              <a:spcBef>
                <a:spcPts val="0"/>
              </a:spcBef>
              <a:spcAft>
                <a:spcPts val="0"/>
              </a:spcAft>
              <a:buSzPts val="1400"/>
              <a:buNone/>
              <a:defRPr/>
            </a:lvl7pPr>
            <a:lvl8pPr lvl="7" algn="r" rtl="0">
              <a:lnSpc>
                <a:spcPct val="100000"/>
              </a:lnSpc>
              <a:spcBef>
                <a:spcPts val="0"/>
              </a:spcBef>
              <a:spcAft>
                <a:spcPts val="0"/>
              </a:spcAft>
              <a:buSzPts val="1400"/>
              <a:buNone/>
              <a:defRPr/>
            </a:lvl8pPr>
            <a:lvl9pPr lvl="8" algn="r" rtl="0">
              <a:lnSpc>
                <a:spcPct val="100000"/>
              </a:lnSpc>
              <a:spcBef>
                <a:spcPts val="0"/>
              </a:spcBef>
              <a:spcAft>
                <a:spcPts val="0"/>
              </a:spcAft>
              <a:buSzPts val="1400"/>
              <a:buNone/>
              <a:defRPr/>
            </a:lvl9pPr>
          </a:lstStyle>
          <a:p>
            <a:endParaRPr/>
          </a:p>
        </p:txBody>
      </p:sp>
      <p:sp>
        <p:nvSpPr>
          <p:cNvPr id="94" name="Google Shape;94;p14"/>
          <p:cNvSpPr txBox="1">
            <a:spLocks noGrp="1"/>
          </p:cNvSpPr>
          <p:nvPr>
            <p:ph type="subTitle" idx="5"/>
          </p:nvPr>
        </p:nvSpPr>
        <p:spPr>
          <a:xfrm>
            <a:off x="6299200" y="1587926"/>
            <a:ext cx="1505700" cy="572700"/>
          </a:xfrm>
          <a:prstGeom prst="rect">
            <a:avLst/>
          </a:prstGeom>
        </p:spPr>
        <p:txBody>
          <a:bodyPr spcFirstLastPara="1" wrap="square" lIns="91425" tIns="91425" rIns="91425" bIns="91425" anchor="b" anchorCtr="0">
            <a:noAutofit/>
          </a:bodyPr>
          <a:lstStyle>
            <a:lvl1pPr lvl="0" algn="ctr" rtl="0">
              <a:lnSpc>
                <a:spcPct val="100000"/>
              </a:lnSpc>
              <a:spcBef>
                <a:spcPts val="0"/>
              </a:spcBef>
              <a:spcAft>
                <a:spcPts val="0"/>
              </a:spcAft>
              <a:buClr>
                <a:schemeClr val="lt1"/>
              </a:buClr>
              <a:buSzPts val="1800"/>
              <a:buFont typeface="Hammersmith One"/>
              <a:buNone/>
              <a:defRPr>
                <a:solidFill>
                  <a:schemeClr val="lt1"/>
                </a:solidFill>
                <a:latin typeface="Hammersmith One"/>
                <a:ea typeface="Hammersmith One"/>
                <a:cs typeface="Hammersmith One"/>
                <a:sym typeface="Hammersmith One"/>
              </a:defRPr>
            </a:lvl1pPr>
            <a:lvl2pPr lvl="1" algn="r" rtl="0">
              <a:lnSpc>
                <a:spcPct val="100000"/>
              </a:lnSpc>
              <a:spcBef>
                <a:spcPts val="0"/>
              </a:spcBef>
              <a:spcAft>
                <a:spcPts val="0"/>
              </a:spcAft>
              <a:buClr>
                <a:schemeClr val="lt1"/>
              </a:buClr>
              <a:buSzPts val="1800"/>
              <a:buFont typeface="Hammersmith One"/>
              <a:buNone/>
              <a:defRPr sz="1800">
                <a:solidFill>
                  <a:schemeClr val="lt1"/>
                </a:solidFill>
                <a:latin typeface="Hammersmith One"/>
                <a:ea typeface="Hammersmith One"/>
                <a:cs typeface="Hammersmith One"/>
                <a:sym typeface="Hammersmith One"/>
              </a:defRPr>
            </a:lvl2pPr>
            <a:lvl3pPr lvl="2" algn="r" rtl="0">
              <a:lnSpc>
                <a:spcPct val="100000"/>
              </a:lnSpc>
              <a:spcBef>
                <a:spcPts val="0"/>
              </a:spcBef>
              <a:spcAft>
                <a:spcPts val="0"/>
              </a:spcAft>
              <a:buClr>
                <a:schemeClr val="lt1"/>
              </a:buClr>
              <a:buSzPts val="1800"/>
              <a:buFont typeface="Hammersmith One"/>
              <a:buNone/>
              <a:defRPr sz="1800">
                <a:solidFill>
                  <a:schemeClr val="lt1"/>
                </a:solidFill>
                <a:latin typeface="Hammersmith One"/>
                <a:ea typeface="Hammersmith One"/>
                <a:cs typeface="Hammersmith One"/>
                <a:sym typeface="Hammersmith One"/>
              </a:defRPr>
            </a:lvl3pPr>
            <a:lvl4pPr lvl="3" algn="r" rtl="0">
              <a:lnSpc>
                <a:spcPct val="100000"/>
              </a:lnSpc>
              <a:spcBef>
                <a:spcPts val="0"/>
              </a:spcBef>
              <a:spcAft>
                <a:spcPts val="0"/>
              </a:spcAft>
              <a:buClr>
                <a:schemeClr val="lt1"/>
              </a:buClr>
              <a:buSzPts val="1800"/>
              <a:buFont typeface="Hammersmith One"/>
              <a:buNone/>
              <a:defRPr sz="1800">
                <a:solidFill>
                  <a:schemeClr val="lt1"/>
                </a:solidFill>
                <a:latin typeface="Hammersmith One"/>
                <a:ea typeface="Hammersmith One"/>
                <a:cs typeface="Hammersmith One"/>
                <a:sym typeface="Hammersmith One"/>
              </a:defRPr>
            </a:lvl4pPr>
            <a:lvl5pPr lvl="4" algn="r" rtl="0">
              <a:lnSpc>
                <a:spcPct val="100000"/>
              </a:lnSpc>
              <a:spcBef>
                <a:spcPts val="0"/>
              </a:spcBef>
              <a:spcAft>
                <a:spcPts val="0"/>
              </a:spcAft>
              <a:buClr>
                <a:schemeClr val="lt1"/>
              </a:buClr>
              <a:buSzPts val="1800"/>
              <a:buFont typeface="Hammersmith One"/>
              <a:buNone/>
              <a:defRPr sz="1800">
                <a:solidFill>
                  <a:schemeClr val="lt1"/>
                </a:solidFill>
                <a:latin typeface="Hammersmith One"/>
                <a:ea typeface="Hammersmith One"/>
                <a:cs typeface="Hammersmith One"/>
                <a:sym typeface="Hammersmith One"/>
              </a:defRPr>
            </a:lvl5pPr>
            <a:lvl6pPr lvl="5" algn="r" rtl="0">
              <a:lnSpc>
                <a:spcPct val="100000"/>
              </a:lnSpc>
              <a:spcBef>
                <a:spcPts val="0"/>
              </a:spcBef>
              <a:spcAft>
                <a:spcPts val="0"/>
              </a:spcAft>
              <a:buClr>
                <a:schemeClr val="lt1"/>
              </a:buClr>
              <a:buSzPts val="1800"/>
              <a:buFont typeface="Hammersmith One"/>
              <a:buNone/>
              <a:defRPr sz="1800">
                <a:solidFill>
                  <a:schemeClr val="lt1"/>
                </a:solidFill>
                <a:latin typeface="Hammersmith One"/>
                <a:ea typeface="Hammersmith One"/>
                <a:cs typeface="Hammersmith One"/>
                <a:sym typeface="Hammersmith One"/>
              </a:defRPr>
            </a:lvl6pPr>
            <a:lvl7pPr lvl="6" algn="r" rtl="0">
              <a:lnSpc>
                <a:spcPct val="100000"/>
              </a:lnSpc>
              <a:spcBef>
                <a:spcPts val="0"/>
              </a:spcBef>
              <a:spcAft>
                <a:spcPts val="0"/>
              </a:spcAft>
              <a:buClr>
                <a:schemeClr val="lt1"/>
              </a:buClr>
              <a:buSzPts val="1800"/>
              <a:buFont typeface="Hammersmith One"/>
              <a:buNone/>
              <a:defRPr sz="1800">
                <a:solidFill>
                  <a:schemeClr val="lt1"/>
                </a:solidFill>
                <a:latin typeface="Hammersmith One"/>
                <a:ea typeface="Hammersmith One"/>
                <a:cs typeface="Hammersmith One"/>
                <a:sym typeface="Hammersmith One"/>
              </a:defRPr>
            </a:lvl7pPr>
            <a:lvl8pPr lvl="7" algn="r" rtl="0">
              <a:lnSpc>
                <a:spcPct val="100000"/>
              </a:lnSpc>
              <a:spcBef>
                <a:spcPts val="0"/>
              </a:spcBef>
              <a:spcAft>
                <a:spcPts val="0"/>
              </a:spcAft>
              <a:buClr>
                <a:schemeClr val="lt1"/>
              </a:buClr>
              <a:buSzPts val="1800"/>
              <a:buFont typeface="Hammersmith One"/>
              <a:buNone/>
              <a:defRPr sz="1800">
                <a:solidFill>
                  <a:schemeClr val="lt1"/>
                </a:solidFill>
                <a:latin typeface="Hammersmith One"/>
                <a:ea typeface="Hammersmith One"/>
                <a:cs typeface="Hammersmith One"/>
                <a:sym typeface="Hammersmith One"/>
              </a:defRPr>
            </a:lvl8pPr>
            <a:lvl9pPr lvl="8" algn="r" rtl="0">
              <a:lnSpc>
                <a:spcPct val="100000"/>
              </a:lnSpc>
              <a:spcBef>
                <a:spcPts val="0"/>
              </a:spcBef>
              <a:spcAft>
                <a:spcPts val="0"/>
              </a:spcAft>
              <a:buClr>
                <a:schemeClr val="lt1"/>
              </a:buClr>
              <a:buSzPts val="1800"/>
              <a:buFont typeface="Hammersmith One"/>
              <a:buNone/>
              <a:defRPr sz="1800">
                <a:solidFill>
                  <a:schemeClr val="lt1"/>
                </a:solidFill>
                <a:latin typeface="Hammersmith One"/>
                <a:ea typeface="Hammersmith One"/>
                <a:cs typeface="Hammersmith One"/>
                <a:sym typeface="Hammersmith One"/>
              </a:defRPr>
            </a:lvl9pPr>
          </a:lstStyle>
          <a:p>
            <a:endParaRPr/>
          </a:p>
        </p:txBody>
      </p:sp>
      <p:sp>
        <p:nvSpPr>
          <p:cNvPr id="95" name="Google Shape;95;p14"/>
          <p:cNvSpPr txBox="1">
            <a:spLocks noGrp="1"/>
          </p:cNvSpPr>
          <p:nvPr>
            <p:ph type="subTitle" idx="6"/>
          </p:nvPr>
        </p:nvSpPr>
        <p:spPr>
          <a:xfrm>
            <a:off x="6176650" y="2023341"/>
            <a:ext cx="1750800" cy="7014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sz="1400"/>
            </a:lvl1pPr>
            <a:lvl2pPr lvl="1" algn="r" rtl="0">
              <a:lnSpc>
                <a:spcPct val="100000"/>
              </a:lnSpc>
              <a:spcBef>
                <a:spcPts val="0"/>
              </a:spcBef>
              <a:spcAft>
                <a:spcPts val="0"/>
              </a:spcAft>
              <a:buSzPts val="1400"/>
              <a:buNone/>
              <a:defRPr/>
            </a:lvl2pPr>
            <a:lvl3pPr lvl="2" algn="r" rtl="0">
              <a:lnSpc>
                <a:spcPct val="100000"/>
              </a:lnSpc>
              <a:spcBef>
                <a:spcPts val="0"/>
              </a:spcBef>
              <a:spcAft>
                <a:spcPts val="0"/>
              </a:spcAft>
              <a:buSzPts val="1400"/>
              <a:buNone/>
              <a:defRPr/>
            </a:lvl3pPr>
            <a:lvl4pPr lvl="3" algn="r" rtl="0">
              <a:lnSpc>
                <a:spcPct val="100000"/>
              </a:lnSpc>
              <a:spcBef>
                <a:spcPts val="0"/>
              </a:spcBef>
              <a:spcAft>
                <a:spcPts val="0"/>
              </a:spcAft>
              <a:buSzPts val="1400"/>
              <a:buNone/>
              <a:defRPr/>
            </a:lvl4pPr>
            <a:lvl5pPr lvl="4" algn="r" rtl="0">
              <a:lnSpc>
                <a:spcPct val="100000"/>
              </a:lnSpc>
              <a:spcBef>
                <a:spcPts val="0"/>
              </a:spcBef>
              <a:spcAft>
                <a:spcPts val="0"/>
              </a:spcAft>
              <a:buSzPts val="1400"/>
              <a:buNone/>
              <a:defRPr/>
            </a:lvl5pPr>
            <a:lvl6pPr lvl="5" algn="r" rtl="0">
              <a:lnSpc>
                <a:spcPct val="100000"/>
              </a:lnSpc>
              <a:spcBef>
                <a:spcPts val="0"/>
              </a:spcBef>
              <a:spcAft>
                <a:spcPts val="0"/>
              </a:spcAft>
              <a:buSzPts val="1400"/>
              <a:buNone/>
              <a:defRPr/>
            </a:lvl6pPr>
            <a:lvl7pPr lvl="6" algn="r" rtl="0">
              <a:lnSpc>
                <a:spcPct val="100000"/>
              </a:lnSpc>
              <a:spcBef>
                <a:spcPts val="0"/>
              </a:spcBef>
              <a:spcAft>
                <a:spcPts val="0"/>
              </a:spcAft>
              <a:buSzPts val="1400"/>
              <a:buNone/>
              <a:defRPr/>
            </a:lvl7pPr>
            <a:lvl8pPr lvl="7" algn="r" rtl="0">
              <a:lnSpc>
                <a:spcPct val="100000"/>
              </a:lnSpc>
              <a:spcBef>
                <a:spcPts val="0"/>
              </a:spcBef>
              <a:spcAft>
                <a:spcPts val="0"/>
              </a:spcAft>
              <a:buSzPts val="1400"/>
              <a:buNone/>
              <a:defRPr/>
            </a:lvl8pPr>
            <a:lvl9pPr lvl="8" algn="r" rtl="0">
              <a:lnSpc>
                <a:spcPct val="100000"/>
              </a:lnSpc>
              <a:spcBef>
                <a:spcPts val="0"/>
              </a:spcBef>
              <a:spcAft>
                <a:spcPts val="0"/>
              </a:spcAft>
              <a:buSzPts val="1400"/>
              <a:buNone/>
              <a:defRPr/>
            </a:lvl9pPr>
          </a:lstStyle>
          <a:p>
            <a:endParaRPr/>
          </a:p>
        </p:txBody>
      </p:sp>
      <p:sp>
        <p:nvSpPr>
          <p:cNvPr id="96" name="Google Shape;96;p14"/>
          <p:cNvSpPr txBox="1">
            <a:spLocks noGrp="1"/>
          </p:cNvSpPr>
          <p:nvPr>
            <p:ph type="subTitle" idx="7"/>
          </p:nvPr>
        </p:nvSpPr>
        <p:spPr>
          <a:xfrm>
            <a:off x="1333692" y="3398857"/>
            <a:ext cx="1505700" cy="551700"/>
          </a:xfrm>
          <a:prstGeom prst="rect">
            <a:avLst/>
          </a:prstGeom>
        </p:spPr>
        <p:txBody>
          <a:bodyPr spcFirstLastPara="1" wrap="square" lIns="91425" tIns="91425" rIns="91425" bIns="91425" anchor="b" anchorCtr="0">
            <a:noAutofit/>
          </a:bodyPr>
          <a:lstStyle>
            <a:lvl1pPr lvl="0" algn="ctr" rtl="0">
              <a:lnSpc>
                <a:spcPct val="100000"/>
              </a:lnSpc>
              <a:spcBef>
                <a:spcPts val="0"/>
              </a:spcBef>
              <a:spcAft>
                <a:spcPts val="0"/>
              </a:spcAft>
              <a:buClr>
                <a:schemeClr val="lt1"/>
              </a:buClr>
              <a:buSzPts val="1800"/>
              <a:buFont typeface="Hammersmith One"/>
              <a:buNone/>
              <a:defRPr>
                <a:solidFill>
                  <a:schemeClr val="lt1"/>
                </a:solidFill>
                <a:latin typeface="Hammersmith One"/>
                <a:ea typeface="Hammersmith One"/>
                <a:cs typeface="Hammersmith One"/>
                <a:sym typeface="Hammersmith One"/>
              </a:defRPr>
            </a:lvl1pPr>
            <a:lvl2pPr lvl="1" algn="r" rtl="0">
              <a:lnSpc>
                <a:spcPct val="100000"/>
              </a:lnSpc>
              <a:spcBef>
                <a:spcPts val="0"/>
              </a:spcBef>
              <a:spcAft>
                <a:spcPts val="0"/>
              </a:spcAft>
              <a:buClr>
                <a:schemeClr val="lt1"/>
              </a:buClr>
              <a:buSzPts val="1800"/>
              <a:buFont typeface="Hammersmith One"/>
              <a:buNone/>
              <a:defRPr sz="1800">
                <a:solidFill>
                  <a:schemeClr val="lt1"/>
                </a:solidFill>
                <a:latin typeface="Hammersmith One"/>
                <a:ea typeface="Hammersmith One"/>
                <a:cs typeface="Hammersmith One"/>
                <a:sym typeface="Hammersmith One"/>
              </a:defRPr>
            </a:lvl2pPr>
            <a:lvl3pPr lvl="2" algn="r" rtl="0">
              <a:lnSpc>
                <a:spcPct val="100000"/>
              </a:lnSpc>
              <a:spcBef>
                <a:spcPts val="0"/>
              </a:spcBef>
              <a:spcAft>
                <a:spcPts val="0"/>
              </a:spcAft>
              <a:buClr>
                <a:schemeClr val="lt1"/>
              </a:buClr>
              <a:buSzPts val="1800"/>
              <a:buFont typeface="Hammersmith One"/>
              <a:buNone/>
              <a:defRPr sz="1800">
                <a:solidFill>
                  <a:schemeClr val="lt1"/>
                </a:solidFill>
                <a:latin typeface="Hammersmith One"/>
                <a:ea typeface="Hammersmith One"/>
                <a:cs typeface="Hammersmith One"/>
                <a:sym typeface="Hammersmith One"/>
              </a:defRPr>
            </a:lvl3pPr>
            <a:lvl4pPr lvl="3" algn="r" rtl="0">
              <a:lnSpc>
                <a:spcPct val="100000"/>
              </a:lnSpc>
              <a:spcBef>
                <a:spcPts val="0"/>
              </a:spcBef>
              <a:spcAft>
                <a:spcPts val="0"/>
              </a:spcAft>
              <a:buClr>
                <a:schemeClr val="lt1"/>
              </a:buClr>
              <a:buSzPts val="1800"/>
              <a:buFont typeface="Hammersmith One"/>
              <a:buNone/>
              <a:defRPr sz="1800">
                <a:solidFill>
                  <a:schemeClr val="lt1"/>
                </a:solidFill>
                <a:latin typeface="Hammersmith One"/>
                <a:ea typeface="Hammersmith One"/>
                <a:cs typeface="Hammersmith One"/>
                <a:sym typeface="Hammersmith One"/>
              </a:defRPr>
            </a:lvl4pPr>
            <a:lvl5pPr lvl="4" algn="r" rtl="0">
              <a:lnSpc>
                <a:spcPct val="100000"/>
              </a:lnSpc>
              <a:spcBef>
                <a:spcPts val="0"/>
              </a:spcBef>
              <a:spcAft>
                <a:spcPts val="0"/>
              </a:spcAft>
              <a:buClr>
                <a:schemeClr val="lt1"/>
              </a:buClr>
              <a:buSzPts val="1800"/>
              <a:buFont typeface="Hammersmith One"/>
              <a:buNone/>
              <a:defRPr sz="1800">
                <a:solidFill>
                  <a:schemeClr val="lt1"/>
                </a:solidFill>
                <a:latin typeface="Hammersmith One"/>
                <a:ea typeface="Hammersmith One"/>
                <a:cs typeface="Hammersmith One"/>
                <a:sym typeface="Hammersmith One"/>
              </a:defRPr>
            </a:lvl5pPr>
            <a:lvl6pPr lvl="5" algn="r" rtl="0">
              <a:lnSpc>
                <a:spcPct val="100000"/>
              </a:lnSpc>
              <a:spcBef>
                <a:spcPts val="0"/>
              </a:spcBef>
              <a:spcAft>
                <a:spcPts val="0"/>
              </a:spcAft>
              <a:buClr>
                <a:schemeClr val="lt1"/>
              </a:buClr>
              <a:buSzPts val="1800"/>
              <a:buFont typeface="Hammersmith One"/>
              <a:buNone/>
              <a:defRPr sz="1800">
                <a:solidFill>
                  <a:schemeClr val="lt1"/>
                </a:solidFill>
                <a:latin typeface="Hammersmith One"/>
                <a:ea typeface="Hammersmith One"/>
                <a:cs typeface="Hammersmith One"/>
                <a:sym typeface="Hammersmith One"/>
              </a:defRPr>
            </a:lvl6pPr>
            <a:lvl7pPr lvl="6" algn="r" rtl="0">
              <a:lnSpc>
                <a:spcPct val="100000"/>
              </a:lnSpc>
              <a:spcBef>
                <a:spcPts val="0"/>
              </a:spcBef>
              <a:spcAft>
                <a:spcPts val="0"/>
              </a:spcAft>
              <a:buClr>
                <a:schemeClr val="lt1"/>
              </a:buClr>
              <a:buSzPts val="1800"/>
              <a:buFont typeface="Hammersmith One"/>
              <a:buNone/>
              <a:defRPr sz="1800">
                <a:solidFill>
                  <a:schemeClr val="lt1"/>
                </a:solidFill>
                <a:latin typeface="Hammersmith One"/>
                <a:ea typeface="Hammersmith One"/>
                <a:cs typeface="Hammersmith One"/>
                <a:sym typeface="Hammersmith One"/>
              </a:defRPr>
            </a:lvl7pPr>
            <a:lvl8pPr lvl="7" algn="r" rtl="0">
              <a:lnSpc>
                <a:spcPct val="100000"/>
              </a:lnSpc>
              <a:spcBef>
                <a:spcPts val="0"/>
              </a:spcBef>
              <a:spcAft>
                <a:spcPts val="0"/>
              </a:spcAft>
              <a:buClr>
                <a:schemeClr val="lt1"/>
              </a:buClr>
              <a:buSzPts val="1800"/>
              <a:buFont typeface="Hammersmith One"/>
              <a:buNone/>
              <a:defRPr sz="1800">
                <a:solidFill>
                  <a:schemeClr val="lt1"/>
                </a:solidFill>
                <a:latin typeface="Hammersmith One"/>
                <a:ea typeface="Hammersmith One"/>
                <a:cs typeface="Hammersmith One"/>
                <a:sym typeface="Hammersmith One"/>
              </a:defRPr>
            </a:lvl8pPr>
            <a:lvl9pPr lvl="8" algn="r" rtl="0">
              <a:lnSpc>
                <a:spcPct val="100000"/>
              </a:lnSpc>
              <a:spcBef>
                <a:spcPts val="0"/>
              </a:spcBef>
              <a:spcAft>
                <a:spcPts val="0"/>
              </a:spcAft>
              <a:buClr>
                <a:schemeClr val="lt1"/>
              </a:buClr>
              <a:buSzPts val="1800"/>
              <a:buFont typeface="Hammersmith One"/>
              <a:buNone/>
              <a:defRPr sz="1800">
                <a:solidFill>
                  <a:schemeClr val="lt1"/>
                </a:solidFill>
                <a:latin typeface="Hammersmith One"/>
                <a:ea typeface="Hammersmith One"/>
                <a:cs typeface="Hammersmith One"/>
                <a:sym typeface="Hammersmith One"/>
              </a:defRPr>
            </a:lvl9pPr>
          </a:lstStyle>
          <a:p>
            <a:endParaRPr/>
          </a:p>
        </p:txBody>
      </p:sp>
      <p:sp>
        <p:nvSpPr>
          <p:cNvPr id="97" name="Google Shape;97;p14"/>
          <p:cNvSpPr txBox="1">
            <a:spLocks noGrp="1"/>
          </p:cNvSpPr>
          <p:nvPr>
            <p:ph type="subTitle" idx="8"/>
          </p:nvPr>
        </p:nvSpPr>
        <p:spPr>
          <a:xfrm>
            <a:off x="1211142" y="3814269"/>
            <a:ext cx="1750800" cy="7014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sz="1400"/>
            </a:lvl1pPr>
            <a:lvl2pPr lvl="1" algn="r" rtl="0">
              <a:lnSpc>
                <a:spcPct val="100000"/>
              </a:lnSpc>
              <a:spcBef>
                <a:spcPts val="0"/>
              </a:spcBef>
              <a:spcAft>
                <a:spcPts val="0"/>
              </a:spcAft>
              <a:buSzPts val="1400"/>
              <a:buNone/>
              <a:defRPr/>
            </a:lvl2pPr>
            <a:lvl3pPr lvl="2" algn="r" rtl="0">
              <a:lnSpc>
                <a:spcPct val="100000"/>
              </a:lnSpc>
              <a:spcBef>
                <a:spcPts val="0"/>
              </a:spcBef>
              <a:spcAft>
                <a:spcPts val="0"/>
              </a:spcAft>
              <a:buSzPts val="1400"/>
              <a:buNone/>
              <a:defRPr/>
            </a:lvl3pPr>
            <a:lvl4pPr lvl="3" algn="r" rtl="0">
              <a:lnSpc>
                <a:spcPct val="100000"/>
              </a:lnSpc>
              <a:spcBef>
                <a:spcPts val="0"/>
              </a:spcBef>
              <a:spcAft>
                <a:spcPts val="0"/>
              </a:spcAft>
              <a:buSzPts val="1400"/>
              <a:buNone/>
              <a:defRPr/>
            </a:lvl4pPr>
            <a:lvl5pPr lvl="4" algn="r" rtl="0">
              <a:lnSpc>
                <a:spcPct val="100000"/>
              </a:lnSpc>
              <a:spcBef>
                <a:spcPts val="0"/>
              </a:spcBef>
              <a:spcAft>
                <a:spcPts val="0"/>
              </a:spcAft>
              <a:buSzPts val="1400"/>
              <a:buNone/>
              <a:defRPr/>
            </a:lvl5pPr>
            <a:lvl6pPr lvl="5" algn="r" rtl="0">
              <a:lnSpc>
                <a:spcPct val="100000"/>
              </a:lnSpc>
              <a:spcBef>
                <a:spcPts val="0"/>
              </a:spcBef>
              <a:spcAft>
                <a:spcPts val="0"/>
              </a:spcAft>
              <a:buSzPts val="1400"/>
              <a:buNone/>
              <a:defRPr/>
            </a:lvl6pPr>
            <a:lvl7pPr lvl="6" algn="r" rtl="0">
              <a:lnSpc>
                <a:spcPct val="100000"/>
              </a:lnSpc>
              <a:spcBef>
                <a:spcPts val="0"/>
              </a:spcBef>
              <a:spcAft>
                <a:spcPts val="0"/>
              </a:spcAft>
              <a:buSzPts val="1400"/>
              <a:buNone/>
              <a:defRPr/>
            </a:lvl7pPr>
            <a:lvl8pPr lvl="7" algn="r" rtl="0">
              <a:lnSpc>
                <a:spcPct val="100000"/>
              </a:lnSpc>
              <a:spcBef>
                <a:spcPts val="0"/>
              </a:spcBef>
              <a:spcAft>
                <a:spcPts val="0"/>
              </a:spcAft>
              <a:buSzPts val="1400"/>
              <a:buNone/>
              <a:defRPr/>
            </a:lvl8pPr>
            <a:lvl9pPr lvl="8" algn="r" rtl="0">
              <a:lnSpc>
                <a:spcPct val="100000"/>
              </a:lnSpc>
              <a:spcBef>
                <a:spcPts val="0"/>
              </a:spcBef>
              <a:spcAft>
                <a:spcPts val="0"/>
              </a:spcAft>
              <a:buSzPts val="1400"/>
              <a:buNone/>
              <a:defRPr/>
            </a:lvl9pPr>
          </a:lstStyle>
          <a:p>
            <a:endParaRPr/>
          </a:p>
        </p:txBody>
      </p:sp>
      <p:sp>
        <p:nvSpPr>
          <p:cNvPr id="98" name="Google Shape;98;p14"/>
          <p:cNvSpPr txBox="1">
            <a:spLocks noGrp="1"/>
          </p:cNvSpPr>
          <p:nvPr>
            <p:ph type="subTitle" idx="9"/>
          </p:nvPr>
        </p:nvSpPr>
        <p:spPr>
          <a:xfrm>
            <a:off x="3801300" y="3398857"/>
            <a:ext cx="1505700" cy="551700"/>
          </a:xfrm>
          <a:prstGeom prst="rect">
            <a:avLst/>
          </a:prstGeom>
        </p:spPr>
        <p:txBody>
          <a:bodyPr spcFirstLastPara="1" wrap="square" lIns="91425" tIns="91425" rIns="91425" bIns="91425" anchor="b" anchorCtr="0">
            <a:noAutofit/>
          </a:bodyPr>
          <a:lstStyle>
            <a:lvl1pPr lvl="0" algn="ctr" rtl="0">
              <a:lnSpc>
                <a:spcPct val="100000"/>
              </a:lnSpc>
              <a:spcBef>
                <a:spcPts val="0"/>
              </a:spcBef>
              <a:spcAft>
                <a:spcPts val="0"/>
              </a:spcAft>
              <a:buClr>
                <a:schemeClr val="lt1"/>
              </a:buClr>
              <a:buSzPts val="1800"/>
              <a:buFont typeface="Hammersmith One"/>
              <a:buNone/>
              <a:defRPr>
                <a:solidFill>
                  <a:schemeClr val="lt1"/>
                </a:solidFill>
                <a:latin typeface="Hammersmith One"/>
                <a:ea typeface="Hammersmith One"/>
                <a:cs typeface="Hammersmith One"/>
                <a:sym typeface="Hammersmith One"/>
              </a:defRPr>
            </a:lvl1pPr>
            <a:lvl2pPr lvl="1" algn="r" rtl="0">
              <a:lnSpc>
                <a:spcPct val="100000"/>
              </a:lnSpc>
              <a:spcBef>
                <a:spcPts val="0"/>
              </a:spcBef>
              <a:spcAft>
                <a:spcPts val="0"/>
              </a:spcAft>
              <a:buClr>
                <a:schemeClr val="lt1"/>
              </a:buClr>
              <a:buSzPts val="1800"/>
              <a:buFont typeface="Hammersmith One"/>
              <a:buNone/>
              <a:defRPr sz="1800">
                <a:solidFill>
                  <a:schemeClr val="lt1"/>
                </a:solidFill>
                <a:latin typeface="Hammersmith One"/>
                <a:ea typeface="Hammersmith One"/>
                <a:cs typeface="Hammersmith One"/>
                <a:sym typeface="Hammersmith One"/>
              </a:defRPr>
            </a:lvl2pPr>
            <a:lvl3pPr lvl="2" algn="r" rtl="0">
              <a:lnSpc>
                <a:spcPct val="100000"/>
              </a:lnSpc>
              <a:spcBef>
                <a:spcPts val="0"/>
              </a:spcBef>
              <a:spcAft>
                <a:spcPts val="0"/>
              </a:spcAft>
              <a:buClr>
                <a:schemeClr val="lt1"/>
              </a:buClr>
              <a:buSzPts val="1800"/>
              <a:buFont typeface="Hammersmith One"/>
              <a:buNone/>
              <a:defRPr sz="1800">
                <a:solidFill>
                  <a:schemeClr val="lt1"/>
                </a:solidFill>
                <a:latin typeface="Hammersmith One"/>
                <a:ea typeface="Hammersmith One"/>
                <a:cs typeface="Hammersmith One"/>
                <a:sym typeface="Hammersmith One"/>
              </a:defRPr>
            </a:lvl3pPr>
            <a:lvl4pPr lvl="3" algn="r" rtl="0">
              <a:lnSpc>
                <a:spcPct val="100000"/>
              </a:lnSpc>
              <a:spcBef>
                <a:spcPts val="0"/>
              </a:spcBef>
              <a:spcAft>
                <a:spcPts val="0"/>
              </a:spcAft>
              <a:buClr>
                <a:schemeClr val="lt1"/>
              </a:buClr>
              <a:buSzPts val="1800"/>
              <a:buFont typeface="Hammersmith One"/>
              <a:buNone/>
              <a:defRPr sz="1800">
                <a:solidFill>
                  <a:schemeClr val="lt1"/>
                </a:solidFill>
                <a:latin typeface="Hammersmith One"/>
                <a:ea typeface="Hammersmith One"/>
                <a:cs typeface="Hammersmith One"/>
                <a:sym typeface="Hammersmith One"/>
              </a:defRPr>
            </a:lvl4pPr>
            <a:lvl5pPr lvl="4" algn="r" rtl="0">
              <a:lnSpc>
                <a:spcPct val="100000"/>
              </a:lnSpc>
              <a:spcBef>
                <a:spcPts val="0"/>
              </a:spcBef>
              <a:spcAft>
                <a:spcPts val="0"/>
              </a:spcAft>
              <a:buClr>
                <a:schemeClr val="lt1"/>
              </a:buClr>
              <a:buSzPts val="1800"/>
              <a:buFont typeface="Hammersmith One"/>
              <a:buNone/>
              <a:defRPr sz="1800">
                <a:solidFill>
                  <a:schemeClr val="lt1"/>
                </a:solidFill>
                <a:latin typeface="Hammersmith One"/>
                <a:ea typeface="Hammersmith One"/>
                <a:cs typeface="Hammersmith One"/>
                <a:sym typeface="Hammersmith One"/>
              </a:defRPr>
            </a:lvl5pPr>
            <a:lvl6pPr lvl="5" algn="r" rtl="0">
              <a:lnSpc>
                <a:spcPct val="100000"/>
              </a:lnSpc>
              <a:spcBef>
                <a:spcPts val="0"/>
              </a:spcBef>
              <a:spcAft>
                <a:spcPts val="0"/>
              </a:spcAft>
              <a:buClr>
                <a:schemeClr val="lt1"/>
              </a:buClr>
              <a:buSzPts val="1800"/>
              <a:buFont typeface="Hammersmith One"/>
              <a:buNone/>
              <a:defRPr sz="1800">
                <a:solidFill>
                  <a:schemeClr val="lt1"/>
                </a:solidFill>
                <a:latin typeface="Hammersmith One"/>
                <a:ea typeface="Hammersmith One"/>
                <a:cs typeface="Hammersmith One"/>
                <a:sym typeface="Hammersmith One"/>
              </a:defRPr>
            </a:lvl6pPr>
            <a:lvl7pPr lvl="6" algn="r" rtl="0">
              <a:lnSpc>
                <a:spcPct val="100000"/>
              </a:lnSpc>
              <a:spcBef>
                <a:spcPts val="0"/>
              </a:spcBef>
              <a:spcAft>
                <a:spcPts val="0"/>
              </a:spcAft>
              <a:buClr>
                <a:schemeClr val="lt1"/>
              </a:buClr>
              <a:buSzPts val="1800"/>
              <a:buFont typeface="Hammersmith One"/>
              <a:buNone/>
              <a:defRPr sz="1800">
                <a:solidFill>
                  <a:schemeClr val="lt1"/>
                </a:solidFill>
                <a:latin typeface="Hammersmith One"/>
                <a:ea typeface="Hammersmith One"/>
                <a:cs typeface="Hammersmith One"/>
                <a:sym typeface="Hammersmith One"/>
              </a:defRPr>
            </a:lvl7pPr>
            <a:lvl8pPr lvl="7" algn="r" rtl="0">
              <a:lnSpc>
                <a:spcPct val="100000"/>
              </a:lnSpc>
              <a:spcBef>
                <a:spcPts val="0"/>
              </a:spcBef>
              <a:spcAft>
                <a:spcPts val="0"/>
              </a:spcAft>
              <a:buClr>
                <a:schemeClr val="lt1"/>
              </a:buClr>
              <a:buSzPts val="1800"/>
              <a:buFont typeface="Hammersmith One"/>
              <a:buNone/>
              <a:defRPr sz="1800">
                <a:solidFill>
                  <a:schemeClr val="lt1"/>
                </a:solidFill>
                <a:latin typeface="Hammersmith One"/>
                <a:ea typeface="Hammersmith One"/>
                <a:cs typeface="Hammersmith One"/>
                <a:sym typeface="Hammersmith One"/>
              </a:defRPr>
            </a:lvl8pPr>
            <a:lvl9pPr lvl="8" algn="r" rtl="0">
              <a:lnSpc>
                <a:spcPct val="100000"/>
              </a:lnSpc>
              <a:spcBef>
                <a:spcPts val="0"/>
              </a:spcBef>
              <a:spcAft>
                <a:spcPts val="0"/>
              </a:spcAft>
              <a:buClr>
                <a:schemeClr val="lt1"/>
              </a:buClr>
              <a:buSzPts val="1800"/>
              <a:buFont typeface="Hammersmith One"/>
              <a:buNone/>
              <a:defRPr sz="1800">
                <a:solidFill>
                  <a:schemeClr val="lt1"/>
                </a:solidFill>
                <a:latin typeface="Hammersmith One"/>
                <a:ea typeface="Hammersmith One"/>
                <a:cs typeface="Hammersmith One"/>
                <a:sym typeface="Hammersmith One"/>
              </a:defRPr>
            </a:lvl9pPr>
          </a:lstStyle>
          <a:p>
            <a:endParaRPr/>
          </a:p>
        </p:txBody>
      </p:sp>
      <p:sp>
        <p:nvSpPr>
          <p:cNvPr id="99" name="Google Shape;99;p14"/>
          <p:cNvSpPr txBox="1">
            <a:spLocks noGrp="1"/>
          </p:cNvSpPr>
          <p:nvPr>
            <p:ph type="subTitle" idx="13"/>
          </p:nvPr>
        </p:nvSpPr>
        <p:spPr>
          <a:xfrm>
            <a:off x="3678750" y="3802958"/>
            <a:ext cx="1750800" cy="7014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sz="1400"/>
            </a:lvl1pPr>
            <a:lvl2pPr lvl="1" algn="r" rtl="0">
              <a:lnSpc>
                <a:spcPct val="100000"/>
              </a:lnSpc>
              <a:spcBef>
                <a:spcPts val="0"/>
              </a:spcBef>
              <a:spcAft>
                <a:spcPts val="0"/>
              </a:spcAft>
              <a:buSzPts val="1400"/>
              <a:buNone/>
              <a:defRPr/>
            </a:lvl2pPr>
            <a:lvl3pPr lvl="2" algn="r" rtl="0">
              <a:lnSpc>
                <a:spcPct val="100000"/>
              </a:lnSpc>
              <a:spcBef>
                <a:spcPts val="0"/>
              </a:spcBef>
              <a:spcAft>
                <a:spcPts val="0"/>
              </a:spcAft>
              <a:buSzPts val="1400"/>
              <a:buNone/>
              <a:defRPr/>
            </a:lvl3pPr>
            <a:lvl4pPr lvl="3" algn="r" rtl="0">
              <a:lnSpc>
                <a:spcPct val="100000"/>
              </a:lnSpc>
              <a:spcBef>
                <a:spcPts val="0"/>
              </a:spcBef>
              <a:spcAft>
                <a:spcPts val="0"/>
              </a:spcAft>
              <a:buSzPts val="1400"/>
              <a:buNone/>
              <a:defRPr/>
            </a:lvl4pPr>
            <a:lvl5pPr lvl="4" algn="r" rtl="0">
              <a:lnSpc>
                <a:spcPct val="100000"/>
              </a:lnSpc>
              <a:spcBef>
                <a:spcPts val="0"/>
              </a:spcBef>
              <a:spcAft>
                <a:spcPts val="0"/>
              </a:spcAft>
              <a:buSzPts val="1400"/>
              <a:buNone/>
              <a:defRPr/>
            </a:lvl5pPr>
            <a:lvl6pPr lvl="5" algn="r" rtl="0">
              <a:lnSpc>
                <a:spcPct val="100000"/>
              </a:lnSpc>
              <a:spcBef>
                <a:spcPts val="0"/>
              </a:spcBef>
              <a:spcAft>
                <a:spcPts val="0"/>
              </a:spcAft>
              <a:buSzPts val="1400"/>
              <a:buNone/>
              <a:defRPr/>
            </a:lvl6pPr>
            <a:lvl7pPr lvl="6" algn="r" rtl="0">
              <a:lnSpc>
                <a:spcPct val="100000"/>
              </a:lnSpc>
              <a:spcBef>
                <a:spcPts val="0"/>
              </a:spcBef>
              <a:spcAft>
                <a:spcPts val="0"/>
              </a:spcAft>
              <a:buSzPts val="1400"/>
              <a:buNone/>
              <a:defRPr/>
            </a:lvl7pPr>
            <a:lvl8pPr lvl="7" algn="r" rtl="0">
              <a:lnSpc>
                <a:spcPct val="100000"/>
              </a:lnSpc>
              <a:spcBef>
                <a:spcPts val="0"/>
              </a:spcBef>
              <a:spcAft>
                <a:spcPts val="0"/>
              </a:spcAft>
              <a:buSzPts val="1400"/>
              <a:buNone/>
              <a:defRPr/>
            </a:lvl8pPr>
            <a:lvl9pPr lvl="8" algn="r" rtl="0">
              <a:lnSpc>
                <a:spcPct val="100000"/>
              </a:lnSpc>
              <a:spcBef>
                <a:spcPts val="0"/>
              </a:spcBef>
              <a:spcAft>
                <a:spcPts val="0"/>
              </a:spcAft>
              <a:buSzPts val="1400"/>
              <a:buNone/>
              <a:defRPr/>
            </a:lvl9pPr>
          </a:lstStyle>
          <a:p>
            <a:endParaRPr/>
          </a:p>
        </p:txBody>
      </p:sp>
      <p:sp>
        <p:nvSpPr>
          <p:cNvPr id="100" name="Google Shape;100;p14"/>
          <p:cNvSpPr txBox="1">
            <a:spLocks noGrp="1"/>
          </p:cNvSpPr>
          <p:nvPr>
            <p:ph type="subTitle" idx="14"/>
          </p:nvPr>
        </p:nvSpPr>
        <p:spPr>
          <a:xfrm>
            <a:off x="6299200" y="3398857"/>
            <a:ext cx="1505700" cy="551700"/>
          </a:xfrm>
          <a:prstGeom prst="rect">
            <a:avLst/>
          </a:prstGeom>
        </p:spPr>
        <p:txBody>
          <a:bodyPr spcFirstLastPara="1" wrap="square" lIns="91425" tIns="91425" rIns="91425" bIns="91425" anchor="b" anchorCtr="0">
            <a:noAutofit/>
          </a:bodyPr>
          <a:lstStyle>
            <a:lvl1pPr lvl="0" algn="ctr" rtl="0">
              <a:lnSpc>
                <a:spcPct val="100000"/>
              </a:lnSpc>
              <a:spcBef>
                <a:spcPts val="0"/>
              </a:spcBef>
              <a:spcAft>
                <a:spcPts val="0"/>
              </a:spcAft>
              <a:buClr>
                <a:schemeClr val="lt1"/>
              </a:buClr>
              <a:buSzPts val="1800"/>
              <a:buFont typeface="Hammersmith One"/>
              <a:buNone/>
              <a:defRPr>
                <a:solidFill>
                  <a:schemeClr val="lt1"/>
                </a:solidFill>
                <a:latin typeface="Hammersmith One"/>
                <a:ea typeface="Hammersmith One"/>
                <a:cs typeface="Hammersmith One"/>
                <a:sym typeface="Hammersmith One"/>
              </a:defRPr>
            </a:lvl1pPr>
            <a:lvl2pPr lvl="1" algn="r" rtl="0">
              <a:lnSpc>
                <a:spcPct val="100000"/>
              </a:lnSpc>
              <a:spcBef>
                <a:spcPts val="0"/>
              </a:spcBef>
              <a:spcAft>
                <a:spcPts val="0"/>
              </a:spcAft>
              <a:buClr>
                <a:schemeClr val="lt1"/>
              </a:buClr>
              <a:buSzPts val="1800"/>
              <a:buFont typeface="Hammersmith One"/>
              <a:buNone/>
              <a:defRPr sz="1800">
                <a:solidFill>
                  <a:schemeClr val="lt1"/>
                </a:solidFill>
                <a:latin typeface="Hammersmith One"/>
                <a:ea typeface="Hammersmith One"/>
                <a:cs typeface="Hammersmith One"/>
                <a:sym typeface="Hammersmith One"/>
              </a:defRPr>
            </a:lvl2pPr>
            <a:lvl3pPr lvl="2" algn="r" rtl="0">
              <a:lnSpc>
                <a:spcPct val="100000"/>
              </a:lnSpc>
              <a:spcBef>
                <a:spcPts val="0"/>
              </a:spcBef>
              <a:spcAft>
                <a:spcPts val="0"/>
              </a:spcAft>
              <a:buClr>
                <a:schemeClr val="lt1"/>
              </a:buClr>
              <a:buSzPts val="1800"/>
              <a:buFont typeface="Hammersmith One"/>
              <a:buNone/>
              <a:defRPr sz="1800">
                <a:solidFill>
                  <a:schemeClr val="lt1"/>
                </a:solidFill>
                <a:latin typeface="Hammersmith One"/>
                <a:ea typeface="Hammersmith One"/>
                <a:cs typeface="Hammersmith One"/>
                <a:sym typeface="Hammersmith One"/>
              </a:defRPr>
            </a:lvl3pPr>
            <a:lvl4pPr lvl="3" algn="r" rtl="0">
              <a:lnSpc>
                <a:spcPct val="100000"/>
              </a:lnSpc>
              <a:spcBef>
                <a:spcPts val="0"/>
              </a:spcBef>
              <a:spcAft>
                <a:spcPts val="0"/>
              </a:spcAft>
              <a:buClr>
                <a:schemeClr val="lt1"/>
              </a:buClr>
              <a:buSzPts val="1800"/>
              <a:buFont typeface="Hammersmith One"/>
              <a:buNone/>
              <a:defRPr sz="1800">
                <a:solidFill>
                  <a:schemeClr val="lt1"/>
                </a:solidFill>
                <a:latin typeface="Hammersmith One"/>
                <a:ea typeface="Hammersmith One"/>
                <a:cs typeface="Hammersmith One"/>
                <a:sym typeface="Hammersmith One"/>
              </a:defRPr>
            </a:lvl4pPr>
            <a:lvl5pPr lvl="4" algn="r" rtl="0">
              <a:lnSpc>
                <a:spcPct val="100000"/>
              </a:lnSpc>
              <a:spcBef>
                <a:spcPts val="0"/>
              </a:spcBef>
              <a:spcAft>
                <a:spcPts val="0"/>
              </a:spcAft>
              <a:buClr>
                <a:schemeClr val="lt1"/>
              </a:buClr>
              <a:buSzPts val="1800"/>
              <a:buFont typeface="Hammersmith One"/>
              <a:buNone/>
              <a:defRPr sz="1800">
                <a:solidFill>
                  <a:schemeClr val="lt1"/>
                </a:solidFill>
                <a:latin typeface="Hammersmith One"/>
                <a:ea typeface="Hammersmith One"/>
                <a:cs typeface="Hammersmith One"/>
                <a:sym typeface="Hammersmith One"/>
              </a:defRPr>
            </a:lvl5pPr>
            <a:lvl6pPr lvl="5" algn="r" rtl="0">
              <a:lnSpc>
                <a:spcPct val="100000"/>
              </a:lnSpc>
              <a:spcBef>
                <a:spcPts val="0"/>
              </a:spcBef>
              <a:spcAft>
                <a:spcPts val="0"/>
              </a:spcAft>
              <a:buClr>
                <a:schemeClr val="lt1"/>
              </a:buClr>
              <a:buSzPts val="1800"/>
              <a:buFont typeface="Hammersmith One"/>
              <a:buNone/>
              <a:defRPr sz="1800">
                <a:solidFill>
                  <a:schemeClr val="lt1"/>
                </a:solidFill>
                <a:latin typeface="Hammersmith One"/>
                <a:ea typeface="Hammersmith One"/>
                <a:cs typeface="Hammersmith One"/>
                <a:sym typeface="Hammersmith One"/>
              </a:defRPr>
            </a:lvl6pPr>
            <a:lvl7pPr lvl="6" algn="r" rtl="0">
              <a:lnSpc>
                <a:spcPct val="100000"/>
              </a:lnSpc>
              <a:spcBef>
                <a:spcPts val="0"/>
              </a:spcBef>
              <a:spcAft>
                <a:spcPts val="0"/>
              </a:spcAft>
              <a:buClr>
                <a:schemeClr val="lt1"/>
              </a:buClr>
              <a:buSzPts val="1800"/>
              <a:buFont typeface="Hammersmith One"/>
              <a:buNone/>
              <a:defRPr sz="1800">
                <a:solidFill>
                  <a:schemeClr val="lt1"/>
                </a:solidFill>
                <a:latin typeface="Hammersmith One"/>
                <a:ea typeface="Hammersmith One"/>
                <a:cs typeface="Hammersmith One"/>
                <a:sym typeface="Hammersmith One"/>
              </a:defRPr>
            </a:lvl7pPr>
            <a:lvl8pPr lvl="7" algn="r" rtl="0">
              <a:lnSpc>
                <a:spcPct val="100000"/>
              </a:lnSpc>
              <a:spcBef>
                <a:spcPts val="0"/>
              </a:spcBef>
              <a:spcAft>
                <a:spcPts val="0"/>
              </a:spcAft>
              <a:buClr>
                <a:schemeClr val="lt1"/>
              </a:buClr>
              <a:buSzPts val="1800"/>
              <a:buFont typeface="Hammersmith One"/>
              <a:buNone/>
              <a:defRPr sz="1800">
                <a:solidFill>
                  <a:schemeClr val="lt1"/>
                </a:solidFill>
                <a:latin typeface="Hammersmith One"/>
                <a:ea typeface="Hammersmith One"/>
                <a:cs typeface="Hammersmith One"/>
                <a:sym typeface="Hammersmith One"/>
              </a:defRPr>
            </a:lvl8pPr>
            <a:lvl9pPr lvl="8" algn="r" rtl="0">
              <a:lnSpc>
                <a:spcPct val="100000"/>
              </a:lnSpc>
              <a:spcBef>
                <a:spcPts val="0"/>
              </a:spcBef>
              <a:spcAft>
                <a:spcPts val="0"/>
              </a:spcAft>
              <a:buClr>
                <a:schemeClr val="lt1"/>
              </a:buClr>
              <a:buSzPts val="1800"/>
              <a:buFont typeface="Hammersmith One"/>
              <a:buNone/>
              <a:defRPr sz="1800">
                <a:solidFill>
                  <a:schemeClr val="lt1"/>
                </a:solidFill>
                <a:latin typeface="Hammersmith One"/>
                <a:ea typeface="Hammersmith One"/>
                <a:cs typeface="Hammersmith One"/>
                <a:sym typeface="Hammersmith One"/>
              </a:defRPr>
            </a:lvl9pPr>
          </a:lstStyle>
          <a:p>
            <a:endParaRPr/>
          </a:p>
        </p:txBody>
      </p:sp>
      <p:sp>
        <p:nvSpPr>
          <p:cNvPr id="101" name="Google Shape;101;p14"/>
          <p:cNvSpPr txBox="1">
            <a:spLocks noGrp="1"/>
          </p:cNvSpPr>
          <p:nvPr>
            <p:ph type="subTitle" idx="15"/>
          </p:nvPr>
        </p:nvSpPr>
        <p:spPr>
          <a:xfrm>
            <a:off x="6176650" y="3796409"/>
            <a:ext cx="1750800" cy="7014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sz="1400"/>
            </a:lvl1pPr>
            <a:lvl2pPr lvl="1" algn="r" rtl="0">
              <a:lnSpc>
                <a:spcPct val="100000"/>
              </a:lnSpc>
              <a:spcBef>
                <a:spcPts val="0"/>
              </a:spcBef>
              <a:spcAft>
                <a:spcPts val="0"/>
              </a:spcAft>
              <a:buSzPts val="1400"/>
              <a:buNone/>
              <a:defRPr/>
            </a:lvl2pPr>
            <a:lvl3pPr lvl="2" algn="r" rtl="0">
              <a:lnSpc>
                <a:spcPct val="100000"/>
              </a:lnSpc>
              <a:spcBef>
                <a:spcPts val="0"/>
              </a:spcBef>
              <a:spcAft>
                <a:spcPts val="0"/>
              </a:spcAft>
              <a:buSzPts val="1400"/>
              <a:buNone/>
              <a:defRPr/>
            </a:lvl3pPr>
            <a:lvl4pPr lvl="3" algn="r" rtl="0">
              <a:lnSpc>
                <a:spcPct val="100000"/>
              </a:lnSpc>
              <a:spcBef>
                <a:spcPts val="0"/>
              </a:spcBef>
              <a:spcAft>
                <a:spcPts val="0"/>
              </a:spcAft>
              <a:buSzPts val="1400"/>
              <a:buNone/>
              <a:defRPr/>
            </a:lvl4pPr>
            <a:lvl5pPr lvl="4" algn="r" rtl="0">
              <a:lnSpc>
                <a:spcPct val="100000"/>
              </a:lnSpc>
              <a:spcBef>
                <a:spcPts val="0"/>
              </a:spcBef>
              <a:spcAft>
                <a:spcPts val="0"/>
              </a:spcAft>
              <a:buSzPts val="1400"/>
              <a:buNone/>
              <a:defRPr/>
            </a:lvl5pPr>
            <a:lvl6pPr lvl="5" algn="r" rtl="0">
              <a:lnSpc>
                <a:spcPct val="100000"/>
              </a:lnSpc>
              <a:spcBef>
                <a:spcPts val="0"/>
              </a:spcBef>
              <a:spcAft>
                <a:spcPts val="0"/>
              </a:spcAft>
              <a:buSzPts val="1400"/>
              <a:buNone/>
              <a:defRPr/>
            </a:lvl6pPr>
            <a:lvl7pPr lvl="6" algn="r" rtl="0">
              <a:lnSpc>
                <a:spcPct val="100000"/>
              </a:lnSpc>
              <a:spcBef>
                <a:spcPts val="0"/>
              </a:spcBef>
              <a:spcAft>
                <a:spcPts val="0"/>
              </a:spcAft>
              <a:buSzPts val="1400"/>
              <a:buNone/>
              <a:defRPr/>
            </a:lvl7pPr>
            <a:lvl8pPr lvl="7" algn="r" rtl="0">
              <a:lnSpc>
                <a:spcPct val="100000"/>
              </a:lnSpc>
              <a:spcBef>
                <a:spcPts val="0"/>
              </a:spcBef>
              <a:spcAft>
                <a:spcPts val="0"/>
              </a:spcAft>
              <a:buSzPts val="1400"/>
              <a:buNone/>
              <a:defRPr/>
            </a:lvl8pPr>
            <a:lvl9pPr lvl="8" algn="r" rtl="0">
              <a:lnSpc>
                <a:spcPct val="100000"/>
              </a:lnSpc>
              <a:spcBef>
                <a:spcPts val="0"/>
              </a:spcBef>
              <a:spcAft>
                <a:spcPts val="0"/>
              </a:spcAft>
              <a:buSzPts val="1400"/>
              <a:buNone/>
              <a:defRPr/>
            </a:lvl9pPr>
          </a:lstStyle>
          <a:p>
            <a:endParaRPr/>
          </a:p>
        </p:txBody>
      </p:sp>
      <p:sp>
        <p:nvSpPr>
          <p:cNvPr id="102" name="Google Shape;102;p14"/>
          <p:cNvSpPr txBox="1">
            <a:spLocks noGrp="1"/>
          </p:cNvSpPr>
          <p:nvPr>
            <p:ph type="title" hasCustomPrompt="1"/>
          </p:nvPr>
        </p:nvSpPr>
        <p:spPr>
          <a:xfrm>
            <a:off x="1531692" y="1196909"/>
            <a:ext cx="1109700" cy="3714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accent3"/>
              </a:buClr>
              <a:buSzPts val="2000"/>
              <a:buNone/>
              <a:defRPr sz="2000">
                <a:solidFill>
                  <a:schemeClr val="accent3"/>
                </a:solidFill>
              </a:defRPr>
            </a:lvl1pPr>
            <a:lvl2pPr lvl="1" algn="ctr" rtl="0">
              <a:spcBef>
                <a:spcPts val="0"/>
              </a:spcBef>
              <a:spcAft>
                <a:spcPts val="0"/>
              </a:spcAft>
              <a:buClr>
                <a:schemeClr val="accent3"/>
              </a:buClr>
              <a:buSzPts val="2000"/>
              <a:buNone/>
              <a:defRPr sz="2000">
                <a:solidFill>
                  <a:schemeClr val="accent3"/>
                </a:solidFill>
              </a:defRPr>
            </a:lvl2pPr>
            <a:lvl3pPr lvl="2" algn="ctr" rtl="0">
              <a:spcBef>
                <a:spcPts val="0"/>
              </a:spcBef>
              <a:spcAft>
                <a:spcPts val="0"/>
              </a:spcAft>
              <a:buClr>
                <a:schemeClr val="accent3"/>
              </a:buClr>
              <a:buSzPts val="2000"/>
              <a:buNone/>
              <a:defRPr sz="2000">
                <a:solidFill>
                  <a:schemeClr val="accent3"/>
                </a:solidFill>
              </a:defRPr>
            </a:lvl3pPr>
            <a:lvl4pPr lvl="3" algn="ctr" rtl="0">
              <a:spcBef>
                <a:spcPts val="0"/>
              </a:spcBef>
              <a:spcAft>
                <a:spcPts val="0"/>
              </a:spcAft>
              <a:buClr>
                <a:schemeClr val="accent3"/>
              </a:buClr>
              <a:buSzPts val="2000"/>
              <a:buNone/>
              <a:defRPr sz="2000">
                <a:solidFill>
                  <a:schemeClr val="accent3"/>
                </a:solidFill>
              </a:defRPr>
            </a:lvl4pPr>
            <a:lvl5pPr lvl="4" algn="ctr" rtl="0">
              <a:spcBef>
                <a:spcPts val="0"/>
              </a:spcBef>
              <a:spcAft>
                <a:spcPts val="0"/>
              </a:spcAft>
              <a:buClr>
                <a:schemeClr val="accent3"/>
              </a:buClr>
              <a:buSzPts val="2000"/>
              <a:buNone/>
              <a:defRPr sz="2000">
                <a:solidFill>
                  <a:schemeClr val="accent3"/>
                </a:solidFill>
              </a:defRPr>
            </a:lvl5pPr>
            <a:lvl6pPr lvl="5" algn="ctr" rtl="0">
              <a:spcBef>
                <a:spcPts val="0"/>
              </a:spcBef>
              <a:spcAft>
                <a:spcPts val="0"/>
              </a:spcAft>
              <a:buClr>
                <a:schemeClr val="accent3"/>
              </a:buClr>
              <a:buSzPts val="2000"/>
              <a:buNone/>
              <a:defRPr sz="2000">
                <a:solidFill>
                  <a:schemeClr val="accent3"/>
                </a:solidFill>
              </a:defRPr>
            </a:lvl6pPr>
            <a:lvl7pPr lvl="6" algn="ctr" rtl="0">
              <a:spcBef>
                <a:spcPts val="0"/>
              </a:spcBef>
              <a:spcAft>
                <a:spcPts val="0"/>
              </a:spcAft>
              <a:buClr>
                <a:schemeClr val="accent3"/>
              </a:buClr>
              <a:buSzPts val="2000"/>
              <a:buNone/>
              <a:defRPr sz="2000">
                <a:solidFill>
                  <a:schemeClr val="accent3"/>
                </a:solidFill>
              </a:defRPr>
            </a:lvl7pPr>
            <a:lvl8pPr lvl="7" algn="ctr" rtl="0">
              <a:spcBef>
                <a:spcPts val="0"/>
              </a:spcBef>
              <a:spcAft>
                <a:spcPts val="0"/>
              </a:spcAft>
              <a:buClr>
                <a:schemeClr val="accent3"/>
              </a:buClr>
              <a:buSzPts val="2000"/>
              <a:buNone/>
              <a:defRPr sz="2000">
                <a:solidFill>
                  <a:schemeClr val="accent3"/>
                </a:solidFill>
              </a:defRPr>
            </a:lvl8pPr>
            <a:lvl9pPr lvl="8" algn="ctr" rtl="0">
              <a:spcBef>
                <a:spcPts val="0"/>
              </a:spcBef>
              <a:spcAft>
                <a:spcPts val="0"/>
              </a:spcAft>
              <a:buClr>
                <a:schemeClr val="accent3"/>
              </a:buClr>
              <a:buSzPts val="2000"/>
              <a:buNone/>
              <a:defRPr sz="2000">
                <a:solidFill>
                  <a:schemeClr val="accent3"/>
                </a:solidFill>
              </a:defRPr>
            </a:lvl9pPr>
          </a:lstStyle>
          <a:p>
            <a:r>
              <a:t>xx%</a:t>
            </a:r>
          </a:p>
        </p:txBody>
      </p:sp>
      <p:sp>
        <p:nvSpPr>
          <p:cNvPr id="103" name="Google Shape;103;p14"/>
          <p:cNvSpPr txBox="1">
            <a:spLocks noGrp="1"/>
          </p:cNvSpPr>
          <p:nvPr>
            <p:ph type="title" idx="16" hasCustomPrompt="1"/>
          </p:nvPr>
        </p:nvSpPr>
        <p:spPr>
          <a:xfrm>
            <a:off x="3999300" y="1196909"/>
            <a:ext cx="1109700" cy="3714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accent3"/>
              </a:buClr>
              <a:buSzPts val="2000"/>
              <a:buNone/>
              <a:defRPr sz="2000">
                <a:solidFill>
                  <a:schemeClr val="accent3"/>
                </a:solidFill>
              </a:defRPr>
            </a:lvl1pPr>
            <a:lvl2pPr lvl="1" algn="ctr" rtl="0">
              <a:spcBef>
                <a:spcPts val="0"/>
              </a:spcBef>
              <a:spcAft>
                <a:spcPts val="0"/>
              </a:spcAft>
              <a:buClr>
                <a:schemeClr val="accent3"/>
              </a:buClr>
              <a:buSzPts val="2000"/>
              <a:buNone/>
              <a:defRPr sz="2000">
                <a:solidFill>
                  <a:schemeClr val="accent3"/>
                </a:solidFill>
              </a:defRPr>
            </a:lvl2pPr>
            <a:lvl3pPr lvl="2" algn="ctr" rtl="0">
              <a:spcBef>
                <a:spcPts val="0"/>
              </a:spcBef>
              <a:spcAft>
                <a:spcPts val="0"/>
              </a:spcAft>
              <a:buClr>
                <a:schemeClr val="accent3"/>
              </a:buClr>
              <a:buSzPts val="2000"/>
              <a:buNone/>
              <a:defRPr sz="2000">
                <a:solidFill>
                  <a:schemeClr val="accent3"/>
                </a:solidFill>
              </a:defRPr>
            </a:lvl3pPr>
            <a:lvl4pPr lvl="3" algn="ctr" rtl="0">
              <a:spcBef>
                <a:spcPts val="0"/>
              </a:spcBef>
              <a:spcAft>
                <a:spcPts val="0"/>
              </a:spcAft>
              <a:buClr>
                <a:schemeClr val="accent3"/>
              </a:buClr>
              <a:buSzPts val="2000"/>
              <a:buNone/>
              <a:defRPr sz="2000">
                <a:solidFill>
                  <a:schemeClr val="accent3"/>
                </a:solidFill>
              </a:defRPr>
            </a:lvl4pPr>
            <a:lvl5pPr lvl="4" algn="ctr" rtl="0">
              <a:spcBef>
                <a:spcPts val="0"/>
              </a:spcBef>
              <a:spcAft>
                <a:spcPts val="0"/>
              </a:spcAft>
              <a:buClr>
                <a:schemeClr val="accent3"/>
              </a:buClr>
              <a:buSzPts val="2000"/>
              <a:buNone/>
              <a:defRPr sz="2000">
                <a:solidFill>
                  <a:schemeClr val="accent3"/>
                </a:solidFill>
              </a:defRPr>
            </a:lvl5pPr>
            <a:lvl6pPr lvl="5" algn="ctr" rtl="0">
              <a:spcBef>
                <a:spcPts val="0"/>
              </a:spcBef>
              <a:spcAft>
                <a:spcPts val="0"/>
              </a:spcAft>
              <a:buClr>
                <a:schemeClr val="accent3"/>
              </a:buClr>
              <a:buSzPts val="2000"/>
              <a:buNone/>
              <a:defRPr sz="2000">
                <a:solidFill>
                  <a:schemeClr val="accent3"/>
                </a:solidFill>
              </a:defRPr>
            </a:lvl6pPr>
            <a:lvl7pPr lvl="6" algn="ctr" rtl="0">
              <a:spcBef>
                <a:spcPts val="0"/>
              </a:spcBef>
              <a:spcAft>
                <a:spcPts val="0"/>
              </a:spcAft>
              <a:buClr>
                <a:schemeClr val="accent3"/>
              </a:buClr>
              <a:buSzPts val="2000"/>
              <a:buNone/>
              <a:defRPr sz="2000">
                <a:solidFill>
                  <a:schemeClr val="accent3"/>
                </a:solidFill>
              </a:defRPr>
            </a:lvl7pPr>
            <a:lvl8pPr lvl="7" algn="ctr" rtl="0">
              <a:spcBef>
                <a:spcPts val="0"/>
              </a:spcBef>
              <a:spcAft>
                <a:spcPts val="0"/>
              </a:spcAft>
              <a:buClr>
                <a:schemeClr val="accent3"/>
              </a:buClr>
              <a:buSzPts val="2000"/>
              <a:buNone/>
              <a:defRPr sz="2000">
                <a:solidFill>
                  <a:schemeClr val="accent3"/>
                </a:solidFill>
              </a:defRPr>
            </a:lvl8pPr>
            <a:lvl9pPr lvl="8" algn="ctr" rtl="0">
              <a:spcBef>
                <a:spcPts val="0"/>
              </a:spcBef>
              <a:spcAft>
                <a:spcPts val="0"/>
              </a:spcAft>
              <a:buClr>
                <a:schemeClr val="accent3"/>
              </a:buClr>
              <a:buSzPts val="2000"/>
              <a:buNone/>
              <a:defRPr sz="2000">
                <a:solidFill>
                  <a:schemeClr val="accent3"/>
                </a:solidFill>
              </a:defRPr>
            </a:lvl9pPr>
          </a:lstStyle>
          <a:p>
            <a:r>
              <a:t>xx%</a:t>
            </a:r>
          </a:p>
        </p:txBody>
      </p:sp>
      <p:sp>
        <p:nvSpPr>
          <p:cNvPr id="104" name="Google Shape;104;p14"/>
          <p:cNvSpPr txBox="1">
            <a:spLocks noGrp="1"/>
          </p:cNvSpPr>
          <p:nvPr>
            <p:ph type="title" idx="17" hasCustomPrompt="1"/>
          </p:nvPr>
        </p:nvSpPr>
        <p:spPr>
          <a:xfrm>
            <a:off x="6497200" y="1196909"/>
            <a:ext cx="1109700" cy="3714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accent3"/>
              </a:buClr>
              <a:buSzPts val="2000"/>
              <a:buNone/>
              <a:defRPr sz="2000">
                <a:solidFill>
                  <a:schemeClr val="accent3"/>
                </a:solidFill>
              </a:defRPr>
            </a:lvl1pPr>
            <a:lvl2pPr lvl="1" algn="ctr" rtl="0">
              <a:spcBef>
                <a:spcPts val="0"/>
              </a:spcBef>
              <a:spcAft>
                <a:spcPts val="0"/>
              </a:spcAft>
              <a:buClr>
                <a:schemeClr val="accent3"/>
              </a:buClr>
              <a:buSzPts val="2000"/>
              <a:buNone/>
              <a:defRPr sz="2000">
                <a:solidFill>
                  <a:schemeClr val="accent3"/>
                </a:solidFill>
              </a:defRPr>
            </a:lvl2pPr>
            <a:lvl3pPr lvl="2" algn="ctr" rtl="0">
              <a:spcBef>
                <a:spcPts val="0"/>
              </a:spcBef>
              <a:spcAft>
                <a:spcPts val="0"/>
              </a:spcAft>
              <a:buClr>
                <a:schemeClr val="accent3"/>
              </a:buClr>
              <a:buSzPts val="2000"/>
              <a:buNone/>
              <a:defRPr sz="2000">
                <a:solidFill>
                  <a:schemeClr val="accent3"/>
                </a:solidFill>
              </a:defRPr>
            </a:lvl3pPr>
            <a:lvl4pPr lvl="3" algn="ctr" rtl="0">
              <a:spcBef>
                <a:spcPts val="0"/>
              </a:spcBef>
              <a:spcAft>
                <a:spcPts val="0"/>
              </a:spcAft>
              <a:buClr>
                <a:schemeClr val="accent3"/>
              </a:buClr>
              <a:buSzPts val="2000"/>
              <a:buNone/>
              <a:defRPr sz="2000">
                <a:solidFill>
                  <a:schemeClr val="accent3"/>
                </a:solidFill>
              </a:defRPr>
            </a:lvl4pPr>
            <a:lvl5pPr lvl="4" algn="ctr" rtl="0">
              <a:spcBef>
                <a:spcPts val="0"/>
              </a:spcBef>
              <a:spcAft>
                <a:spcPts val="0"/>
              </a:spcAft>
              <a:buClr>
                <a:schemeClr val="accent3"/>
              </a:buClr>
              <a:buSzPts val="2000"/>
              <a:buNone/>
              <a:defRPr sz="2000">
                <a:solidFill>
                  <a:schemeClr val="accent3"/>
                </a:solidFill>
              </a:defRPr>
            </a:lvl5pPr>
            <a:lvl6pPr lvl="5" algn="ctr" rtl="0">
              <a:spcBef>
                <a:spcPts val="0"/>
              </a:spcBef>
              <a:spcAft>
                <a:spcPts val="0"/>
              </a:spcAft>
              <a:buClr>
                <a:schemeClr val="accent3"/>
              </a:buClr>
              <a:buSzPts val="2000"/>
              <a:buNone/>
              <a:defRPr sz="2000">
                <a:solidFill>
                  <a:schemeClr val="accent3"/>
                </a:solidFill>
              </a:defRPr>
            </a:lvl6pPr>
            <a:lvl7pPr lvl="6" algn="ctr" rtl="0">
              <a:spcBef>
                <a:spcPts val="0"/>
              </a:spcBef>
              <a:spcAft>
                <a:spcPts val="0"/>
              </a:spcAft>
              <a:buClr>
                <a:schemeClr val="accent3"/>
              </a:buClr>
              <a:buSzPts val="2000"/>
              <a:buNone/>
              <a:defRPr sz="2000">
                <a:solidFill>
                  <a:schemeClr val="accent3"/>
                </a:solidFill>
              </a:defRPr>
            </a:lvl7pPr>
            <a:lvl8pPr lvl="7" algn="ctr" rtl="0">
              <a:spcBef>
                <a:spcPts val="0"/>
              </a:spcBef>
              <a:spcAft>
                <a:spcPts val="0"/>
              </a:spcAft>
              <a:buClr>
                <a:schemeClr val="accent3"/>
              </a:buClr>
              <a:buSzPts val="2000"/>
              <a:buNone/>
              <a:defRPr sz="2000">
                <a:solidFill>
                  <a:schemeClr val="accent3"/>
                </a:solidFill>
              </a:defRPr>
            </a:lvl8pPr>
            <a:lvl9pPr lvl="8" algn="ctr" rtl="0">
              <a:spcBef>
                <a:spcPts val="0"/>
              </a:spcBef>
              <a:spcAft>
                <a:spcPts val="0"/>
              </a:spcAft>
              <a:buClr>
                <a:schemeClr val="accent3"/>
              </a:buClr>
              <a:buSzPts val="2000"/>
              <a:buNone/>
              <a:defRPr sz="2000">
                <a:solidFill>
                  <a:schemeClr val="accent3"/>
                </a:solidFill>
              </a:defRPr>
            </a:lvl9pPr>
          </a:lstStyle>
          <a:p>
            <a:r>
              <a:t>xx%</a:t>
            </a:r>
          </a:p>
        </p:txBody>
      </p:sp>
      <p:sp>
        <p:nvSpPr>
          <p:cNvPr id="105" name="Google Shape;105;p14"/>
          <p:cNvSpPr txBox="1">
            <a:spLocks noGrp="1"/>
          </p:cNvSpPr>
          <p:nvPr>
            <p:ph type="title" idx="18" hasCustomPrompt="1"/>
          </p:nvPr>
        </p:nvSpPr>
        <p:spPr>
          <a:xfrm>
            <a:off x="1531692" y="2987613"/>
            <a:ext cx="1109700" cy="3714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accent3"/>
              </a:buClr>
              <a:buSzPts val="2000"/>
              <a:buNone/>
              <a:defRPr sz="2000">
                <a:solidFill>
                  <a:schemeClr val="accent3"/>
                </a:solidFill>
              </a:defRPr>
            </a:lvl1pPr>
            <a:lvl2pPr lvl="1" algn="ctr" rtl="0">
              <a:spcBef>
                <a:spcPts val="0"/>
              </a:spcBef>
              <a:spcAft>
                <a:spcPts val="0"/>
              </a:spcAft>
              <a:buClr>
                <a:schemeClr val="accent3"/>
              </a:buClr>
              <a:buSzPts val="2000"/>
              <a:buNone/>
              <a:defRPr sz="2000">
                <a:solidFill>
                  <a:schemeClr val="accent3"/>
                </a:solidFill>
              </a:defRPr>
            </a:lvl2pPr>
            <a:lvl3pPr lvl="2" algn="ctr" rtl="0">
              <a:spcBef>
                <a:spcPts val="0"/>
              </a:spcBef>
              <a:spcAft>
                <a:spcPts val="0"/>
              </a:spcAft>
              <a:buClr>
                <a:schemeClr val="accent3"/>
              </a:buClr>
              <a:buSzPts val="2000"/>
              <a:buNone/>
              <a:defRPr sz="2000">
                <a:solidFill>
                  <a:schemeClr val="accent3"/>
                </a:solidFill>
              </a:defRPr>
            </a:lvl3pPr>
            <a:lvl4pPr lvl="3" algn="ctr" rtl="0">
              <a:spcBef>
                <a:spcPts val="0"/>
              </a:spcBef>
              <a:spcAft>
                <a:spcPts val="0"/>
              </a:spcAft>
              <a:buClr>
                <a:schemeClr val="accent3"/>
              </a:buClr>
              <a:buSzPts val="2000"/>
              <a:buNone/>
              <a:defRPr sz="2000">
                <a:solidFill>
                  <a:schemeClr val="accent3"/>
                </a:solidFill>
              </a:defRPr>
            </a:lvl4pPr>
            <a:lvl5pPr lvl="4" algn="ctr" rtl="0">
              <a:spcBef>
                <a:spcPts val="0"/>
              </a:spcBef>
              <a:spcAft>
                <a:spcPts val="0"/>
              </a:spcAft>
              <a:buClr>
                <a:schemeClr val="accent3"/>
              </a:buClr>
              <a:buSzPts val="2000"/>
              <a:buNone/>
              <a:defRPr sz="2000">
                <a:solidFill>
                  <a:schemeClr val="accent3"/>
                </a:solidFill>
              </a:defRPr>
            </a:lvl5pPr>
            <a:lvl6pPr lvl="5" algn="ctr" rtl="0">
              <a:spcBef>
                <a:spcPts val="0"/>
              </a:spcBef>
              <a:spcAft>
                <a:spcPts val="0"/>
              </a:spcAft>
              <a:buClr>
                <a:schemeClr val="accent3"/>
              </a:buClr>
              <a:buSzPts val="2000"/>
              <a:buNone/>
              <a:defRPr sz="2000">
                <a:solidFill>
                  <a:schemeClr val="accent3"/>
                </a:solidFill>
              </a:defRPr>
            </a:lvl6pPr>
            <a:lvl7pPr lvl="6" algn="ctr" rtl="0">
              <a:spcBef>
                <a:spcPts val="0"/>
              </a:spcBef>
              <a:spcAft>
                <a:spcPts val="0"/>
              </a:spcAft>
              <a:buClr>
                <a:schemeClr val="accent3"/>
              </a:buClr>
              <a:buSzPts val="2000"/>
              <a:buNone/>
              <a:defRPr sz="2000">
                <a:solidFill>
                  <a:schemeClr val="accent3"/>
                </a:solidFill>
              </a:defRPr>
            </a:lvl7pPr>
            <a:lvl8pPr lvl="7" algn="ctr" rtl="0">
              <a:spcBef>
                <a:spcPts val="0"/>
              </a:spcBef>
              <a:spcAft>
                <a:spcPts val="0"/>
              </a:spcAft>
              <a:buClr>
                <a:schemeClr val="accent3"/>
              </a:buClr>
              <a:buSzPts val="2000"/>
              <a:buNone/>
              <a:defRPr sz="2000">
                <a:solidFill>
                  <a:schemeClr val="accent3"/>
                </a:solidFill>
              </a:defRPr>
            </a:lvl8pPr>
            <a:lvl9pPr lvl="8" algn="ctr" rtl="0">
              <a:spcBef>
                <a:spcPts val="0"/>
              </a:spcBef>
              <a:spcAft>
                <a:spcPts val="0"/>
              </a:spcAft>
              <a:buClr>
                <a:schemeClr val="accent3"/>
              </a:buClr>
              <a:buSzPts val="2000"/>
              <a:buNone/>
              <a:defRPr sz="2000">
                <a:solidFill>
                  <a:schemeClr val="accent3"/>
                </a:solidFill>
              </a:defRPr>
            </a:lvl9pPr>
          </a:lstStyle>
          <a:p>
            <a:r>
              <a:t>xx%</a:t>
            </a:r>
          </a:p>
        </p:txBody>
      </p:sp>
      <p:sp>
        <p:nvSpPr>
          <p:cNvPr id="106" name="Google Shape;106;p14"/>
          <p:cNvSpPr txBox="1">
            <a:spLocks noGrp="1"/>
          </p:cNvSpPr>
          <p:nvPr>
            <p:ph type="title" idx="19" hasCustomPrompt="1"/>
          </p:nvPr>
        </p:nvSpPr>
        <p:spPr>
          <a:xfrm>
            <a:off x="3999300" y="2987613"/>
            <a:ext cx="1109700" cy="3714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accent3"/>
              </a:buClr>
              <a:buSzPts val="2000"/>
              <a:buNone/>
              <a:defRPr sz="2000">
                <a:solidFill>
                  <a:schemeClr val="accent3"/>
                </a:solidFill>
              </a:defRPr>
            </a:lvl1pPr>
            <a:lvl2pPr lvl="1" algn="ctr" rtl="0">
              <a:spcBef>
                <a:spcPts val="0"/>
              </a:spcBef>
              <a:spcAft>
                <a:spcPts val="0"/>
              </a:spcAft>
              <a:buClr>
                <a:schemeClr val="accent3"/>
              </a:buClr>
              <a:buSzPts val="2000"/>
              <a:buNone/>
              <a:defRPr sz="2000">
                <a:solidFill>
                  <a:schemeClr val="accent3"/>
                </a:solidFill>
              </a:defRPr>
            </a:lvl2pPr>
            <a:lvl3pPr lvl="2" algn="ctr" rtl="0">
              <a:spcBef>
                <a:spcPts val="0"/>
              </a:spcBef>
              <a:spcAft>
                <a:spcPts val="0"/>
              </a:spcAft>
              <a:buClr>
                <a:schemeClr val="accent3"/>
              </a:buClr>
              <a:buSzPts val="2000"/>
              <a:buNone/>
              <a:defRPr sz="2000">
                <a:solidFill>
                  <a:schemeClr val="accent3"/>
                </a:solidFill>
              </a:defRPr>
            </a:lvl3pPr>
            <a:lvl4pPr lvl="3" algn="ctr" rtl="0">
              <a:spcBef>
                <a:spcPts val="0"/>
              </a:spcBef>
              <a:spcAft>
                <a:spcPts val="0"/>
              </a:spcAft>
              <a:buClr>
                <a:schemeClr val="accent3"/>
              </a:buClr>
              <a:buSzPts val="2000"/>
              <a:buNone/>
              <a:defRPr sz="2000">
                <a:solidFill>
                  <a:schemeClr val="accent3"/>
                </a:solidFill>
              </a:defRPr>
            </a:lvl4pPr>
            <a:lvl5pPr lvl="4" algn="ctr" rtl="0">
              <a:spcBef>
                <a:spcPts val="0"/>
              </a:spcBef>
              <a:spcAft>
                <a:spcPts val="0"/>
              </a:spcAft>
              <a:buClr>
                <a:schemeClr val="accent3"/>
              </a:buClr>
              <a:buSzPts val="2000"/>
              <a:buNone/>
              <a:defRPr sz="2000">
                <a:solidFill>
                  <a:schemeClr val="accent3"/>
                </a:solidFill>
              </a:defRPr>
            </a:lvl5pPr>
            <a:lvl6pPr lvl="5" algn="ctr" rtl="0">
              <a:spcBef>
                <a:spcPts val="0"/>
              </a:spcBef>
              <a:spcAft>
                <a:spcPts val="0"/>
              </a:spcAft>
              <a:buClr>
                <a:schemeClr val="accent3"/>
              </a:buClr>
              <a:buSzPts val="2000"/>
              <a:buNone/>
              <a:defRPr sz="2000">
                <a:solidFill>
                  <a:schemeClr val="accent3"/>
                </a:solidFill>
              </a:defRPr>
            </a:lvl6pPr>
            <a:lvl7pPr lvl="6" algn="ctr" rtl="0">
              <a:spcBef>
                <a:spcPts val="0"/>
              </a:spcBef>
              <a:spcAft>
                <a:spcPts val="0"/>
              </a:spcAft>
              <a:buClr>
                <a:schemeClr val="accent3"/>
              </a:buClr>
              <a:buSzPts val="2000"/>
              <a:buNone/>
              <a:defRPr sz="2000">
                <a:solidFill>
                  <a:schemeClr val="accent3"/>
                </a:solidFill>
              </a:defRPr>
            </a:lvl7pPr>
            <a:lvl8pPr lvl="7" algn="ctr" rtl="0">
              <a:spcBef>
                <a:spcPts val="0"/>
              </a:spcBef>
              <a:spcAft>
                <a:spcPts val="0"/>
              </a:spcAft>
              <a:buClr>
                <a:schemeClr val="accent3"/>
              </a:buClr>
              <a:buSzPts val="2000"/>
              <a:buNone/>
              <a:defRPr sz="2000">
                <a:solidFill>
                  <a:schemeClr val="accent3"/>
                </a:solidFill>
              </a:defRPr>
            </a:lvl8pPr>
            <a:lvl9pPr lvl="8" algn="ctr" rtl="0">
              <a:spcBef>
                <a:spcPts val="0"/>
              </a:spcBef>
              <a:spcAft>
                <a:spcPts val="0"/>
              </a:spcAft>
              <a:buClr>
                <a:schemeClr val="accent3"/>
              </a:buClr>
              <a:buSzPts val="2000"/>
              <a:buNone/>
              <a:defRPr sz="2000">
                <a:solidFill>
                  <a:schemeClr val="accent3"/>
                </a:solidFill>
              </a:defRPr>
            </a:lvl9pPr>
          </a:lstStyle>
          <a:p>
            <a:r>
              <a:t>xx%</a:t>
            </a:r>
          </a:p>
        </p:txBody>
      </p:sp>
      <p:sp>
        <p:nvSpPr>
          <p:cNvPr id="107" name="Google Shape;107;p14"/>
          <p:cNvSpPr txBox="1">
            <a:spLocks noGrp="1"/>
          </p:cNvSpPr>
          <p:nvPr>
            <p:ph type="title" idx="20" hasCustomPrompt="1"/>
          </p:nvPr>
        </p:nvSpPr>
        <p:spPr>
          <a:xfrm>
            <a:off x="6497200" y="2987613"/>
            <a:ext cx="1109700" cy="3714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accent3"/>
              </a:buClr>
              <a:buSzPts val="2000"/>
              <a:buNone/>
              <a:defRPr sz="2000">
                <a:solidFill>
                  <a:schemeClr val="accent3"/>
                </a:solidFill>
              </a:defRPr>
            </a:lvl1pPr>
            <a:lvl2pPr lvl="1" algn="ctr" rtl="0">
              <a:spcBef>
                <a:spcPts val="0"/>
              </a:spcBef>
              <a:spcAft>
                <a:spcPts val="0"/>
              </a:spcAft>
              <a:buClr>
                <a:schemeClr val="accent3"/>
              </a:buClr>
              <a:buSzPts val="2000"/>
              <a:buNone/>
              <a:defRPr sz="2000">
                <a:solidFill>
                  <a:schemeClr val="accent3"/>
                </a:solidFill>
              </a:defRPr>
            </a:lvl2pPr>
            <a:lvl3pPr lvl="2" algn="ctr" rtl="0">
              <a:spcBef>
                <a:spcPts val="0"/>
              </a:spcBef>
              <a:spcAft>
                <a:spcPts val="0"/>
              </a:spcAft>
              <a:buClr>
                <a:schemeClr val="accent3"/>
              </a:buClr>
              <a:buSzPts val="2000"/>
              <a:buNone/>
              <a:defRPr sz="2000">
                <a:solidFill>
                  <a:schemeClr val="accent3"/>
                </a:solidFill>
              </a:defRPr>
            </a:lvl3pPr>
            <a:lvl4pPr lvl="3" algn="ctr" rtl="0">
              <a:spcBef>
                <a:spcPts val="0"/>
              </a:spcBef>
              <a:spcAft>
                <a:spcPts val="0"/>
              </a:spcAft>
              <a:buClr>
                <a:schemeClr val="accent3"/>
              </a:buClr>
              <a:buSzPts val="2000"/>
              <a:buNone/>
              <a:defRPr sz="2000">
                <a:solidFill>
                  <a:schemeClr val="accent3"/>
                </a:solidFill>
              </a:defRPr>
            </a:lvl4pPr>
            <a:lvl5pPr lvl="4" algn="ctr" rtl="0">
              <a:spcBef>
                <a:spcPts val="0"/>
              </a:spcBef>
              <a:spcAft>
                <a:spcPts val="0"/>
              </a:spcAft>
              <a:buClr>
                <a:schemeClr val="accent3"/>
              </a:buClr>
              <a:buSzPts val="2000"/>
              <a:buNone/>
              <a:defRPr sz="2000">
                <a:solidFill>
                  <a:schemeClr val="accent3"/>
                </a:solidFill>
              </a:defRPr>
            </a:lvl5pPr>
            <a:lvl6pPr lvl="5" algn="ctr" rtl="0">
              <a:spcBef>
                <a:spcPts val="0"/>
              </a:spcBef>
              <a:spcAft>
                <a:spcPts val="0"/>
              </a:spcAft>
              <a:buClr>
                <a:schemeClr val="accent3"/>
              </a:buClr>
              <a:buSzPts val="2000"/>
              <a:buNone/>
              <a:defRPr sz="2000">
                <a:solidFill>
                  <a:schemeClr val="accent3"/>
                </a:solidFill>
              </a:defRPr>
            </a:lvl6pPr>
            <a:lvl7pPr lvl="6" algn="ctr" rtl="0">
              <a:spcBef>
                <a:spcPts val="0"/>
              </a:spcBef>
              <a:spcAft>
                <a:spcPts val="0"/>
              </a:spcAft>
              <a:buClr>
                <a:schemeClr val="accent3"/>
              </a:buClr>
              <a:buSzPts val="2000"/>
              <a:buNone/>
              <a:defRPr sz="2000">
                <a:solidFill>
                  <a:schemeClr val="accent3"/>
                </a:solidFill>
              </a:defRPr>
            </a:lvl7pPr>
            <a:lvl8pPr lvl="7" algn="ctr" rtl="0">
              <a:spcBef>
                <a:spcPts val="0"/>
              </a:spcBef>
              <a:spcAft>
                <a:spcPts val="0"/>
              </a:spcAft>
              <a:buClr>
                <a:schemeClr val="accent3"/>
              </a:buClr>
              <a:buSzPts val="2000"/>
              <a:buNone/>
              <a:defRPr sz="2000">
                <a:solidFill>
                  <a:schemeClr val="accent3"/>
                </a:solidFill>
              </a:defRPr>
            </a:lvl8pPr>
            <a:lvl9pPr lvl="8" algn="ctr" rtl="0">
              <a:spcBef>
                <a:spcPts val="0"/>
              </a:spcBef>
              <a:spcAft>
                <a:spcPts val="0"/>
              </a:spcAft>
              <a:buClr>
                <a:schemeClr val="accent3"/>
              </a:buClr>
              <a:buSzPts val="2000"/>
              <a:buNone/>
              <a:defRPr sz="2000">
                <a:solidFill>
                  <a:schemeClr val="accent3"/>
                </a:solidFill>
              </a:defRPr>
            </a:lvl9pPr>
          </a:lstStyle>
          <a:p>
            <a:r>
              <a:t>xx%</a:t>
            </a:r>
          </a:p>
        </p:txBody>
      </p:sp>
      <p:sp>
        <p:nvSpPr>
          <p:cNvPr id="108" name="Google Shape;108;p14"/>
          <p:cNvSpPr txBox="1">
            <a:spLocks noGrp="1"/>
          </p:cNvSpPr>
          <p:nvPr>
            <p:ph type="title" idx="21"/>
          </p:nvPr>
        </p:nvSpPr>
        <p:spPr>
          <a:xfrm>
            <a:off x="713225" y="359300"/>
            <a:ext cx="7736700" cy="5727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2800"/>
              <a:buNone/>
              <a:defRPr sz="3000">
                <a:solidFill>
                  <a:srgbClr val="FF8B7B"/>
                </a:solidFill>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Tree>
    <p:extLst>
      <p:ext uri="{BB962C8B-B14F-4D97-AF65-F5344CB8AC3E}">
        <p14:creationId xmlns:p14="http://schemas.microsoft.com/office/powerpoint/2010/main" val="32797092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Section Header 1">
  <p:cSld name="Section Header 1">
    <p:spTree>
      <p:nvGrpSpPr>
        <p:cNvPr id="1" name="Shape 84"/>
        <p:cNvGrpSpPr/>
        <p:nvPr/>
      </p:nvGrpSpPr>
      <p:grpSpPr>
        <a:xfrm>
          <a:off x="0" y="0"/>
          <a:ext cx="0" cy="0"/>
          <a:chOff x="0" y="0"/>
          <a:chExt cx="0" cy="0"/>
        </a:xfrm>
      </p:grpSpPr>
      <p:sp>
        <p:nvSpPr>
          <p:cNvPr id="85" name="Google Shape;85;p13"/>
          <p:cNvSpPr txBox="1">
            <a:spLocks noGrp="1"/>
          </p:cNvSpPr>
          <p:nvPr>
            <p:ph type="ctrTitle"/>
          </p:nvPr>
        </p:nvSpPr>
        <p:spPr>
          <a:xfrm>
            <a:off x="720000" y="2485600"/>
            <a:ext cx="2697900" cy="906600"/>
          </a:xfrm>
          <a:prstGeom prst="rect">
            <a:avLst/>
          </a:prstGeom>
        </p:spPr>
        <p:txBody>
          <a:bodyPr spcFirstLastPara="1" wrap="square" lIns="91425" tIns="91425" rIns="91425" bIns="91425" anchor="b" anchorCtr="0">
            <a:noAutofit/>
          </a:bodyPr>
          <a:lstStyle>
            <a:lvl1pPr lvl="0" rtl="0">
              <a:spcBef>
                <a:spcPts val="0"/>
              </a:spcBef>
              <a:spcAft>
                <a:spcPts val="0"/>
              </a:spcAft>
              <a:buClr>
                <a:schemeClr val="lt1"/>
              </a:buClr>
              <a:buSzPts val="5200"/>
              <a:buNone/>
              <a:defRPr sz="3800">
                <a:solidFill>
                  <a:schemeClr val="lt1"/>
                </a:solidFill>
              </a:defRPr>
            </a:lvl1pPr>
            <a:lvl2pPr lvl="1" rtl="0">
              <a:spcBef>
                <a:spcPts val="0"/>
              </a:spcBef>
              <a:spcAft>
                <a:spcPts val="0"/>
              </a:spcAft>
              <a:buClr>
                <a:schemeClr val="dk1"/>
              </a:buClr>
              <a:buSzPts val="5200"/>
              <a:buNone/>
              <a:defRPr sz="5200">
                <a:solidFill>
                  <a:schemeClr val="dk1"/>
                </a:solidFill>
              </a:defRPr>
            </a:lvl2pPr>
            <a:lvl3pPr lvl="2" rtl="0">
              <a:spcBef>
                <a:spcPts val="0"/>
              </a:spcBef>
              <a:spcAft>
                <a:spcPts val="0"/>
              </a:spcAft>
              <a:buClr>
                <a:schemeClr val="dk1"/>
              </a:buClr>
              <a:buSzPts val="5200"/>
              <a:buNone/>
              <a:defRPr sz="5200">
                <a:solidFill>
                  <a:schemeClr val="dk1"/>
                </a:solidFill>
              </a:defRPr>
            </a:lvl3pPr>
            <a:lvl4pPr lvl="3" rtl="0">
              <a:spcBef>
                <a:spcPts val="0"/>
              </a:spcBef>
              <a:spcAft>
                <a:spcPts val="0"/>
              </a:spcAft>
              <a:buClr>
                <a:schemeClr val="dk1"/>
              </a:buClr>
              <a:buSzPts val="5200"/>
              <a:buNone/>
              <a:defRPr sz="5200">
                <a:solidFill>
                  <a:schemeClr val="dk1"/>
                </a:solidFill>
              </a:defRPr>
            </a:lvl4pPr>
            <a:lvl5pPr lvl="4" rtl="0">
              <a:spcBef>
                <a:spcPts val="0"/>
              </a:spcBef>
              <a:spcAft>
                <a:spcPts val="0"/>
              </a:spcAft>
              <a:buClr>
                <a:schemeClr val="dk1"/>
              </a:buClr>
              <a:buSzPts val="5200"/>
              <a:buNone/>
              <a:defRPr sz="5200">
                <a:solidFill>
                  <a:schemeClr val="dk1"/>
                </a:solidFill>
              </a:defRPr>
            </a:lvl5pPr>
            <a:lvl6pPr lvl="5" rtl="0">
              <a:spcBef>
                <a:spcPts val="0"/>
              </a:spcBef>
              <a:spcAft>
                <a:spcPts val="0"/>
              </a:spcAft>
              <a:buClr>
                <a:schemeClr val="dk1"/>
              </a:buClr>
              <a:buSzPts val="5200"/>
              <a:buNone/>
              <a:defRPr sz="5200">
                <a:solidFill>
                  <a:schemeClr val="dk1"/>
                </a:solidFill>
              </a:defRPr>
            </a:lvl6pPr>
            <a:lvl7pPr lvl="6" rtl="0">
              <a:spcBef>
                <a:spcPts val="0"/>
              </a:spcBef>
              <a:spcAft>
                <a:spcPts val="0"/>
              </a:spcAft>
              <a:buClr>
                <a:schemeClr val="dk1"/>
              </a:buClr>
              <a:buSzPts val="5200"/>
              <a:buNone/>
              <a:defRPr sz="5200">
                <a:solidFill>
                  <a:schemeClr val="dk1"/>
                </a:solidFill>
              </a:defRPr>
            </a:lvl7pPr>
            <a:lvl8pPr lvl="7" rtl="0">
              <a:spcBef>
                <a:spcPts val="0"/>
              </a:spcBef>
              <a:spcAft>
                <a:spcPts val="0"/>
              </a:spcAft>
              <a:buClr>
                <a:schemeClr val="dk1"/>
              </a:buClr>
              <a:buSzPts val="5200"/>
              <a:buNone/>
              <a:defRPr sz="5200">
                <a:solidFill>
                  <a:schemeClr val="dk1"/>
                </a:solidFill>
              </a:defRPr>
            </a:lvl8pPr>
            <a:lvl9pPr lvl="8" rtl="0">
              <a:spcBef>
                <a:spcPts val="0"/>
              </a:spcBef>
              <a:spcAft>
                <a:spcPts val="0"/>
              </a:spcAft>
              <a:buClr>
                <a:schemeClr val="dk1"/>
              </a:buClr>
              <a:buSzPts val="5200"/>
              <a:buNone/>
              <a:defRPr sz="5200">
                <a:solidFill>
                  <a:schemeClr val="dk1"/>
                </a:solidFill>
              </a:defRPr>
            </a:lvl9pPr>
          </a:lstStyle>
          <a:p>
            <a:endParaRPr/>
          </a:p>
        </p:txBody>
      </p:sp>
      <p:sp>
        <p:nvSpPr>
          <p:cNvPr id="86" name="Google Shape;86;p13"/>
          <p:cNvSpPr txBox="1">
            <a:spLocks noGrp="1"/>
          </p:cNvSpPr>
          <p:nvPr>
            <p:ph type="subTitle" idx="1"/>
          </p:nvPr>
        </p:nvSpPr>
        <p:spPr>
          <a:xfrm>
            <a:off x="720000" y="3580325"/>
            <a:ext cx="2507400" cy="420900"/>
          </a:xfrm>
          <a:prstGeom prst="rect">
            <a:avLst/>
          </a:prstGeom>
        </p:spPr>
        <p:txBody>
          <a:bodyPr spcFirstLastPara="1" wrap="square" lIns="91425" tIns="91425" rIns="91425" bIns="91425" anchor="b" anchorCtr="0">
            <a:noAutofit/>
          </a:bodyPr>
          <a:lstStyle>
            <a:lvl1pPr lvl="0" rtl="0">
              <a:lnSpc>
                <a:spcPct val="100000"/>
              </a:lnSpc>
              <a:spcBef>
                <a:spcPts val="0"/>
              </a:spcBef>
              <a:spcAft>
                <a:spcPts val="0"/>
              </a:spcAft>
              <a:buSzPts val="2800"/>
              <a:buNone/>
              <a:defRPr sz="1600"/>
            </a:lvl1pPr>
            <a:lvl2pPr lvl="1" rtl="0">
              <a:lnSpc>
                <a:spcPct val="100000"/>
              </a:lnSpc>
              <a:spcBef>
                <a:spcPts val="0"/>
              </a:spcBef>
              <a:spcAft>
                <a:spcPts val="0"/>
              </a:spcAft>
              <a:buClr>
                <a:schemeClr val="dk1"/>
              </a:buClr>
              <a:buSzPts val="2800"/>
              <a:buNone/>
              <a:defRPr sz="2800">
                <a:solidFill>
                  <a:schemeClr val="dk1"/>
                </a:solidFill>
              </a:defRPr>
            </a:lvl2pPr>
            <a:lvl3pPr lvl="2" rtl="0">
              <a:lnSpc>
                <a:spcPct val="100000"/>
              </a:lnSpc>
              <a:spcBef>
                <a:spcPts val="0"/>
              </a:spcBef>
              <a:spcAft>
                <a:spcPts val="0"/>
              </a:spcAft>
              <a:buClr>
                <a:schemeClr val="dk1"/>
              </a:buClr>
              <a:buSzPts val="2800"/>
              <a:buNone/>
              <a:defRPr sz="2800">
                <a:solidFill>
                  <a:schemeClr val="dk1"/>
                </a:solidFill>
              </a:defRPr>
            </a:lvl3pPr>
            <a:lvl4pPr lvl="3" rtl="0">
              <a:lnSpc>
                <a:spcPct val="100000"/>
              </a:lnSpc>
              <a:spcBef>
                <a:spcPts val="0"/>
              </a:spcBef>
              <a:spcAft>
                <a:spcPts val="0"/>
              </a:spcAft>
              <a:buClr>
                <a:schemeClr val="dk1"/>
              </a:buClr>
              <a:buSzPts val="2800"/>
              <a:buNone/>
              <a:defRPr sz="2800">
                <a:solidFill>
                  <a:schemeClr val="dk1"/>
                </a:solidFill>
              </a:defRPr>
            </a:lvl4pPr>
            <a:lvl5pPr lvl="4" rtl="0">
              <a:lnSpc>
                <a:spcPct val="100000"/>
              </a:lnSpc>
              <a:spcBef>
                <a:spcPts val="0"/>
              </a:spcBef>
              <a:spcAft>
                <a:spcPts val="0"/>
              </a:spcAft>
              <a:buClr>
                <a:schemeClr val="dk1"/>
              </a:buClr>
              <a:buSzPts val="2800"/>
              <a:buNone/>
              <a:defRPr sz="2800">
                <a:solidFill>
                  <a:schemeClr val="dk1"/>
                </a:solidFill>
              </a:defRPr>
            </a:lvl5pPr>
            <a:lvl6pPr lvl="5" rtl="0">
              <a:lnSpc>
                <a:spcPct val="100000"/>
              </a:lnSpc>
              <a:spcBef>
                <a:spcPts val="0"/>
              </a:spcBef>
              <a:spcAft>
                <a:spcPts val="0"/>
              </a:spcAft>
              <a:buClr>
                <a:schemeClr val="dk1"/>
              </a:buClr>
              <a:buSzPts val="2800"/>
              <a:buNone/>
              <a:defRPr sz="2800">
                <a:solidFill>
                  <a:schemeClr val="dk1"/>
                </a:solidFill>
              </a:defRPr>
            </a:lvl6pPr>
            <a:lvl7pPr lvl="6" rtl="0">
              <a:lnSpc>
                <a:spcPct val="100000"/>
              </a:lnSpc>
              <a:spcBef>
                <a:spcPts val="0"/>
              </a:spcBef>
              <a:spcAft>
                <a:spcPts val="0"/>
              </a:spcAft>
              <a:buClr>
                <a:schemeClr val="dk1"/>
              </a:buClr>
              <a:buSzPts val="2800"/>
              <a:buNone/>
              <a:defRPr sz="2800">
                <a:solidFill>
                  <a:schemeClr val="dk1"/>
                </a:solidFill>
              </a:defRPr>
            </a:lvl7pPr>
            <a:lvl8pPr lvl="7" rtl="0">
              <a:lnSpc>
                <a:spcPct val="100000"/>
              </a:lnSpc>
              <a:spcBef>
                <a:spcPts val="0"/>
              </a:spcBef>
              <a:spcAft>
                <a:spcPts val="0"/>
              </a:spcAft>
              <a:buClr>
                <a:schemeClr val="dk1"/>
              </a:buClr>
              <a:buSzPts val="2800"/>
              <a:buNone/>
              <a:defRPr sz="2800">
                <a:solidFill>
                  <a:schemeClr val="dk1"/>
                </a:solidFill>
              </a:defRPr>
            </a:lvl8pPr>
            <a:lvl9pPr lvl="8" rtl="0">
              <a:lnSpc>
                <a:spcPct val="100000"/>
              </a:lnSpc>
              <a:spcBef>
                <a:spcPts val="0"/>
              </a:spcBef>
              <a:spcAft>
                <a:spcPts val="0"/>
              </a:spcAft>
              <a:buClr>
                <a:schemeClr val="dk1"/>
              </a:buClr>
              <a:buSzPts val="2800"/>
              <a:buNone/>
              <a:defRPr sz="2800">
                <a:solidFill>
                  <a:schemeClr val="dk1"/>
                </a:solidFill>
              </a:defRPr>
            </a:lvl9pPr>
          </a:lstStyle>
          <a:p>
            <a:endParaRPr/>
          </a:p>
        </p:txBody>
      </p:sp>
      <p:sp>
        <p:nvSpPr>
          <p:cNvPr id="87" name="Google Shape;87;p13"/>
          <p:cNvSpPr txBox="1">
            <a:spLocks noGrp="1"/>
          </p:cNvSpPr>
          <p:nvPr>
            <p:ph type="title" idx="2" hasCustomPrompt="1"/>
          </p:nvPr>
        </p:nvSpPr>
        <p:spPr>
          <a:xfrm>
            <a:off x="720000" y="837488"/>
            <a:ext cx="1554900" cy="1053300"/>
          </a:xfrm>
          <a:prstGeom prst="rect">
            <a:avLst/>
          </a:prstGeom>
        </p:spPr>
        <p:txBody>
          <a:bodyPr spcFirstLastPara="1" wrap="square" lIns="91425" tIns="91425" rIns="91425" bIns="91425" anchor="t" anchorCtr="0">
            <a:noAutofit/>
          </a:bodyPr>
          <a:lstStyle>
            <a:lvl1pPr lvl="0" rtl="0">
              <a:spcBef>
                <a:spcPts val="0"/>
              </a:spcBef>
              <a:spcAft>
                <a:spcPts val="0"/>
              </a:spcAft>
              <a:buClr>
                <a:schemeClr val="accent3"/>
              </a:buClr>
              <a:buSzPts val="6000"/>
              <a:buNone/>
              <a:defRPr sz="6000">
                <a:solidFill>
                  <a:schemeClr val="accent3"/>
                </a:solidFill>
              </a:defRPr>
            </a:lvl1pPr>
            <a:lvl2pPr lvl="1" rtl="0">
              <a:spcBef>
                <a:spcPts val="0"/>
              </a:spcBef>
              <a:spcAft>
                <a:spcPts val="0"/>
              </a:spcAft>
              <a:buSzPts val="4800"/>
              <a:buNone/>
              <a:defRPr sz="4800"/>
            </a:lvl2pPr>
            <a:lvl3pPr lvl="2" rtl="0">
              <a:spcBef>
                <a:spcPts val="0"/>
              </a:spcBef>
              <a:spcAft>
                <a:spcPts val="0"/>
              </a:spcAft>
              <a:buSzPts val="4800"/>
              <a:buNone/>
              <a:defRPr sz="4800"/>
            </a:lvl3pPr>
            <a:lvl4pPr lvl="3" rtl="0">
              <a:spcBef>
                <a:spcPts val="0"/>
              </a:spcBef>
              <a:spcAft>
                <a:spcPts val="0"/>
              </a:spcAft>
              <a:buSzPts val="4800"/>
              <a:buNone/>
              <a:defRPr sz="4800"/>
            </a:lvl4pPr>
            <a:lvl5pPr lvl="4" rtl="0">
              <a:spcBef>
                <a:spcPts val="0"/>
              </a:spcBef>
              <a:spcAft>
                <a:spcPts val="0"/>
              </a:spcAft>
              <a:buSzPts val="4800"/>
              <a:buNone/>
              <a:defRPr sz="4800"/>
            </a:lvl5pPr>
            <a:lvl6pPr lvl="5" rtl="0">
              <a:spcBef>
                <a:spcPts val="0"/>
              </a:spcBef>
              <a:spcAft>
                <a:spcPts val="0"/>
              </a:spcAft>
              <a:buSzPts val="4800"/>
              <a:buNone/>
              <a:defRPr sz="4800"/>
            </a:lvl6pPr>
            <a:lvl7pPr lvl="6" rtl="0">
              <a:spcBef>
                <a:spcPts val="0"/>
              </a:spcBef>
              <a:spcAft>
                <a:spcPts val="0"/>
              </a:spcAft>
              <a:buSzPts val="4800"/>
              <a:buNone/>
              <a:defRPr sz="4800"/>
            </a:lvl7pPr>
            <a:lvl8pPr lvl="7" rtl="0">
              <a:spcBef>
                <a:spcPts val="0"/>
              </a:spcBef>
              <a:spcAft>
                <a:spcPts val="0"/>
              </a:spcAft>
              <a:buSzPts val="4800"/>
              <a:buNone/>
              <a:defRPr sz="4800"/>
            </a:lvl8pPr>
            <a:lvl9pPr lvl="8" rtl="0">
              <a:spcBef>
                <a:spcPts val="0"/>
              </a:spcBef>
              <a:spcAft>
                <a:spcPts val="0"/>
              </a:spcAft>
              <a:buSzPts val="4800"/>
              <a:buNone/>
              <a:defRPr sz="4800"/>
            </a:lvl9pPr>
          </a:lstStyle>
          <a:p>
            <a:r>
              <a:t>xx%</a:t>
            </a:r>
          </a:p>
        </p:txBody>
      </p:sp>
    </p:spTree>
    <p:extLst>
      <p:ext uri="{BB962C8B-B14F-4D97-AF65-F5344CB8AC3E}">
        <p14:creationId xmlns:p14="http://schemas.microsoft.com/office/powerpoint/2010/main" val="25871981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8A87A34-81AB-432B-8DAE-1953F412C126}" type="datetimeFigureOut">
              <a:rPr lang="en-US" smtClean="0"/>
              <a:t>12/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smtClean="0"/>
              <a:t>‹#›</a:t>
            </a:fld>
            <a:endParaRPr lang="en-US"/>
          </a:p>
        </p:txBody>
      </p:sp>
    </p:spTree>
    <p:extLst>
      <p:ext uri="{BB962C8B-B14F-4D97-AF65-F5344CB8AC3E}">
        <p14:creationId xmlns:p14="http://schemas.microsoft.com/office/powerpoint/2010/main" val="807019932"/>
      </p:ext>
    </p:extLst>
  </p:cSld>
  <p:clrMapOvr>
    <a:masterClrMapping/>
  </p:clrMapOvr>
  <p:hf sldNum="0"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9"/>
        <p:cNvGrpSpPr/>
        <p:nvPr/>
      </p:nvGrpSpPr>
      <p:grpSpPr>
        <a:xfrm>
          <a:off x="0" y="0"/>
          <a:ext cx="0" cy="0"/>
          <a:chOff x="0" y="0"/>
          <a:chExt cx="0" cy="0"/>
        </a:xfrm>
      </p:grpSpPr>
      <p:sp>
        <p:nvSpPr>
          <p:cNvPr id="20" name="Google Shape;20;p4"/>
          <p:cNvSpPr txBox="1">
            <a:spLocks noGrp="1"/>
          </p:cNvSpPr>
          <p:nvPr>
            <p:ph type="body" idx="1"/>
          </p:nvPr>
        </p:nvSpPr>
        <p:spPr>
          <a:xfrm>
            <a:off x="713225" y="1038175"/>
            <a:ext cx="7736700" cy="3565500"/>
          </a:xfrm>
          <a:prstGeom prst="rect">
            <a:avLst/>
          </a:prstGeom>
        </p:spPr>
        <p:txBody>
          <a:bodyPr spcFirstLastPara="1" wrap="square" lIns="91425" tIns="91425" rIns="91425" bIns="91425" anchor="t" anchorCtr="0">
            <a:noAutofit/>
          </a:bodyPr>
          <a:lstStyle>
            <a:lvl1pPr marL="457200" lvl="0" indent="-387350">
              <a:spcBef>
                <a:spcPts val="0"/>
              </a:spcBef>
              <a:spcAft>
                <a:spcPts val="0"/>
              </a:spcAft>
              <a:buSzPts val="2500"/>
              <a:buAutoNum type="arabicPeriod"/>
              <a:defRPr sz="1200"/>
            </a:lvl1pPr>
            <a:lvl2pPr marL="914400" lvl="1" indent="-317500">
              <a:spcBef>
                <a:spcPts val="1600"/>
              </a:spcBef>
              <a:spcAft>
                <a:spcPts val="0"/>
              </a:spcAft>
              <a:buSzPts val="1400"/>
              <a:buAutoNum type="alphaLcPeriod"/>
              <a:defRPr/>
            </a:lvl2pPr>
            <a:lvl3pPr marL="1371600" lvl="2" indent="-317500">
              <a:spcBef>
                <a:spcPts val="1600"/>
              </a:spcBef>
              <a:spcAft>
                <a:spcPts val="0"/>
              </a:spcAft>
              <a:buSzPts val="1400"/>
              <a:buAutoNum type="romanLcPeriod"/>
              <a:defRPr/>
            </a:lvl3pPr>
            <a:lvl4pPr marL="1828800" lvl="3" indent="-317500">
              <a:spcBef>
                <a:spcPts val="1600"/>
              </a:spcBef>
              <a:spcAft>
                <a:spcPts val="0"/>
              </a:spcAft>
              <a:buSzPts val="1400"/>
              <a:buAutoNum type="arabicPeriod"/>
              <a:defRPr/>
            </a:lvl4pPr>
            <a:lvl5pPr marL="2286000" lvl="4" indent="-317500">
              <a:spcBef>
                <a:spcPts val="1600"/>
              </a:spcBef>
              <a:spcAft>
                <a:spcPts val="0"/>
              </a:spcAft>
              <a:buSzPts val="1400"/>
              <a:buAutoNum type="alphaLcPeriod"/>
              <a:defRPr/>
            </a:lvl5pPr>
            <a:lvl6pPr marL="2743200" lvl="5" indent="-317500">
              <a:spcBef>
                <a:spcPts val="1600"/>
              </a:spcBef>
              <a:spcAft>
                <a:spcPts val="0"/>
              </a:spcAft>
              <a:buSzPts val="1400"/>
              <a:buAutoNum type="romanLcPeriod"/>
              <a:defRPr/>
            </a:lvl6pPr>
            <a:lvl7pPr marL="3200400" lvl="6" indent="-317500">
              <a:spcBef>
                <a:spcPts val="1600"/>
              </a:spcBef>
              <a:spcAft>
                <a:spcPts val="0"/>
              </a:spcAft>
              <a:buSzPts val="1400"/>
              <a:buAutoNum type="arabicPeriod"/>
              <a:defRPr/>
            </a:lvl7pPr>
            <a:lvl8pPr marL="3657600" lvl="7" indent="-317500">
              <a:spcBef>
                <a:spcPts val="1600"/>
              </a:spcBef>
              <a:spcAft>
                <a:spcPts val="0"/>
              </a:spcAft>
              <a:buClr>
                <a:srgbClr val="000000"/>
              </a:buClr>
              <a:buSzPts val="1400"/>
              <a:buAutoNum type="alphaLcPeriod"/>
              <a:defRPr>
                <a:solidFill>
                  <a:srgbClr val="000000"/>
                </a:solidFill>
              </a:defRPr>
            </a:lvl8pPr>
            <a:lvl9pPr marL="4114800" lvl="8" indent="-317500">
              <a:spcBef>
                <a:spcPts val="1600"/>
              </a:spcBef>
              <a:spcAft>
                <a:spcPts val="1600"/>
              </a:spcAft>
              <a:buClr>
                <a:srgbClr val="000000"/>
              </a:buClr>
              <a:buSzPts val="1400"/>
              <a:buAutoNum type="romanLcPeriod"/>
              <a:defRPr>
                <a:solidFill>
                  <a:srgbClr val="000000"/>
                </a:solidFill>
              </a:defRPr>
            </a:lvl9pPr>
          </a:lstStyle>
          <a:p>
            <a:endParaRPr/>
          </a:p>
        </p:txBody>
      </p:sp>
      <p:sp>
        <p:nvSpPr>
          <p:cNvPr id="21" name="Google Shape;21;p4"/>
          <p:cNvSpPr txBox="1">
            <a:spLocks noGrp="1"/>
          </p:cNvSpPr>
          <p:nvPr>
            <p:ph type="title"/>
          </p:nvPr>
        </p:nvSpPr>
        <p:spPr>
          <a:xfrm>
            <a:off x="713225" y="359300"/>
            <a:ext cx="7736700" cy="5727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2800"/>
              <a:buNone/>
              <a:defRPr sz="3000"/>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Tree>
    <p:extLst>
      <p:ext uri="{BB962C8B-B14F-4D97-AF65-F5344CB8AC3E}">
        <p14:creationId xmlns:p14="http://schemas.microsoft.com/office/powerpoint/2010/main" val="147128836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Section header" type="secHead">
  <p:cSld name="1_Section header">
    <p:spTree>
      <p:nvGrpSpPr>
        <p:cNvPr id="1" name="Shape 14"/>
        <p:cNvGrpSpPr/>
        <p:nvPr/>
      </p:nvGrpSpPr>
      <p:grpSpPr>
        <a:xfrm>
          <a:off x="0" y="0"/>
          <a:ext cx="0" cy="0"/>
          <a:chOff x="0" y="0"/>
          <a:chExt cx="0" cy="0"/>
        </a:xfrm>
      </p:grpSpPr>
      <p:sp>
        <p:nvSpPr>
          <p:cNvPr id="15" name="Google Shape;15;p3"/>
          <p:cNvSpPr txBox="1">
            <a:spLocks noGrp="1"/>
          </p:cNvSpPr>
          <p:nvPr>
            <p:ph type="ctrTitle"/>
          </p:nvPr>
        </p:nvSpPr>
        <p:spPr>
          <a:xfrm>
            <a:off x="4969750" y="2637994"/>
            <a:ext cx="2697900" cy="906600"/>
          </a:xfrm>
          <a:prstGeom prst="rect">
            <a:avLst/>
          </a:prstGeom>
        </p:spPr>
        <p:txBody>
          <a:bodyPr spcFirstLastPara="1" wrap="square" lIns="91425" tIns="91425" rIns="91425" bIns="91425" anchor="b" anchorCtr="0">
            <a:noAutofit/>
          </a:bodyPr>
          <a:lstStyle>
            <a:lvl1pPr lvl="0" rtl="0">
              <a:spcBef>
                <a:spcPts val="0"/>
              </a:spcBef>
              <a:spcAft>
                <a:spcPts val="0"/>
              </a:spcAft>
              <a:buClr>
                <a:schemeClr val="lt1"/>
              </a:buClr>
              <a:buSzPts val="5200"/>
              <a:buNone/>
              <a:defRPr sz="3800">
                <a:solidFill>
                  <a:schemeClr val="lt1"/>
                </a:solidFill>
              </a:defRPr>
            </a:lvl1pPr>
            <a:lvl2pPr lvl="1" rtl="0">
              <a:spcBef>
                <a:spcPts val="0"/>
              </a:spcBef>
              <a:spcAft>
                <a:spcPts val="0"/>
              </a:spcAft>
              <a:buClr>
                <a:schemeClr val="dk1"/>
              </a:buClr>
              <a:buSzPts val="5200"/>
              <a:buNone/>
              <a:defRPr sz="5200">
                <a:solidFill>
                  <a:schemeClr val="dk1"/>
                </a:solidFill>
              </a:defRPr>
            </a:lvl2pPr>
            <a:lvl3pPr lvl="2" rtl="0">
              <a:spcBef>
                <a:spcPts val="0"/>
              </a:spcBef>
              <a:spcAft>
                <a:spcPts val="0"/>
              </a:spcAft>
              <a:buClr>
                <a:schemeClr val="dk1"/>
              </a:buClr>
              <a:buSzPts val="5200"/>
              <a:buNone/>
              <a:defRPr sz="5200">
                <a:solidFill>
                  <a:schemeClr val="dk1"/>
                </a:solidFill>
              </a:defRPr>
            </a:lvl3pPr>
            <a:lvl4pPr lvl="3" rtl="0">
              <a:spcBef>
                <a:spcPts val="0"/>
              </a:spcBef>
              <a:spcAft>
                <a:spcPts val="0"/>
              </a:spcAft>
              <a:buClr>
                <a:schemeClr val="dk1"/>
              </a:buClr>
              <a:buSzPts val="5200"/>
              <a:buNone/>
              <a:defRPr sz="5200">
                <a:solidFill>
                  <a:schemeClr val="dk1"/>
                </a:solidFill>
              </a:defRPr>
            </a:lvl4pPr>
            <a:lvl5pPr lvl="4" rtl="0">
              <a:spcBef>
                <a:spcPts val="0"/>
              </a:spcBef>
              <a:spcAft>
                <a:spcPts val="0"/>
              </a:spcAft>
              <a:buClr>
                <a:schemeClr val="dk1"/>
              </a:buClr>
              <a:buSzPts val="5200"/>
              <a:buNone/>
              <a:defRPr sz="5200">
                <a:solidFill>
                  <a:schemeClr val="dk1"/>
                </a:solidFill>
              </a:defRPr>
            </a:lvl5pPr>
            <a:lvl6pPr lvl="5" rtl="0">
              <a:spcBef>
                <a:spcPts val="0"/>
              </a:spcBef>
              <a:spcAft>
                <a:spcPts val="0"/>
              </a:spcAft>
              <a:buClr>
                <a:schemeClr val="dk1"/>
              </a:buClr>
              <a:buSzPts val="5200"/>
              <a:buNone/>
              <a:defRPr sz="5200">
                <a:solidFill>
                  <a:schemeClr val="dk1"/>
                </a:solidFill>
              </a:defRPr>
            </a:lvl6pPr>
            <a:lvl7pPr lvl="6" rtl="0">
              <a:spcBef>
                <a:spcPts val="0"/>
              </a:spcBef>
              <a:spcAft>
                <a:spcPts val="0"/>
              </a:spcAft>
              <a:buClr>
                <a:schemeClr val="dk1"/>
              </a:buClr>
              <a:buSzPts val="5200"/>
              <a:buNone/>
              <a:defRPr sz="5200">
                <a:solidFill>
                  <a:schemeClr val="dk1"/>
                </a:solidFill>
              </a:defRPr>
            </a:lvl7pPr>
            <a:lvl8pPr lvl="7" rtl="0">
              <a:spcBef>
                <a:spcPts val="0"/>
              </a:spcBef>
              <a:spcAft>
                <a:spcPts val="0"/>
              </a:spcAft>
              <a:buClr>
                <a:schemeClr val="dk1"/>
              </a:buClr>
              <a:buSzPts val="5200"/>
              <a:buNone/>
              <a:defRPr sz="5200">
                <a:solidFill>
                  <a:schemeClr val="dk1"/>
                </a:solidFill>
              </a:defRPr>
            </a:lvl8pPr>
            <a:lvl9pPr lvl="8" rtl="0">
              <a:spcBef>
                <a:spcPts val="0"/>
              </a:spcBef>
              <a:spcAft>
                <a:spcPts val="0"/>
              </a:spcAft>
              <a:buClr>
                <a:schemeClr val="dk1"/>
              </a:buClr>
              <a:buSzPts val="5200"/>
              <a:buNone/>
              <a:defRPr sz="5200">
                <a:solidFill>
                  <a:schemeClr val="dk1"/>
                </a:solidFill>
              </a:defRPr>
            </a:lvl9pPr>
          </a:lstStyle>
          <a:p>
            <a:endParaRPr/>
          </a:p>
        </p:txBody>
      </p:sp>
      <p:sp>
        <p:nvSpPr>
          <p:cNvPr id="16" name="Google Shape;16;p3"/>
          <p:cNvSpPr txBox="1">
            <a:spLocks noGrp="1"/>
          </p:cNvSpPr>
          <p:nvPr>
            <p:ph type="subTitle" idx="1"/>
          </p:nvPr>
        </p:nvSpPr>
        <p:spPr>
          <a:xfrm>
            <a:off x="4969750" y="3732719"/>
            <a:ext cx="2507400" cy="420900"/>
          </a:xfrm>
          <a:prstGeom prst="rect">
            <a:avLst/>
          </a:prstGeom>
        </p:spPr>
        <p:txBody>
          <a:bodyPr spcFirstLastPara="1" wrap="square" lIns="91425" tIns="91425" rIns="91425" bIns="91425" anchor="b" anchorCtr="0">
            <a:noAutofit/>
          </a:bodyPr>
          <a:lstStyle>
            <a:lvl1pPr lvl="0" rtl="0">
              <a:lnSpc>
                <a:spcPct val="100000"/>
              </a:lnSpc>
              <a:spcBef>
                <a:spcPts val="0"/>
              </a:spcBef>
              <a:spcAft>
                <a:spcPts val="0"/>
              </a:spcAft>
              <a:buSzPts val="2800"/>
              <a:buNone/>
              <a:defRPr sz="1600"/>
            </a:lvl1pPr>
            <a:lvl2pPr lvl="1" rtl="0">
              <a:lnSpc>
                <a:spcPct val="100000"/>
              </a:lnSpc>
              <a:spcBef>
                <a:spcPts val="0"/>
              </a:spcBef>
              <a:spcAft>
                <a:spcPts val="0"/>
              </a:spcAft>
              <a:buClr>
                <a:schemeClr val="dk1"/>
              </a:buClr>
              <a:buSzPts val="2800"/>
              <a:buNone/>
              <a:defRPr sz="2800">
                <a:solidFill>
                  <a:schemeClr val="dk1"/>
                </a:solidFill>
              </a:defRPr>
            </a:lvl2pPr>
            <a:lvl3pPr lvl="2" rtl="0">
              <a:lnSpc>
                <a:spcPct val="100000"/>
              </a:lnSpc>
              <a:spcBef>
                <a:spcPts val="0"/>
              </a:spcBef>
              <a:spcAft>
                <a:spcPts val="0"/>
              </a:spcAft>
              <a:buClr>
                <a:schemeClr val="dk1"/>
              </a:buClr>
              <a:buSzPts val="2800"/>
              <a:buNone/>
              <a:defRPr sz="2800">
                <a:solidFill>
                  <a:schemeClr val="dk1"/>
                </a:solidFill>
              </a:defRPr>
            </a:lvl3pPr>
            <a:lvl4pPr lvl="3" rtl="0">
              <a:lnSpc>
                <a:spcPct val="100000"/>
              </a:lnSpc>
              <a:spcBef>
                <a:spcPts val="0"/>
              </a:spcBef>
              <a:spcAft>
                <a:spcPts val="0"/>
              </a:spcAft>
              <a:buClr>
                <a:schemeClr val="dk1"/>
              </a:buClr>
              <a:buSzPts val="2800"/>
              <a:buNone/>
              <a:defRPr sz="2800">
                <a:solidFill>
                  <a:schemeClr val="dk1"/>
                </a:solidFill>
              </a:defRPr>
            </a:lvl4pPr>
            <a:lvl5pPr lvl="4" rtl="0">
              <a:lnSpc>
                <a:spcPct val="100000"/>
              </a:lnSpc>
              <a:spcBef>
                <a:spcPts val="0"/>
              </a:spcBef>
              <a:spcAft>
                <a:spcPts val="0"/>
              </a:spcAft>
              <a:buClr>
                <a:schemeClr val="dk1"/>
              </a:buClr>
              <a:buSzPts val="2800"/>
              <a:buNone/>
              <a:defRPr sz="2800">
                <a:solidFill>
                  <a:schemeClr val="dk1"/>
                </a:solidFill>
              </a:defRPr>
            </a:lvl5pPr>
            <a:lvl6pPr lvl="5" rtl="0">
              <a:lnSpc>
                <a:spcPct val="100000"/>
              </a:lnSpc>
              <a:spcBef>
                <a:spcPts val="0"/>
              </a:spcBef>
              <a:spcAft>
                <a:spcPts val="0"/>
              </a:spcAft>
              <a:buClr>
                <a:schemeClr val="dk1"/>
              </a:buClr>
              <a:buSzPts val="2800"/>
              <a:buNone/>
              <a:defRPr sz="2800">
                <a:solidFill>
                  <a:schemeClr val="dk1"/>
                </a:solidFill>
              </a:defRPr>
            </a:lvl6pPr>
            <a:lvl7pPr lvl="6" rtl="0">
              <a:lnSpc>
                <a:spcPct val="100000"/>
              </a:lnSpc>
              <a:spcBef>
                <a:spcPts val="0"/>
              </a:spcBef>
              <a:spcAft>
                <a:spcPts val="0"/>
              </a:spcAft>
              <a:buClr>
                <a:schemeClr val="dk1"/>
              </a:buClr>
              <a:buSzPts val="2800"/>
              <a:buNone/>
              <a:defRPr sz="2800">
                <a:solidFill>
                  <a:schemeClr val="dk1"/>
                </a:solidFill>
              </a:defRPr>
            </a:lvl7pPr>
            <a:lvl8pPr lvl="7" rtl="0">
              <a:lnSpc>
                <a:spcPct val="100000"/>
              </a:lnSpc>
              <a:spcBef>
                <a:spcPts val="0"/>
              </a:spcBef>
              <a:spcAft>
                <a:spcPts val="0"/>
              </a:spcAft>
              <a:buClr>
                <a:schemeClr val="dk1"/>
              </a:buClr>
              <a:buSzPts val="2800"/>
              <a:buNone/>
              <a:defRPr sz="2800">
                <a:solidFill>
                  <a:schemeClr val="dk1"/>
                </a:solidFill>
              </a:defRPr>
            </a:lvl8pPr>
            <a:lvl9pPr lvl="8" rtl="0">
              <a:lnSpc>
                <a:spcPct val="100000"/>
              </a:lnSpc>
              <a:spcBef>
                <a:spcPts val="0"/>
              </a:spcBef>
              <a:spcAft>
                <a:spcPts val="0"/>
              </a:spcAft>
              <a:buClr>
                <a:schemeClr val="dk1"/>
              </a:buClr>
              <a:buSzPts val="2800"/>
              <a:buNone/>
              <a:defRPr sz="2800">
                <a:solidFill>
                  <a:schemeClr val="dk1"/>
                </a:solidFill>
              </a:defRPr>
            </a:lvl9pPr>
          </a:lstStyle>
          <a:p>
            <a:endParaRPr/>
          </a:p>
        </p:txBody>
      </p:sp>
      <p:sp>
        <p:nvSpPr>
          <p:cNvPr id="17" name="Google Shape;17;p3"/>
          <p:cNvSpPr txBox="1">
            <a:spLocks noGrp="1"/>
          </p:cNvSpPr>
          <p:nvPr>
            <p:ph type="title" idx="2" hasCustomPrompt="1"/>
          </p:nvPr>
        </p:nvSpPr>
        <p:spPr>
          <a:xfrm>
            <a:off x="4969750" y="989881"/>
            <a:ext cx="1554900" cy="1053300"/>
          </a:xfrm>
          <a:prstGeom prst="rect">
            <a:avLst/>
          </a:prstGeom>
        </p:spPr>
        <p:txBody>
          <a:bodyPr spcFirstLastPara="1" wrap="square" lIns="91425" tIns="91425" rIns="91425" bIns="91425" anchor="t" anchorCtr="0">
            <a:noAutofit/>
          </a:bodyPr>
          <a:lstStyle>
            <a:lvl1pPr lvl="0" rtl="0">
              <a:spcBef>
                <a:spcPts val="0"/>
              </a:spcBef>
              <a:spcAft>
                <a:spcPts val="0"/>
              </a:spcAft>
              <a:buClr>
                <a:schemeClr val="accent3"/>
              </a:buClr>
              <a:buSzPts val="6000"/>
              <a:buNone/>
              <a:defRPr sz="6000">
                <a:solidFill>
                  <a:schemeClr val="accent3"/>
                </a:solidFill>
              </a:defRPr>
            </a:lvl1pPr>
            <a:lvl2pPr lvl="1" rtl="0">
              <a:spcBef>
                <a:spcPts val="0"/>
              </a:spcBef>
              <a:spcAft>
                <a:spcPts val="0"/>
              </a:spcAft>
              <a:buSzPts val="4800"/>
              <a:buNone/>
              <a:defRPr sz="4800"/>
            </a:lvl2pPr>
            <a:lvl3pPr lvl="2" rtl="0">
              <a:spcBef>
                <a:spcPts val="0"/>
              </a:spcBef>
              <a:spcAft>
                <a:spcPts val="0"/>
              </a:spcAft>
              <a:buSzPts val="4800"/>
              <a:buNone/>
              <a:defRPr sz="4800"/>
            </a:lvl3pPr>
            <a:lvl4pPr lvl="3" rtl="0">
              <a:spcBef>
                <a:spcPts val="0"/>
              </a:spcBef>
              <a:spcAft>
                <a:spcPts val="0"/>
              </a:spcAft>
              <a:buSzPts val="4800"/>
              <a:buNone/>
              <a:defRPr sz="4800"/>
            </a:lvl4pPr>
            <a:lvl5pPr lvl="4" rtl="0">
              <a:spcBef>
                <a:spcPts val="0"/>
              </a:spcBef>
              <a:spcAft>
                <a:spcPts val="0"/>
              </a:spcAft>
              <a:buSzPts val="4800"/>
              <a:buNone/>
              <a:defRPr sz="4800"/>
            </a:lvl5pPr>
            <a:lvl6pPr lvl="5" rtl="0">
              <a:spcBef>
                <a:spcPts val="0"/>
              </a:spcBef>
              <a:spcAft>
                <a:spcPts val="0"/>
              </a:spcAft>
              <a:buSzPts val="4800"/>
              <a:buNone/>
              <a:defRPr sz="4800"/>
            </a:lvl6pPr>
            <a:lvl7pPr lvl="6" rtl="0">
              <a:spcBef>
                <a:spcPts val="0"/>
              </a:spcBef>
              <a:spcAft>
                <a:spcPts val="0"/>
              </a:spcAft>
              <a:buSzPts val="4800"/>
              <a:buNone/>
              <a:defRPr sz="4800"/>
            </a:lvl7pPr>
            <a:lvl8pPr lvl="7" rtl="0">
              <a:spcBef>
                <a:spcPts val="0"/>
              </a:spcBef>
              <a:spcAft>
                <a:spcPts val="0"/>
              </a:spcAft>
              <a:buSzPts val="4800"/>
              <a:buNone/>
              <a:defRPr sz="4800"/>
            </a:lvl8pPr>
            <a:lvl9pPr lvl="8" rtl="0">
              <a:spcBef>
                <a:spcPts val="0"/>
              </a:spcBef>
              <a:spcAft>
                <a:spcPts val="0"/>
              </a:spcAft>
              <a:buSzPts val="4800"/>
              <a:buNone/>
              <a:defRPr sz="4800"/>
            </a:lvl9pPr>
          </a:lstStyle>
          <a:p>
            <a:r>
              <a:t>xx%</a:t>
            </a:r>
          </a:p>
        </p:txBody>
      </p:sp>
    </p:spTree>
    <p:extLst>
      <p:ext uri="{BB962C8B-B14F-4D97-AF65-F5344CB8AC3E}">
        <p14:creationId xmlns:p14="http://schemas.microsoft.com/office/powerpoint/2010/main" val="46817424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Title only 2">
  <p:cSld name="Title only 2">
    <p:spTree>
      <p:nvGrpSpPr>
        <p:cNvPr id="1" name="Shape 115"/>
        <p:cNvGrpSpPr/>
        <p:nvPr/>
      </p:nvGrpSpPr>
      <p:grpSpPr>
        <a:xfrm>
          <a:off x="0" y="0"/>
          <a:ext cx="0" cy="0"/>
          <a:chOff x="0" y="0"/>
          <a:chExt cx="0" cy="0"/>
        </a:xfrm>
      </p:grpSpPr>
      <p:sp>
        <p:nvSpPr>
          <p:cNvPr id="116" name="Google Shape;116;p16"/>
          <p:cNvSpPr txBox="1">
            <a:spLocks noGrp="1"/>
          </p:cNvSpPr>
          <p:nvPr>
            <p:ph type="title"/>
          </p:nvPr>
        </p:nvSpPr>
        <p:spPr>
          <a:xfrm>
            <a:off x="713225" y="359300"/>
            <a:ext cx="7736700" cy="5727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2800"/>
              <a:buNone/>
              <a:defRPr sz="3000">
                <a:solidFill>
                  <a:srgbClr val="FF8B7B"/>
                </a:solidFill>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Tree>
    <p:extLst>
      <p:ext uri="{BB962C8B-B14F-4D97-AF65-F5344CB8AC3E}">
        <p14:creationId xmlns:p14="http://schemas.microsoft.com/office/powerpoint/2010/main" val="195629727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Title only 1">
  <p:cSld name="Title only 1">
    <p:spTree>
      <p:nvGrpSpPr>
        <p:cNvPr id="1" name="Shape 113"/>
        <p:cNvGrpSpPr/>
        <p:nvPr/>
      </p:nvGrpSpPr>
      <p:grpSpPr>
        <a:xfrm>
          <a:off x="0" y="0"/>
          <a:ext cx="0" cy="0"/>
          <a:chOff x="0" y="0"/>
          <a:chExt cx="0" cy="0"/>
        </a:xfrm>
      </p:grpSpPr>
      <p:sp>
        <p:nvSpPr>
          <p:cNvPr id="114" name="Google Shape;114;p15"/>
          <p:cNvSpPr txBox="1">
            <a:spLocks noGrp="1"/>
          </p:cNvSpPr>
          <p:nvPr>
            <p:ph type="title"/>
          </p:nvPr>
        </p:nvSpPr>
        <p:spPr>
          <a:xfrm>
            <a:off x="713225" y="359300"/>
            <a:ext cx="7736700" cy="5727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2800"/>
              <a:buNone/>
              <a:defRPr sz="3000">
                <a:solidFill>
                  <a:srgbClr val="FF8B7B"/>
                </a:solidFill>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Tree>
    <p:extLst>
      <p:ext uri="{BB962C8B-B14F-4D97-AF65-F5344CB8AC3E}">
        <p14:creationId xmlns:p14="http://schemas.microsoft.com/office/powerpoint/2010/main" val="112011441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28650" y="122611"/>
            <a:ext cx="7886700" cy="554292"/>
          </a:xfrm>
        </p:spPr>
        <p:txBody>
          <a:bodyPr>
            <a:normAutofit/>
          </a:bodyPr>
          <a:lstStyle>
            <a:lvl1pPr>
              <a:defRPr sz="2700"/>
            </a:lvl1pPr>
          </a:lstStyle>
          <a:p>
            <a:r>
              <a:rPr lang="en-US"/>
              <a:t>Click to edit Master title style</a:t>
            </a:r>
          </a:p>
        </p:txBody>
      </p:sp>
    </p:spTree>
    <p:extLst>
      <p:ext uri="{BB962C8B-B14F-4D97-AF65-F5344CB8AC3E}">
        <p14:creationId xmlns:p14="http://schemas.microsoft.com/office/powerpoint/2010/main" val="15089215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21933" y="492920"/>
            <a:ext cx="7300134" cy="2139553"/>
          </a:xfrm>
        </p:spPr>
        <p:txBody>
          <a:bodyPr anchor="b">
            <a:normAutofit/>
          </a:bodyPr>
          <a:lstStyle>
            <a:lvl1pPr>
              <a:defRPr sz="2550"/>
            </a:lvl1pPr>
          </a:lstStyle>
          <a:p>
            <a:r>
              <a:rPr lang="en-US"/>
              <a:t>Click to edit Master title style</a:t>
            </a:r>
          </a:p>
        </p:txBody>
      </p:sp>
      <p:sp>
        <p:nvSpPr>
          <p:cNvPr id="3" name="Text Placeholder 2"/>
          <p:cNvSpPr>
            <a:spLocks noGrp="1"/>
          </p:cNvSpPr>
          <p:nvPr>
            <p:ph type="body" idx="1"/>
          </p:nvPr>
        </p:nvSpPr>
        <p:spPr>
          <a:xfrm>
            <a:off x="921933" y="2701529"/>
            <a:ext cx="7300134" cy="1125140"/>
          </a:xfrm>
        </p:spPr>
        <p:txBody>
          <a:bodyPr/>
          <a:lstStyle>
            <a:lvl1pPr marL="0" indent="0" algn="ctr">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8A87A34-81AB-432B-8DAE-1953F412C126}" type="datetimeFigureOut">
              <a:rPr lang="en-US" smtClean="0"/>
              <a:pPr/>
              <a:t>12/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smtClean="0"/>
              <a:pPr/>
              <a:t>‹#›</a:t>
            </a:fld>
            <a:endParaRPr lang="en-US"/>
          </a:p>
        </p:txBody>
      </p:sp>
    </p:spTree>
    <p:extLst>
      <p:ext uri="{BB962C8B-B14F-4D97-AF65-F5344CB8AC3E}">
        <p14:creationId xmlns:p14="http://schemas.microsoft.com/office/powerpoint/2010/main" val="2341024752"/>
      </p:ext>
    </p:extLst>
  </p:cSld>
  <p:clrMapOvr>
    <a:masterClrMapping/>
  </p:clrMapOvr>
  <p:hf sldNum="0"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85347" y="457200"/>
            <a:ext cx="7765321" cy="994741"/>
          </a:xfrm>
        </p:spPr>
        <p:txBody>
          <a:bodyPr/>
          <a:lstStyle/>
          <a:p>
            <a:r>
              <a:rPr lang="en-US"/>
              <a:t>Click to edit Master title style</a:t>
            </a:r>
          </a:p>
        </p:txBody>
      </p:sp>
      <p:sp>
        <p:nvSpPr>
          <p:cNvPr id="3" name="Content Placeholder 2"/>
          <p:cNvSpPr>
            <a:spLocks noGrp="1"/>
          </p:cNvSpPr>
          <p:nvPr>
            <p:ph sz="half" idx="1"/>
          </p:nvPr>
        </p:nvSpPr>
        <p:spPr>
          <a:xfrm>
            <a:off x="685346" y="1566240"/>
            <a:ext cx="3829503" cy="27771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30052" y="1566240"/>
            <a:ext cx="3820616" cy="27771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8A87A34-81AB-432B-8DAE-1953F412C126}" type="datetimeFigureOut">
              <a:rPr lang="en-US" smtClean="0"/>
              <a:t>12/2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22F896-40B5-4ADD-8801-0D06FADFA095}" type="slidenum">
              <a:rPr lang="en-US" smtClean="0"/>
              <a:t>‹#›</a:t>
            </a:fld>
            <a:endParaRPr lang="en-US"/>
          </a:p>
        </p:txBody>
      </p:sp>
    </p:spTree>
    <p:extLst>
      <p:ext uri="{BB962C8B-B14F-4D97-AF65-F5344CB8AC3E}">
        <p14:creationId xmlns:p14="http://schemas.microsoft.com/office/powerpoint/2010/main" val="2266850397"/>
      </p:ext>
    </p:extLst>
  </p:cSld>
  <p:clrMapOvr>
    <a:masterClrMapping/>
  </p:clrMapOvr>
  <p:hf sldNum="0"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85347" y="457201"/>
            <a:ext cx="7765321" cy="994172"/>
          </a:xfrm>
        </p:spPr>
        <p:txBody>
          <a:bodyPr/>
          <a:lstStyle/>
          <a:p>
            <a:r>
              <a:rPr lang="en-US"/>
              <a:t>Click to edit Master title style</a:t>
            </a:r>
          </a:p>
        </p:txBody>
      </p:sp>
      <p:sp>
        <p:nvSpPr>
          <p:cNvPr id="3" name="Text Placeholder 2"/>
          <p:cNvSpPr>
            <a:spLocks noGrp="1"/>
          </p:cNvSpPr>
          <p:nvPr>
            <p:ph type="body" idx="1"/>
          </p:nvPr>
        </p:nvSpPr>
        <p:spPr>
          <a:xfrm>
            <a:off x="856354" y="1566240"/>
            <a:ext cx="3659399" cy="617934"/>
          </a:xfrm>
        </p:spPr>
        <p:txBody>
          <a:bodyPr anchor="b"/>
          <a:lstStyle>
            <a:lvl1pPr marL="0" indent="0">
              <a:lnSpc>
                <a:spcPct val="100000"/>
              </a:lnSpc>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85346" y="2184174"/>
            <a:ext cx="3830406" cy="215922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801502" y="1566240"/>
            <a:ext cx="3649166" cy="617934"/>
          </a:xfrm>
        </p:spPr>
        <p:txBody>
          <a:bodyPr anchor="b"/>
          <a:lstStyle>
            <a:lvl1pPr marL="0" indent="0">
              <a:lnSpc>
                <a:spcPct val="100000"/>
              </a:lnSpc>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2184174"/>
            <a:ext cx="3821518" cy="215922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8A87A34-81AB-432B-8DAE-1953F412C126}" type="datetimeFigureOut">
              <a:rPr lang="en-US" smtClean="0"/>
              <a:t>12/22/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D22F896-40B5-4ADD-8801-0D06FADFA095}" type="slidenum">
              <a:rPr lang="en-US" smtClean="0"/>
              <a:t>‹#›</a:t>
            </a:fld>
            <a:endParaRPr lang="en-US"/>
          </a:p>
        </p:txBody>
      </p:sp>
    </p:spTree>
    <p:extLst>
      <p:ext uri="{BB962C8B-B14F-4D97-AF65-F5344CB8AC3E}">
        <p14:creationId xmlns:p14="http://schemas.microsoft.com/office/powerpoint/2010/main" val="3766644992"/>
      </p:ext>
    </p:extLst>
  </p:cSld>
  <p:clrMapOvr>
    <a:masterClrMapping/>
  </p:clrMapOvr>
  <p:hf sldNum="0"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939230C-3F9B-4D59-BF21-1C313FCDBA8C}" type="datetimeFigureOut">
              <a:rPr lang="en-IN" smtClean="0"/>
              <a:t>22-12-2023</a:t>
            </a:fld>
            <a:endParaRPr lang="en-IN"/>
          </a:p>
        </p:txBody>
      </p:sp>
      <p:sp>
        <p:nvSpPr>
          <p:cNvPr id="4" name="Footer Placeholder 3"/>
          <p:cNvSpPr>
            <a:spLocks noGrp="1"/>
          </p:cNvSpPr>
          <p:nvPr>
            <p:ph type="ftr" sz="quarter" idx="11"/>
          </p:nvPr>
        </p:nvSpPr>
        <p:spPr/>
        <p:txBody>
          <a:bodyPr/>
          <a:lstStyle/>
          <a:p>
            <a:endParaRPr lang="en-IN"/>
          </a:p>
        </p:txBody>
      </p:sp>
      <p:sp>
        <p:nvSpPr>
          <p:cNvPr id="5" name="Slide Number Placeholder 4"/>
          <p:cNvSpPr>
            <a:spLocks noGrp="1"/>
          </p:cNvSpPr>
          <p:nvPr>
            <p:ph type="sldNum" sz="quarter" idx="12"/>
          </p:nvPr>
        </p:nvSpPr>
        <p:spPr/>
        <p:txBody>
          <a:bodyPr/>
          <a:lstStyle/>
          <a:p>
            <a:fld id="{9474F7D0-A60F-4B10-A58C-D526B4A9CAD1}" type="slidenum">
              <a:rPr lang="en-IN" smtClean="0"/>
              <a:t>‹#›</a:t>
            </a:fld>
            <a:endParaRPr lang="en-IN"/>
          </a:p>
        </p:txBody>
      </p:sp>
    </p:spTree>
    <p:extLst>
      <p:ext uri="{BB962C8B-B14F-4D97-AF65-F5344CB8AC3E}">
        <p14:creationId xmlns:p14="http://schemas.microsoft.com/office/powerpoint/2010/main" val="2222217113"/>
      </p:ext>
    </p:extLst>
  </p:cSld>
  <p:clrMapOvr>
    <a:masterClrMapping/>
  </p:clrMapOvr>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smtClean="0"/>
              <a:t>12/22/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D22F896-40B5-4ADD-8801-0D06FADFA095}" type="slidenum">
              <a:rPr lang="en-US" smtClean="0"/>
              <a:t>‹#›</a:t>
            </a:fld>
            <a:endParaRPr lang="en-US"/>
          </a:p>
        </p:txBody>
      </p:sp>
    </p:spTree>
    <p:extLst>
      <p:ext uri="{BB962C8B-B14F-4D97-AF65-F5344CB8AC3E}">
        <p14:creationId xmlns:p14="http://schemas.microsoft.com/office/powerpoint/2010/main" val="2058164577"/>
      </p:ext>
    </p:extLst>
  </p:cSld>
  <p:clrMapOvr>
    <a:masterClrMapping/>
  </p:clrMapOvr>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7921" y="457200"/>
            <a:ext cx="2949178" cy="1771650"/>
          </a:xfrm>
        </p:spPr>
        <p:txBody>
          <a:bodyPr anchor="b">
            <a:normAutofit/>
          </a:bodyPr>
          <a:lstStyle>
            <a:lvl1pPr>
              <a:defRPr sz="2100"/>
            </a:lvl1pPr>
          </a:lstStyle>
          <a:p>
            <a:r>
              <a:rPr lang="en-US"/>
              <a:t>Click to edit Master title style</a:t>
            </a:r>
          </a:p>
        </p:txBody>
      </p:sp>
      <p:sp>
        <p:nvSpPr>
          <p:cNvPr id="3" name="Content Placeholder 2"/>
          <p:cNvSpPr>
            <a:spLocks noGrp="1"/>
          </p:cNvSpPr>
          <p:nvPr>
            <p:ph idx="1"/>
          </p:nvPr>
        </p:nvSpPr>
        <p:spPr>
          <a:xfrm>
            <a:off x="3808548" y="457200"/>
            <a:ext cx="4642119" cy="3886200"/>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7921" y="2228850"/>
            <a:ext cx="2949178" cy="2114549"/>
          </a:xfrm>
        </p:spPr>
        <p:txBody>
          <a:bodyPr/>
          <a:lstStyle>
            <a:lvl1pPr marL="0" indent="0" algn="ctr">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smtClean="0"/>
              <a:t>12/2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22F896-40B5-4ADD-8801-0D06FADFA095}" type="slidenum">
              <a:rPr lang="en-US" smtClean="0"/>
              <a:t>‹#›</a:t>
            </a:fld>
            <a:endParaRPr lang="en-US"/>
          </a:p>
        </p:txBody>
      </p:sp>
    </p:spTree>
    <p:extLst>
      <p:ext uri="{BB962C8B-B14F-4D97-AF65-F5344CB8AC3E}">
        <p14:creationId xmlns:p14="http://schemas.microsoft.com/office/powerpoint/2010/main" val="99280959"/>
      </p:ext>
    </p:extLst>
  </p:cSld>
  <p:clrMapOvr>
    <a:masterClrMapping/>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7921" y="457200"/>
            <a:ext cx="4447330" cy="1771650"/>
          </a:xfrm>
        </p:spPr>
        <p:txBody>
          <a:bodyPr anchor="b">
            <a:normAutofit/>
          </a:bodyPr>
          <a:lstStyle>
            <a:lvl1pPr>
              <a:defRPr sz="2400"/>
            </a:lvl1pPr>
          </a:lstStyle>
          <a:p>
            <a:r>
              <a:rPr lang="en-US"/>
              <a:t>Click to edit Master title style</a:t>
            </a:r>
          </a:p>
        </p:txBody>
      </p:sp>
      <p:sp>
        <p:nvSpPr>
          <p:cNvPr id="3" name="Picture Placeholder 2"/>
          <p:cNvSpPr>
            <a:spLocks noGrp="1" noChangeAspect="1"/>
          </p:cNvSpPr>
          <p:nvPr>
            <p:ph type="pic" idx="1"/>
          </p:nvPr>
        </p:nvSpPr>
        <p:spPr>
          <a:xfrm>
            <a:off x="5568603" y="569161"/>
            <a:ext cx="2441517" cy="3662279"/>
          </a:xfrm>
          <a:noFill/>
          <a:ln w="1905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txBody>
          <a:bodyPr anchor="t"/>
          <a:lstStyle>
            <a:lvl1pPr marL="0" indent="0" algn="ctr">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p>
        </p:txBody>
      </p:sp>
      <p:sp>
        <p:nvSpPr>
          <p:cNvPr id="4" name="Text Placeholder 3"/>
          <p:cNvSpPr>
            <a:spLocks noGrp="1"/>
          </p:cNvSpPr>
          <p:nvPr>
            <p:ph type="body" sz="half" idx="2"/>
          </p:nvPr>
        </p:nvSpPr>
        <p:spPr>
          <a:xfrm>
            <a:off x="685345" y="2228850"/>
            <a:ext cx="4451213" cy="2114550"/>
          </a:xfrm>
        </p:spPr>
        <p:txBody>
          <a:bodyPr>
            <a:normAutofit/>
          </a:bodyPr>
          <a:lstStyle>
            <a:lvl1pPr marL="0" indent="0" algn="ctr">
              <a:buNone/>
              <a:defRPr sz="135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smtClean="0"/>
              <a:t>12/2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22F896-40B5-4ADD-8801-0D06FADFA095}" type="slidenum">
              <a:rPr lang="en-US" smtClean="0"/>
              <a:t>‹#›</a:t>
            </a:fld>
            <a:endParaRPr lang="en-US"/>
          </a:p>
        </p:txBody>
      </p:sp>
    </p:spTree>
    <p:extLst>
      <p:ext uri="{BB962C8B-B14F-4D97-AF65-F5344CB8AC3E}">
        <p14:creationId xmlns:p14="http://schemas.microsoft.com/office/powerpoint/2010/main" val="3650502603"/>
      </p:ext>
    </p:extLst>
  </p:cSld>
  <p:clrMapOvr>
    <a:masterClrMapping/>
  </p:clrMapOvr>
  <p:hf sldNum="0"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emf"/></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hyperlink" Target="http://www.presentationgo.com/" TargetMode="External"/><Relationship Id="rId2" Type="http://schemas.openxmlformats.org/officeDocument/2006/relationships/theme" Target="../theme/theme2.xml"/><Relationship Id="rId1" Type="http://schemas.openxmlformats.org/officeDocument/2006/relationships/slideLayout" Target="../slideLayouts/slideLayout24.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5347" y="457200"/>
            <a:ext cx="7765321" cy="994741"/>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85346" y="1572048"/>
            <a:ext cx="7765322" cy="277135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5759052" y="4412457"/>
            <a:ext cx="2057400" cy="273844"/>
          </a:xfrm>
          <a:prstGeom prst="rect">
            <a:avLst/>
          </a:prstGeom>
        </p:spPr>
        <p:txBody>
          <a:bodyPr vert="horz" lIns="91440" tIns="45720" rIns="91440" bIns="45720" rtlCol="0" anchor="ctr"/>
          <a:lstStyle>
            <a:lvl1pPr algn="r">
              <a:defRPr sz="750">
                <a:solidFill>
                  <a:schemeClr val="tx1">
                    <a:tint val="75000"/>
                  </a:schemeClr>
                </a:solidFill>
              </a:defRPr>
            </a:lvl1pPr>
          </a:lstStyle>
          <a:p>
            <a:fld id="{48A87A34-81AB-432B-8DAE-1953F412C126}" type="datetimeFigureOut">
              <a:rPr lang="en-US" smtClean="0"/>
              <a:pPr/>
              <a:t>12/22/2023</a:t>
            </a:fld>
            <a:endParaRPr lang="en-US"/>
          </a:p>
        </p:txBody>
      </p:sp>
      <p:sp>
        <p:nvSpPr>
          <p:cNvPr id="5" name="Footer Placeholder 4"/>
          <p:cNvSpPr>
            <a:spLocks noGrp="1"/>
          </p:cNvSpPr>
          <p:nvPr>
            <p:ph type="ftr" sz="quarter" idx="3"/>
          </p:nvPr>
        </p:nvSpPr>
        <p:spPr>
          <a:xfrm>
            <a:off x="685346" y="4412457"/>
            <a:ext cx="5004649" cy="273844"/>
          </a:xfrm>
          <a:prstGeom prst="rect">
            <a:avLst/>
          </a:prstGeom>
        </p:spPr>
        <p:txBody>
          <a:bodyPr vert="horz" lIns="91440" tIns="45720" rIns="91440" bIns="45720" rtlCol="0" anchor="ctr"/>
          <a:lstStyle>
            <a:lvl1pPr algn="l">
              <a:defRPr sz="75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7885509" y="4412457"/>
            <a:ext cx="565159" cy="273844"/>
          </a:xfrm>
          <a:prstGeom prst="rect">
            <a:avLst/>
          </a:prstGeom>
        </p:spPr>
        <p:txBody>
          <a:bodyPr vert="horz" lIns="91440" tIns="45720" rIns="91440" bIns="45720" rtlCol="0" anchor="ctr"/>
          <a:lstStyle>
            <a:lvl1pPr algn="r">
              <a:defRPr sz="750">
                <a:solidFill>
                  <a:schemeClr val="tx1">
                    <a:tint val="75000"/>
                  </a:schemeClr>
                </a:solidFill>
              </a:defRPr>
            </a:lvl1pPr>
          </a:lstStyle>
          <a:p>
            <a:fld id="{6D22F896-40B5-4ADD-8801-0D06FADFA095}" type="slidenum">
              <a:rPr lang="en-US" smtClean="0"/>
              <a:pPr/>
              <a:t>‹#›</a:t>
            </a:fld>
            <a:endParaRPr lang="en-US"/>
          </a:p>
        </p:txBody>
      </p:sp>
      <p:graphicFrame>
        <p:nvGraphicFramePr>
          <p:cNvPr id="7" name="think-cell data - do not delete" hidden="1">
            <a:extLst>
              <a:ext uri="{FF2B5EF4-FFF2-40B4-BE49-F238E27FC236}">
                <a16:creationId xmlns:a16="http://schemas.microsoft.com/office/drawing/2014/main" id="{F6740E25-3421-768F-5881-613263E95859}"/>
              </a:ext>
            </a:extLst>
          </p:cNvPr>
          <p:cNvGraphicFramePr>
            <a:graphicFrameLocks noChangeAspect="1"/>
          </p:cNvGraphicFramePr>
          <p:nvPr userDrawn="1">
            <p:custDataLst>
              <p:tags r:id="rId25"/>
            </p:custDataLst>
            <p:extLst>
              <p:ext uri="{D42A27DB-BD31-4B8C-83A1-F6EECF244321}">
                <p14:modId xmlns:p14="http://schemas.microsoft.com/office/powerpoint/2010/main" val="14292178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26" imgW="425" imgH="424" progId="TCLayout.ActiveDocument.1">
                  <p:embed/>
                </p:oleObj>
              </mc:Choice>
              <mc:Fallback>
                <p:oleObj name="Diapositiva think-cell" r:id="rId26" imgW="425" imgH="424" progId="TCLayout.ActiveDocument.1">
                  <p:embed/>
                  <p:pic>
                    <p:nvPicPr>
                      <p:cNvPr id="7" name="think-cell data - do not delete" hidden="1">
                        <a:extLst>
                          <a:ext uri="{FF2B5EF4-FFF2-40B4-BE49-F238E27FC236}">
                            <a16:creationId xmlns:a16="http://schemas.microsoft.com/office/drawing/2014/main" id="{F6740E25-3421-768F-5881-613263E95859}"/>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210281878"/>
      </p:ext>
    </p:extLst>
  </p:cSld>
  <p:clrMap bg1="dk1" tx1="lt1" bg2="dk2" tx2="lt2" accent1="accent1" accent2="accent2" accent3="accent3" accent4="accent4" accent5="accent5" accent6="accent6" hlink="hlink" folHlink="folHlink"/>
  <p:sldLayoutIdLst>
    <p:sldLayoutId id="2147483821" r:id="rId1"/>
    <p:sldLayoutId id="2147483822" r:id="rId2"/>
    <p:sldLayoutId id="2147483823" r:id="rId3"/>
    <p:sldLayoutId id="2147483824" r:id="rId4"/>
    <p:sldLayoutId id="2147483825" r:id="rId5"/>
    <p:sldLayoutId id="2147483826" r:id="rId6"/>
    <p:sldLayoutId id="2147483827" r:id="rId7"/>
    <p:sldLayoutId id="2147483828" r:id="rId8"/>
    <p:sldLayoutId id="2147483829" r:id="rId9"/>
    <p:sldLayoutId id="2147483830" r:id="rId10"/>
    <p:sldLayoutId id="2147483831" r:id="rId11"/>
    <p:sldLayoutId id="2147483832" r:id="rId12"/>
    <p:sldLayoutId id="2147483833" r:id="rId13"/>
    <p:sldLayoutId id="2147483834" r:id="rId14"/>
    <p:sldLayoutId id="2147483835" r:id="rId15"/>
    <p:sldLayoutId id="2147483836" r:id="rId16"/>
    <p:sldLayoutId id="2147483837" r:id="rId17"/>
    <p:sldLayoutId id="2147483838" r:id="rId18"/>
    <p:sldLayoutId id="2147483839" r:id="rId19"/>
    <p:sldLayoutId id="2147483840" r:id="rId20"/>
    <p:sldLayoutId id="2147483841" r:id="rId21"/>
    <p:sldLayoutId id="2147483842" r:id="rId22"/>
    <p:sldLayoutId id="2147483843" r:id="rId23"/>
  </p:sldLayoutIdLst>
  <p:hf sldNum="0" hdr="0" ftr="0" dt="0"/>
  <p:txStyles>
    <p:titleStyle>
      <a:lvl1pPr algn="ctr" defTabSz="685800" rtl="0" eaLnBrk="1" latinLnBrk="0" hangingPunct="1">
        <a:lnSpc>
          <a:spcPct val="90000"/>
        </a:lnSpc>
        <a:spcBef>
          <a:spcPct val="0"/>
        </a:spcBef>
        <a:buNone/>
        <a:defRPr sz="2550" b="1" i="0" kern="1200" cap="all">
          <a:solidFill>
            <a:schemeClr val="tx1"/>
          </a:solidFill>
          <a:effectLst>
            <a:outerShdw blurRad="50800" dist="63500" dir="2700000" algn="tl" rotWithShape="0">
              <a:srgbClr val="000000">
                <a:alpha val="48000"/>
              </a:srgbClr>
            </a:outerShdw>
          </a:effectLst>
          <a:latin typeface="+mj-lt"/>
          <a:ea typeface="+mj-ea"/>
          <a:cs typeface="+mj-cs"/>
        </a:defRPr>
      </a:lvl1pPr>
    </p:titleStyle>
    <p:bodyStyle>
      <a:lvl1pPr marL="171450" indent="-171450" algn="l" defTabSz="685800" rtl="0" eaLnBrk="1" latinLnBrk="0" hangingPunct="1">
        <a:lnSpc>
          <a:spcPct val="120000"/>
        </a:lnSpc>
        <a:spcBef>
          <a:spcPts val="750"/>
        </a:spcBef>
        <a:buFont typeface="Arial" panose="020B0604020202020204" pitchFamily="34" charset="0"/>
        <a:buChar char="•"/>
        <a:defRPr sz="1500" kern="1200">
          <a:solidFill>
            <a:schemeClr val="tx1"/>
          </a:solidFill>
          <a:effectLst>
            <a:outerShdw blurRad="50800" dist="38100" dir="2700000" algn="tl" rotWithShape="0">
              <a:srgbClr val="000000">
                <a:alpha val="48000"/>
              </a:srgbClr>
            </a:outerShdw>
          </a:effectLst>
          <a:latin typeface="+mn-lt"/>
          <a:ea typeface="+mn-ea"/>
          <a:cs typeface="+mn-cs"/>
        </a:defRPr>
      </a:lvl1pPr>
      <a:lvl2pPr marL="514350" indent="-171450" algn="l" defTabSz="685800" rtl="0" eaLnBrk="1" latinLnBrk="0" hangingPunct="1">
        <a:lnSpc>
          <a:spcPct val="120000"/>
        </a:lnSpc>
        <a:spcBef>
          <a:spcPts val="375"/>
        </a:spcBef>
        <a:buFont typeface="Arial" panose="020B0604020202020204" pitchFamily="34" charset="0"/>
        <a:buChar char="•"/>
        <a:defRPr sz="1350" kern="1200">
          <a:solidFill>
            <a:schemeClr val="tx1"/>
          </a:solidFill>
          <a:effectLst>
            <a:outerShdw blurRad="50800" dist="38100" dir="2700000" algn="tl" rotWithShape="0">
              <a:srgbClr val="000000">
                <a:alpha val="48000"/>
              </a:srgbClr>
            </a:outerShdw>
          </a:effectLst>
          <a:latin typeface="+mn-lt"/>
          <a:ea typeface="+mn-ea"/>
          <a:cs typeface="+mn-cs"/>
        </a:defRPr>
      </a:lvl2pPr>
      <a:lvl3pPr marL="857250" indent="-171450" algn="l" defTabSz="685800" rtl="0" eaLnBrk="1" latinLnBrk="0" hangingPunct="1">
        <a:lnSpc>
          <a:spcPct val="120000"/>
        </a:lnSpc>
        <a:spcBef>
          <a:spcPts val="375"/>
        </a:spcBef>
        <a:buFont typeface="Arial" panose="020B0604020202020204" pitchFamily="34" charset="0"/>
        <a:buChar char="•"/>
        <a:defRPr sz="1200" kern="1200">
          <a:solidFill>
            <a:schemeClr val="tx1"/>
          </a:solidFill>
          <a:effectLst>
            <a:outerShdw blurRad="50800" dist="38100" dir="2700000" algn="tl" rotWithShape="0">
              <a:srgbClr val="000000">
                <a:alpha val="48000"/>
              </a:srgbClr>
            </a:outerShdw>
          </a:effectLst>
          <a:latin typeface="+mn-lt"/>
          <a:ea typeface="+mn-ea"/>
          <a:cs typeface="+mn-cs"/>
        </a:defRPr>
      </a:lvl3pPr>
      <a:lvl4pPr marL="1200150" indent="-171450" algn="l" defTabSz="685800" rtl="0" eaLnBrk="1" latinLnBrk="0" hangingPunct="1">
        <a:lnSpc>
          <a:spcPct val="120000"/>
        </a:lnSpc>
        <a:spcBef>
          <a:spcPts val="375"/>
        </a:spcBef>
        <a:buFont typeface="Arial" panose="020B0604020202020204" pitchFamily="34" charset="0"/>
        <a:buChar char="•"/>
        <a:defRPr sz="1050" kern="1200">
          <a:solidFill>
            <a:schemeClr val="tx1"/>
          </a:solidFill>
          <a:effectLst>
            <a:outerShdw blurRad="50800" dist="38100" dir="2700000" algn="tl" rotWithShape="0">
              <a:srgbClr val="000000">
                <a:alpha val="48000"/>
              </a:srgbClr>
            </a:outerShdw>
          </a:effectLst>
          <a:latin typeface="+mn-lt"/>
          <a:ea typeface="+mn-ea"/>
          <a:cs typeface="+mn-cs"/>
        </a:defRPr>
      </a:lvl4pPr>
      <a:lvl5pPr marL="1543050" indent="-171450" algn="l" defTabSz="685800" rtl="0" eaLnBrk="1" latinLnBrk="0" hangingPunct="1">
        <a:lnSpc>
          <a:spcPct val="120000"/>
        </a:lnSpc>
        <a:spcBef>
          <a:spcPts val="375"/>
        </a:spcBef>
        <a:buFont typeface="Arial" panose="020B0604020202020204" pitchFamily="34" charset="0"/>
        <a:buChar char="•"/>
        <a:defRPr sz="900" kern="1200">
          <a:solidFill>
            <a:schemeClr val="tx1"/>
          </a:solidFill>
          <a:effectLst>
            <a:outerShdw blurRad="50800" dist="38100" dir="2700000" algn="tl" rotWithShape="0">
              <a:srgbClr val="000000">
                <a:alpha val="48000"/>
              </a:srgbClr>
            </a:outerShdw>
          </a:effectLst>
          <a:latin typeface="+mn-lt"/>
          <a:ea typeface="+mn-ea"/>
          <a:cs typeface="+mn-cs"/>
        </a:defRPr>
      </a:lvl5pPr>
      <a:lvl6pPr marL="1885950" indent="-171450" algn="l" defTabSz="685800" rtl="0" eaLnBrk="1" latinLnBrk="0" hangingPunct="1">
        <a:lnSpc>
          <a:spcPct val="120000"/>
        </a:lnSpc>
        <a:spcBef>
          <a:spcPts val="375"/>
        </a:spcBef>
        <a:buFont typeface="Arial" panose="020B0604020202020204" pitchFamily="34" charset="0"/>
        <a:buChar char="•"/>
        <a:defRPr sz="900" kern="1200">
          <a:solidFill>
            <a:schemeClr val="tx1"/>
          </a:solidFill>
          <a:effectLst>
            <a:outerShdw blurRad="50800" dist="38100" dir="2700000" algn="tl" rotWithShape="0">
              <a:srgbClr val="000000">
                <a:alpha val="48000"/>
              </a:srgbClr>
            </a:outerShdw>
          </a:effectLst>
          <a:latin typeface="+mn-lt"/>
          <a:ea typeface="+mn-ea"/>
          <a:cs typeface="+mn-cs"/>
        </a:defRPr>
      </a:lvl6pPr>
      <a:lvl7pPr marL="2228850" indent="-171450" algn="l" defTabSz="685800" rtl="0" eaLnBrk="1" latinLnBrk="0" hangingPunct="1">
        <a:lnSpc>
          <a:spcPct val="120000"/>
        </a:lnSpc>
        <a:spcBef>
          <a:spcPts val="375"/>
        </a:spcBef>
        <a:buFont typeface="Arial" panose="020B0604020202020204" pitchFamily="34" charset="0"/>
        <a:buChar char="•"/>
        <a:defRPr sz="900" kern="1200">
          <a:solidFill>
            <a:schemeClr val="tx1"/>
          </a:solidFill>
          <a:effectLst>
            <a:outerShdw blurRad="50800" dist="38100" dir="2700000" algn="tl" rotWithShape="0">
              <a:srgbClr val="000000">
                <a:alpha val="48000"/>
              </a:srgbClr>
            </a:outerShdw>
          </a:effectLst>
          <a:latin typeface="+mn-lt"/>
          <a:ea typeface="+mn-ea"/>
          <a:cs typeface="+mn-cs"/>
        </a:defRPr>
      </a:lvl7pPr>
      <a:lvl8pPr marL="2571750" indent="-171450" algn="l" defTabSz="685800" rtl="0" eaLnBrk="1" latinLnBrk="0" hangingPunct="1">
        <a:lnSpc>
          <a:spcPct val="120000"/>
        </a:lnSpc>
        <a:spcBef>
          <a:spcPts val="375"/>
        </a:spcBef>
        <a:buFont typeface="Arial" panose="020B0604020202020204" pitchFamily="34" charset="0"/>
        <a:buChar char="•"/>
        <a:defRPr sz="900" kern="1200">
          <a:solidFill>
            <a:schemeClr val="tx1"/>
          </a:solidFill>
          <a:effectLst>
            <a:outerShdw blurRad="50800" dist="38100" dir="2700000" algn="tl" rotWithShape="0">
              <a:srgbClr val="000000">
                <a:alpha val="48000"/>
              </a:srgbClr>
            </a:outerShdw>
          </a:effectLst>
          <a:latin typeface="+mn-lt"/>
          <a:ea typeface="+mn-ea"/>
          <a:cs typeface="+mn-cs"/>
        </a:defRPr>
      </a:lvl8pPr>
      <a:lvl9pPr marL="2914650" indent="-171450" algn="l" defTabSz="685800" rtl="0" eaLnBrk="1" latinLnBrk="0" hangingPunct="1">
        <a:lnSpc>
          <a:spcPct val="120000"/>
        </a:lnSpc>
        <a:spcBef>
          <a:spcPts val="375"/>
        </a:spcBef>
        <a:buFont typeface="Arial" panose="020B0604020202020204" pitchFamily="34" charset="0"/>
        <a:buChar char="•"/>
        <a:defRPr sz="900" kern="1200">
          <a:solidFill>
            <a:schemeClr val="tx1"/>
          </a:solidFill>
          <a:effectLst>
            <a:outerShdw blurRad="50800" dist="38100" dir="2700000" algn="tl" rotWithShape="0">
              <a:srgbClr val="000000">
                <a:alpha val="48000"/>
              </a:srgbClr>
            </a:outerShdw>
          </a:effectLst>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a:gsLst>
            <a:gs pos="0">
              <a:srgbClr val="323A45"/>
            </a:gs>
            <a:gs pos="35000">
              <a:srgbClr val="323A45"/>
            </a:gs>
            <a:gs pos="100000">
              <a:srgbClr val="1C2026"/>
            </a:gs>
          </a:gsLst>
          <a:path path="circle">
            <a:fillToRect l="50000" t="-80000" r="50000" b="180000"/>
          </a:path>
        </a:gra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5529C53-F8F7-61D7-1F19-118D492F7E69}"/>
              </a:ext>
            </a:extLst>
          </p:cNvPr>
          <p:cNvGraphicFramePr>
            <a:graphicFrameLocks noChangeAspect="1"/>
          </p:cNvGraphicFramePr>
          <p:nvPr userDrawn="1">
            <p:custDataLst>
              <p:tags r:id="rId3"/>
            </p:custDataLst>
            <p:extLst>
              <p:ext uri="{D42A27DB-BD31-4B8C-83A1-F6EECF244321}">
                <p14:modId xmlns:p14="http://schemas.microsoft.com/office/powerpoint/2010/main" val="4021999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425" imgH="424" progId="TCLayout.ActiveDocument.1">
                  <p:embed/>
                </p:oleObj>
              </mc:Choice>
              <mc:Fallback>
                <p:oleObj name="Diapositiva think-cell" r:id="rId4" imgW="425" imgH="424" progId="TCLayout.ActiveDocument.1">
                  <p:embed/>
                  <p:pic>
                    <p:nvPicPr>
                      <p:cNvPr id="5" name="think-cell data - do not delete" hidden="1">
                        <a:extLst>
                          <a:ext uri="{FF2B5EF4-FFF2-40B4-BE49-F238E27FC236}">
                            <a16:creationId xmlns:a16="http://schemas.microsoft.com/office/drawing/2014/main" id="{25529C53-F8F7-61D7-1F19-118D492F7E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122612"/>
            <a:ext cx="7886700" cy="554292"/>
          </a:xfrm>
          <a:prstGeom prst="rect">
            <a:avLst/>
          </a:prstGeom>
        </p:spPr>
        <p:txBody>
          <a:bodyPr vert="horz">
            <a:normAutofit/>
          </a:bodyPr>
          <a:lstStyle/>
          <a:p>
            <a:pPr marL="0" lvl="0"/>
            <a:r>
              <a:rPr lang="en-US"/>
              <a:t>Click to edit Master title style</a:t>
            </a:r>
          </a:p>
        </p:txBody>
      </p:sp>
      <p:sp>
        <p:nvSpPr>
          <p:cNvPr id="3" name="Text Placeholder 2"/>
          <p:cNvSpPr>
            <a:spLocks noGrp="1"/>
          </p:cNvSpPr>
          <p:nvPr>
            <p:ph type="body" idx="1"/>
          </p:nvPr>
        </p:nvSpPr>
        <p:spPr>
          <a:xfrm>
            <a:off x="628650" y="914401"/>
            <a:ext cx="7886700" cy="371832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p:cNvSpPr/>
          <p:nvPr userDrawn="1"/>
        </p:nvSpPr>
        <p:spPr>
          <a:xfrm>
            <a:off x="0" y="4729434"/>
            <a:ext cx="9144000" cy="41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6858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113" normalizeH="0" baseline="0" noProof="0">
                <a:ln>
                  <a:noFill/>
                </a:ln>
                <a:solidFill>
                  <a:prstClr val="white">
                    <a:lumMod val="75000"/>
                  </a:prstClr>
                </a:solidFill>
                <a:effectLst/>
                <a:uLnTx/>
                <a:uFillTx/>
                <a:latin typeface="+mn-lt"/>
                <a:ea typeface="+mn-ea"/>
                <a:cs typeface="+mn-cs"/>
              </a:rPr>
              <a:t>www.</a:t>
            </a:r>
            <a:r>
              <a:rPr kumimoji="0" lang="en-US" sz="2400" b="0" i="0" u="none" strike="noStrike" kern="1200" cap="none" spc="113" normalizeH="0" baseline="0" noProof="0">
                <a:ln>
                  <a:noFill/>
                </a:ln>
                <a:solidFill>
                  <a:prstClr val="black">
                    <a:lumMod val="85000"/>
                    <a:lumOff val="15000"/>
                  </a:prstClr>
                </a:solidFill>
                <a:effectLst/>
                <a:uLnTx/>
                <a:uFillTx/>
                <a:latin typeface="+mn-lt"/>
                <a:ea typeface="+mn-ea"/>
                <a:cs typeface="+mn-cs"/>
              </a:rPr>
              <a:t>presentationgo</a:t>
            </a:r>
            <a:r>
              <a:rPr kumimoji="0" lang="en-US" sz="2400" b="0" i="0" u="none" strike="noStrike" kern="1200" cap="none" spc="113" normalizeH="0" baseline="0" noProof="0">
                <a:ln>
                  <a:noFill/>
                </a:ln>
                <a:solidFill>
                  <a:prstClr val="white">
                    <a:lumMod val="75000"/>
                  </a:prstClr>
                </a:solidFill>
                <a:effectLst/>
                <a:uLnTx/>
                <a:uFillTx/>
                <a:latin typeface="+mn-lt"/>
                <a:ea typeface="+mn-ea"/>
                <a:cs typeface="+mn-cs"/>
              </a:rPr>
              <a:t>.com</a:t>
            </a:r>
          </a:p>
        </p:txBody>
      </p:sp>
      <p:sp>
        <p:nvSpPr>
          <p:cNvPr id="13" name="Freeform 12"/>
          <p:cNvSpPr/>
          <p:nvPr userDrawn="1"/>
        </p:nvSpPr>
        <p:spPr>
          <a:xfrm rot="5400000">
            <a:off x="68384" y="130191"/>
            <a:ext cx="277122" cy="428177"/>
          </a:xfrm>
          <a:custGeom>
            <a:avLst/>
            <a:gdLst>
              <a:gd name="connsiteX0" fmla="*/ 210916 w 1034764"/>
              <a:gd name="connsiteY0" fmla="*/ 535701 h 1598797"/>
              <a:gd name="connsiteX1" fmla="*/ 331908 w 1034764"/>
              <a:gd name="connsiteY1" fmla="*/ 284049 h 1598797"/>
              <a:gd name="connsiteX2" fmla="*/ 741774 w 1034764"/>
              <a:gd name="connsiteY2" fmla="*/ 315409 h 1598797"/>
              <a:gd name="connsiteX3" fmla="*/ 403935 w 1034764"/>
              <a:gd name="connsiteY3" fmla="*/ 375418 h 1598797"/>
              <a:gd name="connsiteX4" fmla="*/ 266699 w 1034764"/>
              <a:gd name="connsiteY4" fmla="*/ 689905 h 1598797"/>
              <a:gd name="connsiteX5" fmla="*/ 266698 w 1034764"/>
              <a:gd name="connsiteY5" fmla="*/ 689907 h 1598797"/>
              <a:gd name="connsiteX6" fmla="*/ 210916 w 1034764"/>
              <a:gd name="connsiteY6" fmla="*/ 535701 h 1598797"/>
              <a:gd name="connsiteX7" fmla="*/ 134938 w 1034764"/>
              <a:gd name="connsiteY7" fmla="*/ 517381 h 1598797"/>
              <a:gd name="connsiteX8" fmla="*/ 517383 w 1034764"/>
              <a:gd name="connsiteY8" fmla="*/ 899826 h 1598797"/>
              <a:gd name="connsiteX9" fmla="*/ 899828 w 1034764"/>
              <a:gd name="connsiteY9" fmla="*/ 517381 h 1598797"/>
              <a:gd name="connsiteX10" fmla="*/ 517383 w 1034764"/>
              <a:gd name="connsiteY10" fmla="*/ 134936 h 1598797"/>
              <a:gd name="connsiteX11" fmla="*/ 134938 w 1034764"/>
              <a:gd name="connsiteY11" fmla="*/ 517381 h 1598797"/>
              <a:gd name="connsiteX12" fmla="*/ 0 w 1034764"/>
              <a:gd name="connsiteY12" fmla="*/ 517382 h 1598797"/>
              <a:gd name="connsiteX13" fmla="*/ 517382 w 1034764"/>
              <a:gd name="connsiteY13" fmla="*/ 0 h 1598797"/>
              <a:gd name="connsiteX14" fmla="*/ 1034764 w 1034764"/>
              <a:gd name="connsiteY14" fmla="*/ 517382 h 1598797"/>
              <a:gd name="connsiteX15" fmla="*/ 621653 w 1034764"/>
              <a:gd name="connsiteY15" fmla="*/ 1024253 h 1598797"/>
              <a:gd name="connsiteX16" fmla="*/ 620527 w 1034764"/>
              <a:gd name="connsiteY16" fmla="*/ 1024366 h 1598797"/>
              <a:gd name="connsiteX17" fmla="*/ 662992 w 1034764"/>
              <a:gd name="connsiteY17" fmla="*/ 1598797 h 1598797"/>
              <a:gd name="connsiteX18" fmla="*/ 371775 w 1034764"/>
              <a:gd name="connsiteY18" fmla="*/ 1598797 h 1598797"/>
              <a:gd name="connsiteX19" fmla="*/ 414241 w 1034764"/>
              <a:gd name="connsiteY19" fmla="*/ 1024367 h 1598797"/>
              <a:gd name="connsiteX20" fmla="*/ 413112 w 1034764"/>
              <a:gd name="connsiteY20" fmla="*/ 1024253 h 1598797"/>
              <a:gd name="connsiteX21" fmla="*/ 0 w 1034764"/>
              <a:gd name="connsiteY21" fmla="*/ 517382 h 1598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34764" h="1598797">
                <a:moveTo>
                  <a:pt x="210916" y="535701"/>
                </a:moveTo>
                <a:cubicBezTo>
                  <a:pt x="207764" y="443901"/>
                  <a:pt x="249915" y="348683"/>
                  <a:pt x="331908" y="284049"/>
                </a:cubicBezTo>
                <a:cubicBezTo>
                  <a:pt x="463097" y="180634"/>
                  <a:pt x="646600" y="194675"/>
                  <a:pt x="741774" y="315409"/>
                </a:cubicBezTo>
                <a:cubicBezTo>
                  <a:pt x="631231" y="275026"/>
                  <a:pt x="502220" y="297941"/>
                  <a:pt x="403935" y="375418"/>
                </a:cubicBezTo>
                <a:cubicBezTo>
                  <a:pt x="305650" y="452895"/>
                  <a:pt x="253243" y="572989"/>
                  <a:pt x="266699" y="689905"/>
                </a:cubicBezTo>
                <a:lnTo>
                  <a:pt x="266698" y="689907"/>
                </a:lnTo>
                <a:cubicBezTo>
                  <a:pt x="231008" y="644631"/>
                  <a:pt x="212807" y="590781"/>
                  <a:pt x="210916" y="535701"/>
                </a:cubicBezTo>
                <a:close/>
                <a:moveTo>
                  <a:pt x="134938" y="517381"/>
                </a:moveTo>
                <a:cubicBezTo>
                  <a:pt x="134938" y="728600"/>
                  <a:pt x="306164" y="899826"/>
                  <a:pt x="517383" y="899826"/>
                </a:cubicBezTo>
                <a:cubicBezTo>
                  <a:pt x="728602" y="899826"/>
                  <a:pt x="899828" y="728600"/>
                  <a:pt x="899828" y="517381"/>
                </a:cubicBezTo>
                <a:cubicBezTo>
                  <a:pt x="899828" y="306162"/>
                  <a:pt x="728602" y="134936"/>
                  <a:pt x="517383" y="134936"/>
                </a:cubicBezTo>
                <a:cubicBezTo>
                  <a:pt x="306164" y="134936"/>
                  <a:pt x="134938" y="306162"/>
                  <a:pt x="134938" y="517381"/>
                </a:cubicBezTo>
                <a:close/>
                <a:moveTo>
                  <a:pt x="0" y="517382"/>
                </a:moveTo>
                <a:cubicBezTo>
                  <a:pt x="0" y="231640"/>
                  <a:pt x="231640" y="0"/>
                  <a:pt x="517382" y="0"/>
                </a:cubicBezTo>
                <a:cubicBezTo>
                  <a:pt x="803124" y="0"/>
                  <a:pt x="1034764" y="231640"/>
                  <a:pt x="1034764" y="517382"/>
                </a:cubicBezTo>
                <a:cubicBezTo>
                  <a:pt x="1034764" y="767406"/>
                  <a:pt x="857415" y="976008"/>
                  <a:pt x="621653" y="1024253"/>
                </a:cubicBezTo>
                <a:lnTo>
                  <a:pt x="620527" y="1024366"/>
                </a:lnTo>
                <a:lnTo>
                  <a:pt x="662992" y="1598797"/>
                </a:lnTo>
                <a:lnTo>
                  <a:pt x="371775" y="1598797"/>
                </a:lnTo>
                <a:lnTo>
                  <a:pt x="414241" y="1024367"/>
                </a:lnTo>
                <a:lnTo>
                  <a:pt x="413112" y="1024253"/>
                </a:lnTo>
                <a:cubicBezTo>
                  <a:pt x="177349" y="976008"/>
                  <a:pt x="0" y="767406"/>
                  <a:pt x="0" y="517382"/>
                </a:cubicBezTo>
                <a:close/>
              </a:path>
            </a:pathLst>
          </a:custGeom>
          <a:solidFill>
            <a:schemeClr val="bg1">
              <a:alpha val="20000"/>
            </a:schemeClr>
          </a:solidFill>
          <a:ln>
            <a:noFill/>
          </a:ln>
          <a:effectLst>
            <a:outerShdw blurRad="12700" dist="127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sz="1350"/>
          </a:p>
        </p:txBody>
      </p:sp>
      <p:grpSp>
        <p:nvGrpSpPr>
          <p:cNvPr id="14" name="Group 13"/>
          <p:cNvGrpSpPr/>
          <p:nvPr userDrawn="1"/>
        </p:nvGrpSpPr>
        <p:grpSpPr>
          <a:xfrm>
            <a:off x="-1241181" y="-12491"/>
            <a:ext cx="1176887" cy="459108"/>
            <a:chOff x="-2096383" y="21447"/>
            <a:chExt cx="1569183" cy="612144"/>
          </a:xfrm>
        </p:grpSpPr>
        <p:sp>
          <p:nvSpPr>
            <p:cNvPr id="15" name="TextBox 14"/>
            <p:cNvSpPr txBox="1"/>
            <p:nvPr userDrawn="1"/>
          </p:nvSpPr>
          <p:spPr>
            <a:xfrm>
              <a:off x="-2096383" y="21447"/>
              <a:ext cx="365806" cy="246221"/>
            </a:xfrm>
            <a:prstGeom prst="rect">
              <a:avLst/>
            </a:prstGeom>
            <a:noFill/>
          </p:spPr>
          <p:txBody>
            <a:bodyPr wrap="none" rtlCol="0">
              <a:spAutoFit/>
            </a:bodyPr>
            <a:lstStyle/>
            <a:p>
              <a:r>
                <a:rPr lang="en-US" sz="750">
                  <a:latin typeface="Open Sans" panose="020B0606030504020204" pitchFamily="34" charset="0"/>
                  <a:ea typeface="Open Sans" panose="020B0606030504020204" pitchFamily="34" charset="0"/>
                  <a:cs typeface="Open Sans" panose="020B0606030504020204" pitchFamily="34" charset="0"/>
                </a:rPr>
                <a:t>By:</a:t>
              </a:r>
            </a:p>
          </p:txBody>
        </p:sp>
        <p:sp>
          <p:nvSpPr>
            <p:cNvPr id="16" name="TextBox 15"/>
            <p:cNvSpPr txBox="1"/>
            <p:nvPr userDrawn="1"/>
          </p:nvSpPr>
          <p:spPr>
            <a:xfrm>
              <a:off x="-1002010" y="387370"/>
              <a:ext cx="474810" cy="246221"/>
            </a:xfrm>
            <a:prstGeom prst="rect">
              <a:avLst/>
            </a:prstGeom>
            <a:noFill/>
          </p:spPr>
          <p:txBody>
            <a:bodyPr wrap="none" rtlCol="0">
              <a:spAutoFit/>
            </a:bodyPr>
            <a:lstStyle/>
            <a:p>
              <a:r>
                <a:rPr lang="en-US" sz="750">
                  <a:latin typeface="Open Sans" panose="020B0606030504020204" pitchFamily="34" charset="0"/>
                  <a:ea typeface="Open Sans" panose="020B0606030504020204" pitchFamily="34" charset="0"/>
                  <a:cs typeface="Open Sans" panose="020B0606030504020204" pitchFamily="34" charset="0"/>
                </a:rPr>
                <a:t>.com</a:t>
              </a:r>
            </a:p>
          </p:txBody>
        </p:sp>
        <p:pic>
          <p:nvPicPr>
            <p:cNvPr id="17" name="Picture 16"/>
            <p:cNvPicPr>
              <a:picLocks noChangeAspect="1"/>
            </p:cNvPicPr>
            <p:nvPr userDrawn="1"/>
          </p:nvPicPr>
          <p:blipFill>
            <a:blip r:embed="rId6"/>
            <a:stretch>
              <a:fillRect/>
            </a:stretch>
          </p:blipFill>
          <p:spPr>
            <a:xfrm>
              <a:off x="-2018604" y="234547"/>
              <a:ext cx="1405251" cy="185944"/>
            </a:xfrm>
            <a:prstGeom prst="rect">
              <a:avLst/>
            </a:prstGeom>
          </p:spPr>
        </p:pic>
      </p:grpSp>
      <p:sp>
        <p:nvSpPr>
          <p:cNvPr id="18" name="Rectangle 17"/>
          <p:cNvSpPr/>
          <p:nvPr userDrawn="1"/>
        </p:nvSpPr>
        <p:spPr>
          <a:xfrm>
            <a:off x="-9526" y="5219701"/>
            <a:ext cx="1245774" cy="346249"/>
          </a:xfrm>
          <a:prstGeom prst="rect">
            <a:avLst/>
          </a:prstGeom>
        </p:spPr>
        <p:txBody>
          <a:bodyPr wrap="square">
            <a:spAutoFit/>
          </a:bodyPr>
          <a:lstStyle/>
          <a:p>
            <a:r>
              <a:rPr lang="en-US" sz="825" b="0" i="0">
                <a:solidFill>
                  <a:srgbClr val="555555"/>
                </a:solidFill>
                <a:effectLst/>
                <a:latin typeface="Open Sans" panose="020B0606030504020204" pitchFamily="34" charset="0"/>
              </a:rPr>
              <a:t>© </a:t>
            </a:r>
            <a:r>
              <a:rPr lang="en-US" sz="825" b="0" i="0" u="none" strike="noStrike">
                <a:solidFill>
                  <a:srgbClr val="A5CD28"/>
                </a:solidFill>
                <a:effectLst/>
                <a:latin typeface="Open Sans" panose="020B0606030504020204" pitchFamily="34" charset="0"/>
                <a:hlinkClick r:id="rId7" tooltip="PresentationGo!"/>
              </a:rPr>
              <a:t>presentationgo.com</a:t>
            </a:r>
            <a:endParaRPr lang="en-US" sz="825"/>
          </a:p>
        </p:txBody>
      </p:sp>
    </p:spTree>
    <p:extLst>
      <p:ext uri="{BB962C8B-B14F-4D97-AF65-F5344CB8AC3E}">
        <p14:creationId xmlns:p14="http://schemas.microsoft.com/office/powerpoint/2010/main" val="2530658317"/>
      </p:ext>
    </p:extLst>
  </p:cSld>
  <p:clrMap bg1="lt1" tx1="dk1" bg2="lt2" tx2="dk2" accent1="accent1" accent2="accent2" accent3="accent3" accent4="accent4" accent5="accent5" accent6="accent6" hlink="hlink" folHlink="folHlink"/>
  <p:sldLayoutIdLst>
    <p:sldLayoutId id="2147483704" r:id="rId1"/>
  </p:sldLayoutIdLst>
  <p:txStyles>
    <p:titleStyle>
      <a:lvl1pPr algn="l" defTabSz="914400" rtl="0" eaLnBrk="1" latinLnBrk="0" hangingPunct="1">
        <a:lnSpc>
          <a:spcPct val="90000"/>
        </a:lnSpc>
        <a:spcBef>
          <a:spcPct val="0"/>
        </a:spcBef>
        <a:buNone/>
        <a:defRPr lang="en-US" sz="3600" b="1" kern="1200">
          <a:solidFill>
            <a:schemeClr val="bg1"/>
          </a:solidFill>
          <a:latin typeface="Helvetica" panose="020B0500000000000000"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0.xml"/><Relationship Id="rId7" Type="http://schemas.openxmlformats.org/officeDocument/2006/relationships/oleObject" Target="../embeddings/oleObject7.bin"/><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notesSlide" Target="../notesSlides/notesSlide7.xml"/><Relationship Id="rId5" Type="http://schemas.openxmlformats.org/officeDocument/2006/relationships/slideLayout" Target="../slideLayouts/slideLayout6.xml"/><Relationship Id="rId10" Type="http://schemas.openxmlformats.org/officeDocument/2006/relationships/image" Target="../media/image11.png"/><Relationship Id="rId4" Type="http://schemas.openxmlformats.org/officeDocument/2006/relationships/tags" Target="../tags/tag11.xml"/><Relationship Id="rId9" Type="http://schemas.openxmlformats.org/officeDocument/2006/relationships/chart" Target="../charts/char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3.xml"/></Relationships>
</file>

<file path=ppt/slides/_rels/slide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microsoft.com/office/2007/relationships/hdphoto" Target="../media/hdphoto1.wdp"/></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1.xml"/><Relationship Id="rId1" Type="http://schemas.openxmlformats.org/officeDocument/2006/relationships/slideLayout" Target="../slideLayouts/slideLayout23.xml"/><Relationship Id="rId4" Type="http://schemas.microsoft.com/office/2007/relationships/hdphoto" Target="../media/hdphoto1.wdp"/></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3.png"/><Relationship Id="rId7" Type="http://schemas.microsoft.com/office/2007/relationships/hdphoto" Target="../media/hdphoto3.wdp"/><Relationship Id="rId2" Type="http://schemas.openxmlformats.org/officeDocument/2006/relationships/notesSlide" Target="../notesSlides/notesSlide13.xml"/><Relationship Id="rId1" Type="http://schemas.openxmlformats.org/officeDocument/2006/relationships/slideLayout" Target="../slideLayouts/slideLayout22.xml"/><Relationship Id="rId6" Type="http://schemas.openxmlformats.org/officeDocument/2006/relationships/image" Target="../media/image15.png"/><Relationship Id="rId5" Type="http://schemas.openxmlformats.org/officeDocument/2006/relationships/image" Target="../media/image14.png"/><Relationship Id="rId4" Type="http://schemas.microsoft.com/office/2007/relationships/hdphoto" Target="../media/hdphoto2.wdp"/></Relationships>
</file>

<file path=ppt/slides/_rels/slide1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3.png"/><Relationship Id="rId7" Type="http://schemas.microsoft.com/office/2007/relationships/hdphoto" Target="../media/hdphoto3.wdp"/><Relationship Id="rId2" Type="http://schemas.openxmlformats.org/officeDocument/2006/relationships/notesSlide" Target="../notesSlides/notesSlide14.xml"/><Relationship Id="rId1" Type="http://schemas.openxmlformats.org/officeDocument/2006/relationships/slideLayout" Target="../slideLayouts/slideLayout23.xml"/><Relationship Id="rId6" Type="http://schemas.openxmlformats.org/officeDocument/2006/relationships/image" Target="../media/image15.png"/><Relationship Id="rId5" Type="http://schemas.openxmlformats.org/officeDocument/2006/relationships/image" Target="../media/image14.png"/><Relationship Id="rId4" Type="http://schemas.microsoft.com/office/2007/relationships/hdphoto" Target="../media/hdphoto2.wdp"/></Relationships>
</file>

<file path=ppt/slides/_rels/slide1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5.xml"/><Relationship Id="rId1" Type="http://schemas.openxmlformats.org/officeDocument/2006/relationships/slideLayout" Target="../slideLayouts/slideLayout22.xml"/><Relationship Id="rId4" Type="http://schemas.openxmlformats.org/officeDocument/2006/relationships/chart" Target="../charts/char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image" Target="../media/image4.jpeg"/><Relationship Id="rId7" Type="http://schemas.openxmlformats.org/officeDocument/2006/relationships/image" Target="../media/image2.emf"/><Relationship Id="rId2" Type="http://schemas.openxmlformats.org/officeDocument/2006/relationships/slideLayout" Target="../slideLayouts/slideLayout18.xml"/><Relationship Id="rId1" Type="http://schemas.openxmlformats.org/officeDocument/2006/relationships/tags" Target="../tags/tag4.xml"/><Relationship Id="rId6" Type="http://schemas.openxmlformats.org/officeDocument/2006/relationships/oleObject" Target="../embeddings/oleObject3.bin"/><Relationship Id="rId5" Type="http://schemas.openxmlformats.org/officeDocument/2006/relationships/image" Target="../media/image6.jpeg"/><Relationship Id="rId4" Type="http://schemas.openxmlformats.org/officeDocument/2006/relationships/image" Target="../media/image5.png"/><Relationship Id="rId9" Type="http://schemas.openxmlformats.org/officeDocument/2006/relationships/image" Target="../media/image8.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1.xml"/></Relationships>
</file>

<file path=ppt/slides/_rels/slide2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7.xml"/><Relationship Id="rId1" Type="http://schemas.openxmlformats.org/officeDocument/2006/relationships/slideLayout" Target="../slideLayouts/slideLayout23.xml"/><Relationship Id="rId5" Type="http://schemas.openxmlformats.org/officeDocument/2006/relationships/image" Target="../media/image18.png"/><Relationship Id="rId4" Type="http://schemas.microsoft.com/office/2007/relationships/hdphoto" Target="../media/hdphoto4.wdp"/></Relationships>
</file>

<file path=ppt/slides/_rels/slide22.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notesSlide" Target="../notesSlides/notesSlide18.xml"/><Relationship Id="rId7" Type="http://schemas.microsoft.com/office/2007/relationships/hdphoto" Target="../media/hdphoto4.wdp"/><Relationship Id="rId2" Type="http://schemas.openxmlformats.org/officeDocument/2006/relationships/slideLayout" Target="../slideLayouts/slideLayout23.xml"/><Relationship Id="rId1" Type="http://schemas.openxmlformats.org/officeDocument/2006/relationships/tags" Target="../tags/tag12.xml"/><Relationship Id="rId6" Type="http://schemas.openxmlformats.org/officeDocument/2006/relationships/image" Target="../media/image17.png"/><Relationship Id="rId5" Type="http://schemas.openxmlformats.org/officeDocument/2006/relationships/image" Target="../media/image2.emf"/><Relationship Id="rId4" Type="http://schemas.openxmlformats.org/officeDocument/2006/relationships/oleObject" Target="../embeddings/oleObject8.bin"/></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3.xml"/></Relationships>
</file>

<file path=ppt/slides/_rels/slide2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3.xml"/></Relationships>
</file>

<file path=ppt/slides/_rels/slide2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3.xml"/></Relationships>
</file>

<file path=ppt/slides/_rels/slide2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3.xml"/></Relationships>
</file>

<file path=ppt/slides/_rels/slide2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3.xml"/></Relationships>
</file>

<file path=ppt/slides/_rels/slide2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8.xml"/><Relationship Id="rId1" Type="http://schemas.openxmlformats.org/officeDocument/2006/relationships/tags" Target="../tags/tag5.xml"/><Relationship Id="rId5" Type="http://schemas.openxmlformats.org/officeDocument/2006/relationships/image" Target="../media/image2.emf"/><Relationship Id="rId4" Type="http://schemas.openxmlformats.org/officeDocument/2006/relationships/oleObject" Target="../embeddings/oleObject4.bin"/></Relationships>
</file>

<file path=ppt/slides/_rels/slide3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3.xml"/></Relationships>
</file>

<file path=ppt/slides/_rels/slide3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3.xml"/></Relationships>
</file>

<file path=ppt/slides/_rels/slide3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3.xml"/></Relationships>
</file>

<file path=ppt/slides/_rels/slide3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3.xml"/></Relationships>
</file>

<file path=ppt/slides/_rels/slide3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3.xml"/></Relationships>
</file>

<file path=ppt/slides/_rels/slide3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3.xml"/></Relationships>
</file>

<file path=ppt/slides/_rels/slide3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3.xml"/></Relationships>
</file>

<file path=ppt/slides/_rels/slide3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3.xml"/></Relationships>
</file>

<file path=ppt/slides/_rels/slide3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3.xml"/></Relationships>
</file>

<file path=ppt/slides/_rels/slide3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23.xml"/><Relationship Id="rId4" Type="http://schemas.openxmlformats.org/officeDocument/2006/relationships/image" Target="../media/image36.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0.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jpeg"/><Relationship Id="rId1" Type="http://schemas.openxmlformats.org/officeDocument/2006/relationships/slideLayout" Target="../slideLayouts/slideLayout20.xml"/><Relationship Id="rId4" Type="http://schemas.openxmlformats.org/officeDocument/2006/relationships/image" Target="../media/image10.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2.xml"/><Relationship Id="rId1" Type="http://schemas.openxmlformats.org/officeDocument/2006/relationships/tags" Target="../tags/tag7.xml"/><Relationship Id="rId5" Type="http://schemas.openxmlformats.org/officeDocument/2006/relationships/image" Target="../media/image2.emf"/><Relationship Id="rId4" Type="http://schemas.openxmlformats.org/officeDocument/2006/relationships/oleObject" Target="../embeddings/oleObject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179;p26">
            <a:extLst>
              <a:ext uri="{FF2B5EF4-FFF2-40B4-BE49-F238E27FC236}">
                <a16:creationId xmlns:a16="http://schemas.microsoft.com/office/drawing/2014/main" id="{1532DD6A-EFBF-D460-C7F8-60C698CB57FC}"/>
              </a:ext>
            </a:extLst>
          </p:cNvPr>
          <p:cNvSpPr txBox="1">
            <a:spLocks/>
          </p:cNvSpPr>
          <p:nvPr/>
        </p:nvSpPr>
        <p:spPr>
          <a:xfrm>
            <a:off x="3380203" y="500844"/>
            <a:ext cx="5043799" cy="2861400"/>
          </a:xfrm>
          <a:prstGeom prst="rect">
            <a:avLst/>
          </a:prstGeom>
        </p:spPr>
        <p:txBody>
          <a:bodyPr spcFirstLastPara="1" wrap="square" lIns="91425" tIns="91425" rIns="91425" bIns="91425" anchor="b" anchorCtr="0">
            <a:noAutofit/>
          </a:bodyPr>
          <a:lstStyle>
            <a:lvl1pPr algn="ctr" defTabSz="685800" rtl="0" eaLnBrk="1" latinLnBrk="0" hangingPunct="1">
              <a:lnSpc>
                <a:spcPct val="90000"/>
              </a:lnSpc>
              <a:spcBef>
                <a:spcPct val="0"/>
              </a:spcBef>
              <a:buNone/>
              <a:defRPr sz="2550" b="1" i="0" kern="1200" cap="all">
                <a:solidFill>
                  <a:schemeClr val="tx1"/>
                </a:solidFill>
                <a:effectLst>
                  <a:outerShdw blurRad="50800" dist="63500" dir="2700000" algn="tl" rotWithShape="0">
                    <a:srgbClr val="000000">
                      <a:alpha val="48000"/>
                    </a:srgbClr>
                  </a:outerShdw>
                </a:effectLst>
                <a:latin typeface="+mj-lt"/>
                <a:ea typeface="+mj-ea"/>
                <a:cs typeface="+mj-cs"/>
              </a:defRPr>
            </a:lvl1pPr>
          </a:lstStyle>
          <a:p>
            <a:pPr algn="r">
              <a:spcBef>
                <a:spcPts val="0"/>
              </a:spcBef>
            </a:pPr>
            <a:r>
              <a:rPr lang="it-IT" sz="3600"/>
              <a:t>Clifford &amp; Co. </a:t>
            </a:r>
            <a:br>
              <a:rPr lang="it-IT" sz="3600"/>
            </a:br>
            <a:r>
              <a:rPr lang="it-IT" sz="3600"/>
              <a:t>E-Commerce</a:t>
            </a:r>
            <a:br>
              <a:rPr lang="it-IT" sz="3600"/>
            </a:br>
            <a:r>
              <a:rPr lang="it-IT" sz="3600"/>
              <a:t>Strategy</a:t>
            </a:r>
          </a:p>
        </p:txBody>
      </p:sp>
      <p:sp>
        <p:nvSpPr>
          <p:cNvPr id="3" name="Google Shape;180;p26">
            <a:extLst>
              <a:ext uri="{FF2B5EF4-FFF2-40B4-BE49-F238E27FC236}">
                <a16:creationId xmlns:a16="http://schemas.microsoft.com/office/drawing/2014/main" id="{F71828FF-3698-EDC4-3199-11C962D86C6C}"/>
              </a:ext>
            </a:extLst>
          </p:cNvPr>
          <p:cNvSpPr txBox="1">
            <a:spLocks/>
          </p:cNvSpPr>
          <p:nvPr/>
        </p:nvSpPr>
        <p:spPr>
          <a:xfrm>
            <a:off x="1224173" y="3292352"/>
            <a:ext cx="6751097" cy="1241822"/>
          </a:xfrm>
          <a:prstGeom prst="rect">
            <a:avLst/>
          </a:prstGeom>
        </p:spPr>
        <p:txBody>
          <a:bodyPr spcFirstLastPara="1" wrap="square" lIns="91425" tIns="91425" rIns="91425" bIns="91425" anchor="t" anchorCtr="0">
            <a:noAutofit/>
          </a:bodyPr>
          <a:lstStyle>
            <a:lvl1pPr marL="171450" indent="-171450" algn="l" defTabSz="685800" rtl="0" eaLnBrk="1" latinLnBrk="0" hangingPunct="1">
              <a:lnSpc>
                <a:spcPct val="120000"/>
              </a:lnSpc>
              <a:spcBef>
                <a:spcPts val="750"/>
              </a:spcBef>
              <a:buFont typeface="Arial" panose="020B0604020202020204" pitchFamily="34" charset="0"/>
              <a:buChar char="•"/>
              <a:defRPr sz="1500" kern="1200">
                <a:solidFill>
                  <a:schemeClr val="tx1"/>
                </a:solidFill>
                <a:effectLst>
                  <a:outerShdw blurRad="50800" dist="38100" dir="2700000" algn="tl" rotWithShape="0">
                    <a:srgbClr val="000000">
                      <a:alpha val="48000"/>
                    </a:srgbClr>
                  </a:outerShdw>
                </a:effectLst>
                <a:latin typeface="+mn-lt"/>
                <a:ea typeface="+mn-ea"/>
                <a:cs typeface="+mn-cs"/>
              </a:defRPr>
            </a:lvl1pPr>
            <a:lvl2pPr marL="514350" indent="-171450" algn="l" defTabSz="685800" rtl="0" eaLnBrk="1" latinLnBrk="0" hangingPunct="1">
              <a:lnSpc>
                <a:spcPct val="120000"/>
              </a:lnSpc>
              <a:spcBef>
                <a:spcPts val="375"/>
              </a:spcBef>
              <a:buFont typeface="Arial" panose="020B0604020202020204" pitchFamily="34" charset="0"/>
              <a:buChar char="•"/>
              <a:defRPr sz="1350" kern="1200">
                <a:solidFill>
                  <a:schemeClr val="tx1"/>
                </a:solidFill>
                <a:effectLst>
                  <a:outerShdw blurRad="50800" dist="38100" dir="2700000" algn="tl" rotWithShape="0">
                    <a:srgbClr val="000000">
                      <a:alpha val="48000"/>
                    </a:srgbClr>
                  </a:outerShdw>
                </a:effectLst>
                <a:latin typeface="+mn-lt"/>
                <a:ea typeface="+mn-ea"/>
                <a:cs typeface="+mn-cs"/>
              </a:defRPr>
            </a:lvl2pPr>
            <a:lvl3pPr marL="857250" indent="-171450" algn="l" defTabSz="685800" rtl="0" eaLnBrk="1" latinLnBrk="0" hangingPunct="1">
              <a:lnSpc>
                <a:spcPct val="120000"/>
              </a:lnSpc>
              <a:spcBef>
                <a:spcPts val="375"/>
              </a:spcBef>
              <a:buFont typeface="Arial" panose="020B0604020202020204" pitchFamily="34" charset="0"/>
              <a:buChar char="•"/>
              <a:defRPr sz="1200" kern="1200">
                <a:solidFill>
                  <a:schemeClr val="tx1"/>
                </a:solidFill>
                <a:effectLst>
                  <a:outerShdw blurRad="50800" dist="38100" dir="2700000" algn="tl" rotWithShape="0">
                    <a:srgbClr val="000000">
                      <a:alpha val="48000"/>
                    </a:srgbClr>
                  </a:outerShdw>
                </a:effectLst>
                <a:latin typeface="+mn-lt"/>
                <a:ea typeface="+mn-ea"/>
                <a:cs typeface="+mn-cs"/>
              </a:defRPr>
            </a:lvl3pPr>
            <a:lvl4pPr marL="1200150" indent="-171450" algn="l" defTabSz="685800" rtl="0" eaLnBrk="1" latinLnBrk="0" hangingPunct="1">
              <a:lnSpc>
                <a:spcPct val="120000"/>
              </a:lnSpc>
              <a:spcBef>
                <a:spcPts val="375"/>
              </a:spcBef>
              <a:buFont typeface="Arial" panose="020B0604020202020204" pitchFamily="34" charset="0"/>
              <a:buChar char="•"/>
              <a:defRPr sz="1050" kern="1200">
                <a:solidFill>
                  <a:schemeClr val="tx1"/>
                </a:solidFill>
                <a:effectLst>
                  <a:outerShdw blurRad="50800" dist="38100" dir="2700000" algn="tl" rotWithShape="0">
                    <a:srgbClr val="000000">
                      <a:alpha val="48000"/>
                    </a:srgbClr>
                  </a:outerShdw>
                </a:effectLst>
                <a:latin typeface="+mn-lt"/>
                <a:ea typeface="+mn-ea"/>
                <a:cs typeface="+mn-cs"/>
              </a:defRPr>
            </a:lvl4pPr>
            <a:lvl5pPr marL="1543050" indent="-171450" algn="l" defTabSz="685800" rtl="0" eaLnBrk="1" latinLnBrk="0" hangingPunct="1">
              <a:lnSpc>
                <a:spcPct val="120000"/>
              </a:lnSpc>
              <a:spcBef>
                <a:spcPts val="375"/>
              </a:spcBef>
              <a:buFont typeface="Arial" panose="020B0604020202020204" pitchFamily="34" charset="0"/>
              <a:buChar char="•"/>
              <a:defRPr sz="900" kern="1200">
                <a:solidFill>
                  <a:schemeClr val="tx1"/>
                </a:solidFill>
                <a:effectLst>
                  <a:outerShdw blurRad="50800" dist="38100" dir="2700000" algn="tl" rotWithShape="0">
                    <a:srgbClr val="000000">
                      <a:alpha val="48000"/>
                    </a:srgbClr>
                  </a:outerShdw>
                </a:effectLst>
                <a:latin typeface="+mn-lt"/>
                <a:ea typeface="+mn-ea"/>
                <a:cs typeface="+mn-cs"/>
              </a:defRPr>
            </a:lvl5pPr>
            <a:lvl6pPr marL="1885950" indent="-171450" algn="l" defTabSz="685800" rtl="0" eaLnBrk="1" latinLnBrk="0" hangingPunct="1">
              <a:lnSpc>
                <a:spcPct val="120000"/>
              </a:lnSpc>
              <a:spcBef>
                <a:spcPts val="375"/>
              </a:spcBef>
              <a:buFont typeface="Arial" panose="020B0604020202020204" pitchFamily="34" charset="0"/>
              <a:buChar char="•"/>
              <a:defRPr sz="900" kern="1200">
                <a:solidFill>
                  <a:schemeClr val="tx1"/>
                </a:solidFill>
                <a:effectLst>
                  <a:outerShdw blurRad="50800" dist="38100" dir="2700000" algn="tl" rotWithShape="0">
                    <a:srgbClr val="000000">
                      <a:alpha val="48000"/>
                    </a:srgbClr>
                  </a:outerShdw>
                </a:effectLst>
                <a:latin typeface="+mn-lt"/>
                <a:ea typeface="+mn-ea"/>
                <a:cs typeface="+mn-cs"/>
              </a:defRPr>
            </a:lvl6pPr>
            <a:lvl7pPr marL="2228850" indent="-171450" algn="l" defTabSz="685800" rtl="0" eaLnBrk="1" latinLnBrk="0" hangingPunct="1">
              <a:lnSpc>
                <a:spcPct val="120000"/>
              </a:lnSpc>
              <a:spcBef>
                <a:spcPts val="375"/>
              </a:spcBef>
              <a:buFont typeface="Arial" panose="020B0604020202020204" pitchFamily="34" charset="0"/>
              <a:buChar char="•"/>
              <a:defRPr sz="900" kern="1200">
                <a:solidFill>
                  <a:schemeClr val="tx1"/>
                </a:solidFill>
                <a:effectLst>
                  <a:outerShdw blurRad="50800" dist="38100" dir="2700000" algn="tl" rotWithShape="0">
                    <a:srgbClr val="000000">
                      <a:alpha val="48000"/>
                    </a:srgbClr>
                  </a:outerShdw>
                </a:effectLst>
                <a:latin typeface="+mn-lt"/>
                <a:ea typeface="+mn-ea"/>
                <a:cs typeface="+mn-cs"/>
              </a:defRPr>
            </a:lvl7pPr>
            <a:lvl8pPr marL="2571750" indent="-171450" algn="l" defTabSz="685800" rtl="0" eaLnBrk="1" latinLnBrk="0" hangingPunct="1">
              <a:lnSpc>
                <a:spcPct val="120000"/>
              </a:lnSpc>
              <a:spcBef>
                <a:spcPts val="375"/>
              </a:spcBef>
              <a:buFont typeface="Arial" panose="020B0604020202020204" pitchFamily="34" charset="0"/>
              <a:buChar char="•"/>
              <a:defRPr sz="900" kern="1200">
                <a:solidFill>
                  <a:schemeClr val="tx1"/>
                </a:solidFill>
                <a:effectLst>
                  <a:outerShdw blurRad="50800" dist="38100" dir="2700000" algn="tl" rotWithShape="0">
                    <a:srgbClr val="000000">
                      <a:alpha val="48000"/>
                    </a:srgbClr>
                  </a:outerShdw>
                </a:effectLst>
                <a:latin typeface="+mn-lt"/>
                <a:ea typeface="+mn-ea"/>
                <a:cs typeface="+mn-cs"/>
              </a:defRPr>
            </a:lvl8pPr>
            <a:lvl9pPr marL="2914650" indent="-171450" algn="l" defTabSz="685800" rtl="0" eaLnBrk="1" latinLnBrk="0" hangingPunct="1">
              <a:lnSpc>
                <a:spcPct val="120000"/>
              </a:lnSpc>
              <a:spcBef>
                <a:spcPts val="375"/>
              </a:spcBef>
              <a:buFont typeface="Arial" panose="020B0604020202020204" pitchFamily="34" charset="0"/>
              <a:buChar char="•"/>
              <a:defRPr sz="900" kern="1200">
                <a:solidFill>
                  <a:schemeClr val="tx1"/>
                </a:solidFill>
                <a:effectLst>
                  <a:outerShdw blurRad="50800" dist="38100" dir="2700000" algn="tl" rotWithShape="0">
                    <a:srgbClr val="000000">
                      <a:alpha val="48000"/>
                    </a:srgbClr>
                  </a:outerShdw>
                </a:effectLst>
                <a:latin typeface="+mn-lt"/>
                <a:ea typeface="+mn-ea"/>
                <a:cs typeface="+mn-cs"/>
              </a:defRPr>
            </a:lvl9pPr>
          </a:lstStyle>
          <a:p>
            <a:pPr marL="0" indent="0" algn="r">
              <a:spcBef>
                <a:spcPts val="0"/>
              </a:spcBef>
              <a:buFont typeface="Arial" panose="020B0604020202020204" pitchFamily="34" charset="0"/>
              <a:buNone/>
            </a:pPr>
            <a:r>
              <a:rPr lang="it-IT"/>
              <a:t>Customer Analytics</a:t>
            </a:r>
          </a:p>
        </p:txBody>
      </p:sp>
      <p:grpSp>
        <p:nvGrpSpPr>
          <p:cNvPr id="4" name="Google Shape;181;p26">
            <a:extLst>
              <a:ext uri="{FF2B5EF4-FFF2-40B4-BE49-F238E27FC236}">
                <a16:creationId xmlns:a16="http://schemas.microsoft.com/office/drawing/2014/main" id="{ADF451D1-6BBF-55AB-6FFE-6F21073F320E}"/>
              </a:ext>
            </a:extLst>
          </p:cNvPr>
          <p:cNvGrpSpPr/>
          <p:nvPr/>
        </p:nvGrpSpPr>
        <p:grpSpPr>
          <a:xfrm>
            <a:off x="-5" y="1080518"/>
            <a:ext cx="4588711" cy="3523405"/>
            <a:chOff x="1190200" y="796850"/>
            <a:chExt cx="5212075" cy="4002050"/>
          </a:xfrm>
        </p:grpSpPr>
        <p:sp>
          <p:nvSpPr>
            <p:cNvPr id="5" name="Google Shape;182;p26">
              <a:extLst>
                <a:ext uri="{FF2B5EF4-FFF2-40B4-BE49-F238E27FC236}">
                  <a16:creationId xmlns:a16="http://schemas.microsoft.com/office/drawing/2014/main" id="{E5A36780-4F5F-37C4-C561-A3B8707D07E3}"/>
                </a:ext>
              </a:extLst>
            </p:cNvPr>
            <p:cNvSpPr/>
            <p:nvPr/>
          </p:nvSpPr>
          <p:spPr>
            <a:xfrm>
              <a:off x="1190200" y="4224300"/>
              <a:ext cx="5212075" cy="2525"/>
            </a:xfrm>
            <a:custGeom>
              <a:avLst/>
              <a:gdLst/>
              <a:ahLst/>
              <a:cxnLst/>
              <a:rect l="l" t="t" r="r" b="b"/>
              <a:pathLst>
                <a:path w="208483" h="101" extrusionOk="0">
                  <a:moveTo>
                    <a:pt x="0" y="0"/>
                  </a:moveTo>
                  <a:lnTo>
                    <a:pt x="0" y="101"/>
                  </a:lnTo>
                  <a:lnTo>
                    <a:pt x="208482" y="101"/>
                  </a:lnTo>
                  <a:lnTo>
                    <a:pt x="208482" y="0"/>
                  </a:lnTo>
                  <a:close/>
                </a:path>
              </a:pathLst>
            </a:custGeom>
            <a:solidFill>
              <a:srgbClr val="EBEBEB"/>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183;p26">
              <a:extLst>
                <a:ext uri="{FF2B5EF4-FFF2-40B4-BE49-F238E27FC236}">
                  <a16:creationId xmlns:a16="http://schemas.microsoft.com/office/drawing/2014/main" id="{B809D0F7-EFB2-7E3F-2102-D216640E12E7}"/>
                </a:ext>
              </a:extLst>
            </p:cNvPr>
            <p:cNvSpPr/>
            <p:nvPr/>
          </p:nvSpPr>
          <p:spPr>
            <a:xfrm>
              <a:off x="5534950" y="4391925"/>
              <a:ext cx="345275" cy="2525"/>
            </a:xfrm>
            <a:custGeom>
              <a:avLst/>
              <a:gdLst/>
              <a:ahLst/>
              <a:cxnLst/>
              <a:rect l="l" t="t" r="r" b="b"/>
              <a:pathLst>
                <a:path w="13811" h="101" extrusionOk="0">
                  <a:moveTo>
                    <a:pt x="1" y="0"/>
                  </a:moveTo>
                  <a:lnTo>
                    <a:pt x="1" y="100"/>
                  </a:lnTo>
                  <a:lnTo>
                    <a:pt x="13811" y="100"/>
                  </a:lnTo>
                  <a:lnTo>
                    <a:pt x="13811" y="0"/>
                  </a:lnTo>
                  <a:close/>
                </a:path>
              </a:pathLst>
            </a:custGeom>
            <a:solidFill>
              <a:srgbClr val="EBEBEB"/>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84;p26">
              <a:extLst>
                <a:ext uri="{FF2B5EF4-FFF2-40B4-BE49-F238E27FC236}">
                  <a16:creationId xmlns:a16="http://schemas.microsoft.com/office/drawing/2014/main" id="{323CCD0B-C65C-FBFE-BE7F-E48BF318D90C}"/>
                </a:ext>
              </a:extLst>
            </p:cNvPr>
            <p:cNvSpPr/>
            <p:nvPr/>
          </p:nvSpPr>
          <p:spPr>
            <a:xfrm>
              <a:off x="4234025" y="4420275"/>
              <a:ext cx="408650" cy="2525"/>
            </a:xfrm>
            <a:custGeom>
              <a:avLst/>
              <a:gdLst/>
              <a:ahLst/>
              <a:cxnLst/>
              <a:rect l="l" t="t" r="r" b="b"/>
              <a:pathLst>
                <a:path w="16346" h="101" extrusionOk="0">
                  <a:moveTo>
                    <a:pt x="1" y="0"/>
                  </a:moveTo>
                  <a:lnTo>
                    <a:pt x="1" y="100"/>
                  </a:lnTo>
                  <a:lnTo>
                    <a:pt x="16346" y="100"/>
                  </a:lnTo>
                  <a:lnTo>
                    <a:pt x="16346" y="0"/>
                  </a:lnTo>
                  <a:close/>
                </a:path>
              </a:pathLst>
            </a:custGeom>
            <a:solidFill>
              <a:srgbClr val="EBEBEB"/>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85;p26">
              <a:extLst>
                <a:ext uri="{FF2B5EF4-FFF2-40B4-BE49-F238E27FC236}">
                  <a16:creationId xmlns:a16="http://schemas.microsoft.com/office/drawing/2014/main" id="{1A045DB6-14E1-69A6-DFC7-21EC4848F419}"/>
                </a:ext>
              </a:extLst>
            </p:cNvPr>
            <p:cNvSpPr/>
            <p:nvPr/>
          </p:nvSpPr>
          <p:spPr>
            <a:xfrm>
              <a:off x="4930350" y="4295175"/>
              <a:ext cx="593800" cy="2525"/>
            </a:xfrm>
            <a:custGeom>
              <a:avLst/>
              <a:gdLst/>
              <a:ahLst/>
              <a:cxnLst/>
              <a:rect l="l" t="t" r="r" b="b"/>
              <a:pathLst>
                <a:path w="23752" h="101" extrusionOk="0">
                  <a:moveTo>
                    <a:pt x="1" y="1"/>
                  </a:moveTo>
                  <a:lnTo>
                    <a:pt x="1" y="101"/>
                  </a:lnTo>
                  <a:lnTo>
                    <a:pt x="23751" y="101"/>
                  </a:lnTo>
                  <a:lnTo>
                    <a:pt x="23751" y="1"/>
                  </a:lnTo>
                  <a:close/>
                </a:path>
              </a:pathLst>
            </a:custGeom>
            <a:solidFill>
              <a:srgbClr val="EBEBEB"/>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86;p26">
              <a:extLst>
                <a:ext uri="{FF2B5EF4-FFF2-40B4-BE49-F238E27FC236}">
                  <a16:creationId xmlns:a16="http://schemas.microsoft.com/office/drawing/2014/main" id="{2A72E98F-83BB-E409-E157-AF9536CDBF78}"/>
                </a:ext>
              </a:extLst>
            </p:cNvPr>
            <p:cNvSpPr/>
            <p:nvPr/>
          </p:nvSpPr>
          <p:spPr>
            <a:xfrm>
              <a:off x="3008975" y="4312700"/>
              <a:ext cx="715550" cy="2525"/>
            </a:xfrm>
            <a:custGeom>
              <a:avLst/>
              <a:gdLst/>
              <a:ahLst/>
              <a:cxnLst/>
              <a:rect l="l" t="t" r="r" b="b"/>
              <a:pathLst>
                <a:path w="28622" h="101" extrusionOk="0">
                  <a:moveTo>
                    <a:pt x="1" y="0"/>
                  </a:moveTo>
                  <a:lnTo>
                    <a:pt x="1" y="100"/>
                  </a:lnTo>
                  <a:lnTo>
                    <a:pt x="28621" y="100"/>
                  </a:lnTo>
                  <a:lnTo>
                    <a:pt x="28621" y="0"/>
                  </a:lnTo>
                  <a:close/>
                </a:path>
              </a:pathLst>
            </a:custGeom>
            <a:solidFill>
              <a:srgbClr val="EBEBEB"/>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87;p26">
              <a:extLst>
                <a:ext uri="{FF2B5EF4-FFF2-40B4-BE49-F238E27FC236}">
                  <a16:creationId xmlns:a16="http://schemas.microsoft.com/office/drawing/2014/main" id="{708356E2-DBDF-11BD-AE41-7C04B5D627CE}"/>
                </a:ext>
              </a:extLst>
            </p:cNvPr>
            <p:cNvSpPr/>
            <p:nvPr/>
          </p:nvSpPr>
          <p:spPr>
            <a:xfrm>
              <a:off x="3817075" y="4312700"/>
              <a:ext cx="65900" cy="2525"/>
            </a:xfrm>
            <a:custGeom>
              <a:avLst/>
              <a:gdLst/>
              <a:ahLst/>
              <a:cxnLst/>
              <a:rect l="l" t="t" r="r" b="b"/>
              <a:pathLst>
                <a:path w="2636" h="101" extrusionOk="0">
                  <a:moveTo>
                    <a:pt x="0" y="0"/>
                  </a:moveTo>
                  <a:lnTo>
                    <a:pt x="0" y="100"/>
                  </a:lnTo>
                  <a:lnTo>
                    <a:pt x="2635" y="100"/>
                  </a:lnTo>
                  <a:lnTo>
                    <a:pt x="2635" y="0"/>
                  </a:lnTo>
                  <a:close/>
                </a:path>
              </a:pathLst>
            </a:custGeom>
            <a:solidFill>
              <a:srgbClr val="EBEBE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88;p26">
              <a:extLst>
                <a:ext uri="{FF2B5EF4-FFF2-40B4-BE49-F238E27FC236}">
                  <a16:creationId xmlns:a16="http://schemas.microsoft.com/office/drawing/2014/main" id="{8142CC21-9C11-8C77-2FBE-9384ABC68DE9}"/>
                </a:ext>
              </a:extLst>
            </p:cNvPr>
            <p:cNvSpPr/>
            <p:nvPr/>
          </p:nvSpPr>
          <p:spPr>
            <a:xfrm>
              <a:off x="2215075" y="4356900"/>
              <a:ext cx="1321825" cy="2525"/>
            </a:xfrm>
            <a:custGeom>
              <a:avLst/>
              <a:gdLst/>
              <a:ahLst/>
              <a:cxnLst/>
              <a:rect l="l" t="t" r="r" b="b"/>
              <a:pathLst>
                <a:path w="52873" h="101" extrusionOk="0">
                  <a:moveTo>
                    <a:pt x="1" y="0"/>
                  </a:moveTo>
                  <a:lnTo>
                    <a:pt x="1" y="100"/>
                  </a:lnTo>
                  <a:lnTo>
                    <a:pt x="52872" y="100"/>
                  </a:lnTo>
                  <a:lnTo>
                    <a:pt x="52872" y="0"/>
                  </a:lnTo>
                  <a:close/>
                </a:path>
              </a:pathLst>
            </a:custGeom>
            <a:solidFill>
              <a:srgbClr val="EBEBEB"/>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89;p26">
              <a:extLst>
                <a:ext uri="{FF2B5EF4-FFF2-40B4-BE49-F238E27FC236}">
                  <a16:creationId xmlns:a16="http://schemas.microsoft.com/office/drawing/2014/main" id="{44A9F28A-531C-DD49-19DA-1B380AE2A48A}"/>
                </a:ext>
              </a:extLst>
            </p:cNvPr>
            <p:cNvSpPr/>
            <p:nvPr/>
          </p:nvSpPr>
          <p:spPr>
            <a:xfrm>
              <a:off x="1929875" y="1081225"/>
              <a:ext cx="2290000" cy="1707900"/>
            </a:xfrm>
            <a:custGeom>
              <a:avLst/>
              <a:gdLst/>
              <a:ahLst/>
              <a:cxnLst/>
              <a:rect l="l" t="t" r="r" b="b"/>
              <a:pathLst>
                <a:path w="91600" h="68316" extrusionOk="0">
                  <a:moveTo>
                    <a:pt x="1" y="0"/>
                  </a:moveTo>
                  <a:lnTo>
                    <a:pt x="1" y="68316"/>
                  </a:lnTo>
                  <a:lnTo>
                    <a:pt x="91600" y="68316"/>
                  </a:lnTo>
                  <a:lnTo>
                    <a:pt x="91600" y="0"/>
                  </a:lnTo>
                  <a:close/>
                </a:path>
              </a:pathLst>
            </a:custGeom>
            <a:solidFill>
              <a:srgbClr val="EBEBE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90;p26">
              <a:extLst>
                <a:ext uri="{FF2B5EF4-FFF2-40B4-BE49-F238E27FC236}">
                  <a16:creationId xmlns:a16="http://schemas.microsoft.com/office/drawing/2014/main" id="{9DD9BDF5-654D-E77A-6D18-CE2AF210EADC}"/>
                </a:ext>
              </a:extLst>
            </p:cNvPr>
            <p:cNvSpPr/>
            <p:nvPr/>
          </p:nvSpPr>
          <p:spPr>
            <a:xfrm>
              <a:off x="4219850" y="1081225"/>
              <a:ext cx="14200" cy="1707900"/>
            </a:xfrm>
            <a:custGeom>
              <a:avLst/>
              <a:gdLst/>
              <a:ahLst/>
              <a:cxnLst/>
              <a:rect l="l" t="t" r="r" b="b"/>
              <a:pathLst>
                <a:path w="568" h="68316" extrusionOk="0">
                  <a:moveTo>
                    <a:pt x="1" y="0"/>
                  </a:moveTo>
                  <a:lnTo>
                    <a:pt x="1" y="68316"/>
                  </a:lnTo>
                  <a:lnTo>
                    <a:pt x="568" y="68316"/>
                  </a:lnTo>
                  <a:lnTo>
                    <a:pt x="568" y="0"/>
                  </a:lnTo>
                  <a:close/>
                </a:path>
              </a:pathLst>
            </a:custGeom>
            <a:solidFill>
              <a:srgbClr val="E0E0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91;p26">
              <a:extLst>
                <a:ext uri="{FF2B5EF4-FFF2-40B4-BE49-F238E27FC236}">
                  <a16:creationId xmlns:a16="http://schemas.microsoft.com/office/drawing/2014/main" id="{9EDB5417-E932-5BA3-08E2-009DE61F7626}"/>
                </a:ext>
              </a:extLst>
            </p:cNvPr>
            <p:cNvSpPr/>
            <p:nvPr/>
          </p:nvSpPr>
          <p:spPr>
            <a:xfrm>
              <a:off x="2043300" y="1194625"/>
              <a:ext cx="2063150" cy="1481100"/>
            </a:xfrm>
            <a:custGeom>
              <a:avLst/>
              <a:gdLst/>
              <a:ahLst/>
              <a:cxnLst/>
              <a:rect l="l" t="t" r="r" b="b"/>
              <a:pathLst>
                <a:path w="82526" h="59244" extrusionOk="0">
                  <a:moveTo>
                    <a:pt x="0" y="1"/>
                  </a:moveTo>
                  <a:lnTo>
                    <a:pt x="0" y="59243"/>
                  </a:lnTo>
                  <a:lnTo>
                    <a:pt x="82526" y="59243"/>
                  </a:lnTo>
                  <a:lnTo>
                    <a:pt x="82526" y="1"/>
                  </a:lnTo>
                  <a:close/>
                </a:path>
              </a:pathLst>
            </a:custGeom>
            <a:solidFill>
              <a:srgbClr val="F5F5F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92;p26">
              <a:extLst>
                <a:ext uri="{FF2B5EF4-FFF2-40B4-BE49-F238E27FC236}">
                  <a16:creationId xmlns:a16="http://schemas.microsoft.com/office/drawing/2014/main" id="{4EE6A0D8-0C13-F488-E346-BE13605C7883}"/>
                </a:ext>
              </a:extLst>
            </p:cNvPr>
            <p:cNvSpPr/>
            <p:nvPr/>
          </p:nvSpPr>
          <p:spPr>
            <a:xfrm>
              <a:off x="3557700" y="2241225"/>
              <a:ext cx="367800" cy="513725"/>
            </a:xfrm>
            <a:custGeom>
              <a:avLst/>
              <a:gdLst/>
              <a:ahLst/>
              <a:cxnLst/>
              <a:rect l="l" t="t" r="r" b="b"/>
              <a:pathLst>
                <a:path w="14712" h="20549" extrusionOk="0">
                  <a:moveTo>
                    <a:pt x="1" y="0"/>
                  </a:moveTo>
                  <a:lnTo>
                    <a:pt x="1" y="20548"/>
                  </a:lnTo>
                  <a:lnTo>
                    <a:pt x="14711" y="20548"/>
                  </a:lnTo>
                  <a:lnTo>
                    <a:pt x="14711"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93;p26">
              <a:extLst>
                <a:ext uri="{FF2B5EF4-FFF2-40B4-BE49-F238E27FC236}">
                  <a16:creationId xmlns:a16="http://schemas.microsoft.com/office/drawing/2014/main" id="{2EB6D9BF-8B6A-CFD2-C4BA-0C985B764A98}"/>
                </a:ext>
              </a:extLst>
            </p:cNvPr>
            <p:cNvSpPr/>
            <p:nvPr/>
          </p:nvSpPr>
          <p:spPr>
            <a:xfrm>
              <a:off x="3019825" y="2060250"/>
              <a:ext cx="392800" cy="513725"/>
            </a:xfrm>
            <a:custGeom>
              <a:avLst/>
              <a:gdLst/>
              <a:ahLst/>
              <a:cxnLst/>
              <a:rect l="l" t="t" r="r" b="b"/>
              <a:pathLst>
                <a:path w="15712" h="20549" extrusionOk="0">
                  <a:moveTo>
                    <a:pt x="1035" y="1"/>
                  </a:moveTo>
                  <a:lnTo>
                    <a:pt x="1" y="20549"/>
                  </a:lnTo>
                  <a:lnTo>
                    <a:pt x="14678" y="20549"/>
                  </a:lnTo>
                  <a:lnTo>
                    <a:pt x="15712"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94;p26">
              <a:extLst>
                <a:ext uri="{FF2B5EF4-FFF2-40B4-BE49-F238E27FC236}">
                  <a16:creationId xmlns:a16="http://schemas.microsoft.com/office/drawing/2014/main" id="{430A4480-D571-0622-6F7E-93041BCC4390}"/>
                </a:ext>
              </a:extLst>
            </p:cNvPr>
            <p:cNvSpPr/>
            <p:nvPr/>
          </p:nvSpPr>
          <p:spPr>
            <a:xfrm>
              <a:off x="2789675" y="2241225"/>
              <a:ext cx="366950" cy="513725"/>
            </a:xfrm>
            <a:custGeom>
              <a:avLst/>
              <a:gdLst/>
              <a:ahLst/>
              <a:cxnLst/>
              <a:rect l="l" t="t" r="r" b="b"/>
              <a:pathLst>
                <a:path w="14678" h="20549" extrusionOk="0">
                  <a:moveTo>
                    <a:pt x="0" y="0"/>
                  </a:moveTo>
                  <a:lnTo>
                    <a:pt x="0" y="20548"/>
                  </a:lnTo>
                  <a:lnTo>
                    <a:pt x="14677" y="20548"/>
                  </a:lnTo>
                  <a:lnTo>
                    <a:pt x="14677"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95;p26">
              <a:extLst>
                <a:ext uri="{FF2B5EF4-FFF2-40B4-BE49-F238E27FC236}">
                  <a16:creationId xmlns:a16="http://schemas.microsoft.com/office/drawing/2014/main" id="{BAB3EDFE-C235-1970-CC80-A1C5835DDB72}"/>
                </a:ext>
              </a:extLst>
            </p:cNvPr>
            <p:cNvSpPr/>
            <p:nvPr/>
          </p:nvSpPr>
          <p:spPr>
            <a:xfrm>
              <a:off x="2250950" y="2060250"/>
              <a:ext cx="393625" cy="513725"/>
            </a:xfrm>
            <a:custGeom>
              <a:avLst/>
              <a:gdLst/>
              <a:ahLst/>
              <a:cxnLst/>
              <a:rect l="l" t="t" r="r" b="b"/>
              <a:pathLst>
                <a:path w="15745" h="20549" extrusionOk="0">
                  <a:moveTo>
                    <a:pt x="1068" y="1"/>
                  </a:moveTo>
                  <a:lnTo>
                    <a:pt x="0" y="20549"/>
                  </a:lnTo>
                  <a:lnTo>
                    <a:pt x="14677" y="20549"/>
                  </a:lnTo>
                  <a:lnTo>
                    <a:pt x="15745"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96;p26">
              <a:extLst>
                <a:ext uri="{FF2B5EF4-FFF2-40B4-BE49-F238E27FC236}">
                  <a16:creationId xmlns:a16="http://schemas.microsoft.com/office/drawing/2014/main" id="{20033975-02B8-B988-BA70-19D998AF780C}"/>
                </a:ext>
              </a:extLst>
            </p:cNvPr>
            <p:cNvSpPr/>
            <p:nvPr/>
          </p:nvSpPr>
          <p:spPr>
            <a:xfrm>
              <a:off x="2561175" y="1235500"/>
              <a:ext cx="586275" cy="732200"/>
            </a:xfrm>
            <a:custGeom>
              <a:avLst/>
              <a:gdLst/>
              <a:ahLst/>
              <a:cxnLst/>
              <a:rect l="l" t="t" r="r" b="b"/>
              <a:pathLst>
                <a:path w="23451" h="29288" extrusionOk="0">
                  <a:moveTo>
                    <a:pt x="3436" y="0"/>
                  </a:moveTo>
                  <a:lnTo>
                    <a:pt x="0" y="27887"/>
                  </a:lnTo>
                  <a:lnTo>
                    <a:pt x="20014" y="29288"/>
                  </a:lnTo>
                  <a:lnTo>
                    <a:pt x="23450" y="1435"/>
                  </a:lnTo>
                  <a:lnTo>
                    <a:pt x="3436"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97;p26">
              <a:extLst>
                <a:ext uri="{FF2B5EF4-FFF2-40B4-BE49-F238E27FC236}">
                  <a16:creationId xmlns:a16="http://schemas.microsoft.com/office/drawing/2014/main" id="{579C0395-6DFB-0787-E75E-9E92DD72EFFA}"/>
                </a:ext>
              </a:extLst>
            </p:cNvPr>
            <p:cNvSpPr/>
            <p:nvPr/>
          </p:nvSpPr>
          <p:spPr>
            <a:xfrm>
              <a:off x="3762850" y="1145425"/>
              <a:ext cx="393650" cy="514575"/>
            </a:xfrm>
            <a:custGeom>
              <a:avLst/>
              <a:gdLst/>
              <a:ahLst/>
              <a:cxnLst/>
              <a:rect l="l" t="t" r="r" b="b"/>
              <a:pathLst>
                <a:path w="15746" h="20583" extrusionOk="0">
                  <a:moveTo>
                    <a:pt x="1068" y="1"/>
                  </a:moveTo>
                  <a:lnTo>
                    <a:pt x="1" y="20582"/>
                  </a:lnTo>
                  <a:lnTo>
                    <a:pt x="14678" y="20582"/>
                  </a:lnTo>
                  <a:lnTo>
                    <a:pt x="15745"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98;p26">
              <a:extLst>
                <a:ext uri="{FF2B5EF4-FFF2-40B4-BE49-F238E27FC236}">
                  <a16:creationId xmlns:a16="http://schemas.microsoft.com/office/drawing/2014/main" id="{D6AE6C13-B9AB-2C1C-F310-CE8BA9D09AAE}"/>
                </a:ext>
              </a:extLst>
            </p:cNvPr>
            <p:cNvSpPr/>
            <p:nvPr/>
          </p:nvSpPr>
          <p:spPr>
            <a:xfrm>
              <a:off x="3280850" y="1440650"/>
              <a:ext cx="388625" cy="529550"/>
            </a:xfrm>
            <a:custGeom>
              <a:avLst/>
              <a:gdLst/>
              <a:ahLst/>
              <a:cxnLst/>
              <a:rect l="l" t="t" r="r" b="b"/>
              <a:pathLst>
                <a:path w="15545" h="21182" extrusionOk="0">
                  <a:moveTo>
                    <a:pt x="868" y="0"/>
                  </a:moveTo>
                  <a:lnTo>
                    <a:pt x="0" y="20515"/>
                  </a:lnTo>
                  <a:lnTo>
                    <a:pt x="14644" y="21182"/>
                  </a:lnTo>
                  <a:lnTo>
                    <a:pt x="15545" y="634"/>
                  </a:lnTo>
                  <a:lnTo>
                    <a:pt x="868"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99;p26">
              <a:extLst>
                <a:ext uri="{FF2B5EF4-FFF2-40B4-BE49-F238E27FC236}">
                  <a16:creationId xmlns:a16="http://schemas.microsoft.com/office/drawing/2014/main" id="{49D8164C-A79A-6E51-91D3-95DD2C1D3FCD}"/>
                </a:ext>
              </a:extLst>
            </p:cNvPr>
            <p:cNvSpPr/>
            <p:nvPr/>
          </p:nvSpPr>
          <p:spPr>
            <a:xfrm>
              <a:off x="1979925" y="1286375"/>
              <a:ext cx="381950" cy="524550"/>
            </a:xfrm>
            <a:custGeom>
              <a:avLst/>
              <a:gdLst/>
              <a:ahLst/>
              <a:cxnLst/>
              <a:rect l="l" t="t" r="r" b="b"/>
              <a:pathLst>
                <a:path w="15278" h="20982" extrusionOk="0">
                  <a:moveTo>
                    <a:pt x="14677" y="0"/>
                  </a:moveTo>
                  <a:lnTo>
                    <a:pt x="0" y="434"/>
                  </a:lnTo>
                  <a:lnTo>
                    <a:pt x="601" y="20982"/>
                  </a:lnTo>
                  <a:lnTo>
                    <a:pt x="15278" y="20548"/>
                  </a:lnTo>
                  <a:lnTo>
                    <a:pt x="14677"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200;p26">
              <a:extLst>
                <a:ext uri="{FF2B5EF4-FFF2-40B4-BE49-F238E27FC236}">
                  <a16:creationId xmlns:a16="http://schemas.microsoft.com/office/drawing/2014/main" id="{646EBD69-F8BC-B622-5BD5-B79A8AF9E983}"/>
                </a:ext>
              </a:extLst>
            </p:cNvPr>
            <p:cNvSpPr/>
            <p:nvPr/>
          </p:nvSpPr>
          <p:spPr>
            <a:xfrm>
              <a:off x="4699350" y="1225475"/>
              <a:ext cx="932375" cy="1371850"/>
            </a:xfrm>
            <a:custGeom>
              <a:avLst/>
              <a:gdLst/>
              <a:ahLst/>
              <a:cxnLst/>
              <a:rect l="l" t="t" r="r" b="b"/>
              <a:pathLst>
                <a:path w="37295" h="54874" extrusionOk="0">
                  <a:moveTo>
                    <a:pt x="1" y="1"/>
                  </a:moveTo>
                  <a:lnTo>
                    <a:pt x="1" y="54874"/>
                  </a:lnTo>
                  <a:lnTo>
                    <a:pt x="37294" y="54874"/>
                  </a:lnTo>
                  <a:lnTo>
                    <a:pt x="37294" y="1"/>
                  </a:lnTo>
                  <a:close/>
                </a:path>
              </a:pathLst>
            </a:custGeom>
            <a:solidFill>
              <a:srgbClr val="E0E0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201;p26">
              <a:extLst>
                <a:ext uri="{FF2B5EF4-FFF2-40B4-BE49-F238E27FC236}">
                  <a16:creationId xmlns:a16="http://schemas.microsoft.com/office/drawing/2014/main" id="{18A8EB49-42F2-0085-6F7B-B002341A607F}"/>
                </a:ext>
              </a:extLst>
            </p:cNvPr>
            <p:cNvSpPr/>
            <p:nvPr/>
          </p:nvSpPr>
          <p:spPr>
            <a:xfrm>
              <a:off x="4642650" y="1225475"/>
              <a:ext cx="963225" cy="1371850"/>
            </a:xfrm>
            <a:custGeom>
              <a:avLst/>
              <a:gdLst/>
              <a:ahLst/>
              <a:cxnLst/>
              <a:rect l="l" t="t" r="r" b="b"/>
              <a:pathLst>
                <a:path w="38529" h="54874" extrusionOk="0">
                  <a:moveTo>
                    <a:pt x="1" y="1"/>
                  </a:moveTo>
                  <a:lnTo>
                    <a:pt x="1" y="54874"/>
                  </a:lnTo>
                  <a:lnTo>
                    <a:pt x="38528" y="54874"/>
                  </a:lnTo>
                  <a:lnTo>
                    <a:pt x="38528" y="1"/>
                  </a:lnTo>
                  <a:close/>
                </a:path>
              </a:pathLst>
            </a:custGeom>
            <a:solidFill>
              <a:srgbClr val="F5F5F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202;p26">
              <a:extLst>
                <a:ext uri="{FF2B5EF4-FFF2-40B4-BE49-F238E27FC236}">
                  <a16:creationId xmlns:a16="http://schemas.microsoft.com/office/drawing/2014/main" id="{0D5350E4-F09E-AD31-E50E-1515526E36D8}"/>
                </a:ext>
              </a:extLst>
            </p:cNvPr>
            <p:cNvSpPr/>
            <p:nvPr/>
          </p:nvSpPr>
          <p:spPr>
            <a:xfrm>
              <a:off x="4723550" y="1333900"/>
              <a:ext cx="802250" cy="1155025"/>
            </a:xfrm>
            <a:custGeom>
              <a:avLst/>
              <a:gdLst/>
              <a:ahLst/>
              <a:cxnLst/>
              <a:rect l="l" t="t" r="r" b="b"/>
              <a:pathLst>
                <a:path w="32090" h="46201" extrusionOk="0">
                  <a:moveTo>
                    <a:pt x="0" y="0"/>
                  </a:moveTo>
                  <a:lnTo>
                    <a:pt x="0" y="46200"/>
                  </a:lnTo>
                  <a:lnTo>
                    <a:pt x="32090" y="46200"/>
                  </a:lnTo>
                  <a:lnTo>
                    <a:pt x="32090"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203;p26">
              <a:extLst>
                <a:ext uri="{FF2B5EF4-FFF2-40B4-BE49-F238E27FC236}">
                  <a16:creationId xmlns:a16="http://schemas.microsoft.com/office/drawing/2014/main" id="{B939FFF8-8C9B-A532-7FC7-9FF8F211BCDF}"/>
                </a:ext>
              </a:extLst>
            </p:cNvPr>
            <p:cNvSpPr/>
            <p:nvPr/>
          </p:nvSpPr>
          <p:spPr>
            <a:xfrm>
              <a:off x="5024600" y="1767550"/>
              <a:ext cx="200150" cy="287725"/>
            </a:xfrm>
            <a:custGeom>
              <a:avLst/>
              <a:gdLst/>
              <a:ahLst/>
              <a:cxnLst/>
              <a:rect l="l" t="t" r="r" b="b"/>
              <a:pathLst>
                <a:path w="8006" h="11509" extrusionOk="0">
                  <a:moveTo>
                    <a:pt x="0" y="0"/>
                  </a:moveTo>
                  <a:lnTo>
                    <a:pt x="0" y="3536"/>
                  </a:lnTo>
                  <a:cubicBezTo>
                    <a:pt x="0" y="7939"/>
                    <a:pt x="3569" y="11508"/>
                    <a:pt x="8006" y="11508"/>
                  </a:cubicBezTo>
                  <a:lnTo>
                    <a:pt x="8006" y="8006"/>
                  </a:lnTo>
                  <a:cubicBezTo>
                    <a:pt x="8006" y="3569"/>
                    <a:pt x="4403" y="0"/>
                    <a:pt x="0" y="0"/>
                  </a:cubicBezTo>
                  <a:close/>
                </a:path>
              </a:pathLst>
            </a:custGeom>
            <a:solidFill>
              <a:srgbClr val="F5F5F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204;p26">
              <a:extLst>
                <a:ext uri="{FF2B5EF4-FFF2-40B4-BE49-F238E27FC236}">
                  <a16:creationId xmlns:a16="http://schemas.microsoft.com/office/drawing/2014/main" id="{8A95B8C8-6D79-A955-BCFF-A25DD7E13A03}"/>
                </a:ext>
              </a:extLst>
            </p:cNvPr>
            <p:cNvSpPr/>
            <p:nvPr/>
          </p:nvSpPr>
          <p:spPr>
            <a:xfrm>
              <a:off x="5024600" y="1471500"/>
              <a:ext cx="200150" cy="286900"/>
            </a:xfrm>
            <a:custGeom>
              <a:avLst/>
              <a:gdLst/>
              <a:ahLst/>
              <a:cxnLst/>
              <a:rect l="l" t="t" r="r" b="b"/>
              <a:pathLst>
                <a:path w="8006" h="11476" extrusionOk="0">
                  <a:moveTo>
                    <a:pt x="0" y="0"/>
                  </a:moveTo>
                  <a:lnTo>
                    <a:pt x="0" y="3503"/>
                  </a:lnTo>
                  <a:cubicBezTo>
                    <a:pt x="0" y="7906"/>
                    <a:pt x="3569" y="11475"/>
                    <a:pt x="8006" y="11475"/>
                  </a:cubicBezTo>
                  <a:lnTo>
                    <a:pt x="8006" y="7973"/>
                  </a:lnTo>
                  <a:cubicBezTo>
                    <a:pt x="8006" y="3570"/>
                    <a:pt x="4403" y="0"/>
                    <a:pt x="0" y="0"/>
                  </a:cubicBezTo>
                  <a:close/>
                </a:path>
              </a:pathLst>
            </a:custGeom>
            <a:solidFill>
              <a:srgbClr val="F5F5F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205;p26">
              <a:extLst>
                <a:ext uri="{FF2B5EF4-FFF2-40B4-BE49-F238E27FC236}">
                  <a16:creationId xmlns:a16="http://schemas.microsoft.com/office/drawing/2014/main" id="{D9A74397-0D7B-67AB-0C19-0E7EB5D7C814}"/>
                </a:ext>
              </a:extLst>
            </p:cNvPr>
            <p:cNvSpPr/>
            <p:nvPr/>
          </p:nvSpPr>
          <p:spPr>
            <a:xfrm>
              <a:off x="5024600" y="2064425"/>
              <a:ext cx="200150" cy="287725"/>
            </a:xfrm>
            <a:custGeom>
              <a:avLst/>
              <a:gdLst/>
              <a:ahLst/>
              <a:cxnLst/>
              <a:rect l="l" t="t" r="r" b="b"/>
              <a:pathLst>
                <a:path w="8006" h="11509" extrusionOk="0">
                  <a:moveTo>
                    <a:pt x="0" y="0"/>
                  </a:moveTo>
                  <a:lnTo>
                    <a:pt x="0" y="3503"/>
                  </a:lnTo>
                  <a:cubicBezTo>
                    <a:pt x="0" y="7939"/>
                    <a:pt x="3569" y="11509"/>
                    <a:pt x="8006" y="11509"/>
                  </a:cubicBezTo>
                  <a:lnTo>
                    <a:pt x="8006" y="7973"/>
                  </a:lnTo>
                  <a:cubicBezTo>
                    <a:pt x="8006" y="3570"/>
                    <a:pt x="4403" y="0"/>
                    <a:pt x="0" y="0"/>
                  </a:cubicBezTo>
                  <a:close/>
                </a:path>
              </a:pathLst>
            </a:custGeom>
            <a:solidFill>
              <a:srgbClr val="F5F5F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206;p26">
              <a:extLst>
                <a:ext uri="{FF2B5EF4-FFF2-40B4-BE49-F238E27FC236}">
                  <a16:creationId xmlns:a16="http://schemas.microsoft.com/office/drawing/2014/main" id="{8894FE86-ABB2-DECB-008C-A5C8206B3B01}"/>
                </a:ext>
              </a:extLst>
            </p:cNvPr>
            <p:cNvSpPr/>
            <p:nvPr/>
          </p:nvSpPr>
          <p:spPr>
            <a:xfrm>
              <a:off x="5183875" y="3211900"/>
              <a:ext cx="106775" cy="771425"/>
            </a:xfrm>
            <a:custGeom>
              <a:avLst/>
              <a:gdLst/>
              <a:ahLst/>
              <a:cxnLst/>
              <a:rect l="l" t="t" r="r" b="b"/>
              <a:pathLst>
                <a:path w="4271" h="30857" extrusionOk="0">
                  <a:moveTo>
                    <a:pt x="4270" y="1"/>
                  </a:moveTo>
                  <a:lnTo>
                    <a:pt x="1968" y="935"/>
                  </a:lnTo>
                  <a:cubicBezTo>
                    <a:pt x="267" y="5938"/>
                    <a:pt x="0" y="19682"/>
                    <a:pt x="0" y="29755"/>
                  </a:cubicBezTo>
                  <a:cubicBezTo>
                    <a:pt x="0" y="29956"/>
                    <a:pt x="267" y="30122"/>
                    <a:pt x="601" y="30122"/>
                  </a:cubicBezTo>
                  <a:cubicBezTo>
                    <a:pt x="934" y="30122"/>
                    <a:pt x="1235" y="29956"/>
                    <a:pt x="1235" y="29755"/>
                  </a:cubicBezTo>
                  <a:cubicBezTo>
                    <a:pt x="1135" y="28288"/>
                    <a:pt x="1268" y="30856"/>
                    <a:pt x="2469" y="16413"/>
                  </a:cubicBezTo>
                  <a:cubicBezTo>
                    <a:pt x="3703" y="936"/>
                    <a:pt x="4270" y="1"/>
                    <a:pt x="4270" y="1"/>
                  </a:cubicBezTo>
                  <a:close/>
                </a:path>
              </a:pathLst>
            </a:custGeom>
            <a:solidFill>
              <a:srgbClr val="E6E6E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07;p26">
              <a:extLst>
                <a:ext uri="{FF2B5EF4-FFF2-40B4-BE49-F238E27FC236}">
                  <a16:creationId xmlns:a16="http://schemas.microsoft.com/office/drawing/2014/main" id="{02B71469-FB51-4280-560A-CFEC12DD311A}"/>
                </a:ext>
              </a:extLst>
            </p:cNvPr>
            <p:cNvSpPr/>
            <p:nvPr/>
          </p:nvSpPr>
          <p:spPr>
            <a:xfrm>
              <a:off x="4617300" y="3052625"/>
              <a:ext cx="626650" cy="422000"/>
            </a:xfrm>
            <a:custGeom>
              <a:avLst/>
              <a:gdLst/>
              <a:ahLst/>
              <a:cxnLst/>
              <a:rect l="l" t="t" r="r" b="b"/>
              <a:pathLst>
                <a:path w="25066" h="16880" extrusionOk="0">
                  <a:moveTo>
                    <a:pt x="2872" y="0"/>
                  </a:moveTo>
                  <a:cubicBezTo>
                    <a:pt x="1" y="0"/>
                    <a:pt x="8716" y="6621"/>
                    <a:pt x="14591" y="9808"/>
                  </a:cubicBezTo>
                  <a:cubicBezTo>
                    <a:pt x="19027" y="12176"/>
                    <a:pt x="23864" y="14344"/>
                    <a:pt x="25065" y="16879"/>
                  </a:cubicBezTo>
                  <a:cubicBezTo>
                    <a:pt x="24765" y="11576"/>
                    <a:pt x="24698" y="7806"/>
                    <a:pt x="21329" y="5038"/>
                  </a:cubicBezTo>
                  <a:cubicBezTo>
                    <a:pt x="17960" y="2236"/>
                    <a:pt x="10655" y="167"/>
                    <a:pt x="2916" y="1"/>
                  </a:cubicBezTo>
                  <a:cubicBezTo>
                    <a:pt x="2901" y="0"/>
                    <a:pt x="2886" y="0"/>
                    <a:pt x="2872" y="0"/>
                  </a:cubicBezTo>
                  <a:close/>
                </a:path>
              </a:pathLst>
            </a:custGeom>
            <a:solidFill>
              <a:srgbClr val="E6E6E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08;p26">
              <a:extLst>
                <a:ext uri="{FF2B5EF4-FFF2-40B4-BE49-F238E27FC236}">
                  <a16:creationId xmlns:a16="http://schemas.microsoft.com/office/drawing/2014/main" id="{FBCAF291-A53B-411A-4EFA-822AF3D303D6}"/>
                </a:ext>
              </a:extLst>
            </p:cNvPr>
            <p:cNvSpPr/>
            <p:nvPr/>
          </p:nvSpPr>
          <p:spPr>
            <a:xfrm>
              <a:off x="4790525" y="3437075"/>
              <a:ext cx="437575" cy="294400"/>
            </a:xfrm>
            <a:custGeom>
              <a:avLst/>
              <a:gdLst/>
              <a:ahLst/>
              <a:cxnLst/>
              <a:rect l="l" t="t" r="r" b="b"/>
              <a:pathLst>
                <a:path w="17503" h="11776" extrusionOk="0">
                  <a:moveTo>
                    <a:pt x="2036" y="0"/>
                  </a:moveTo>
                  <a:cubicBezTo>
                    <a:pt x="0" y="0"/>
                    <a:pt x="6109" y="4612"/>
                    <a:pt x="10197" y="6838"/>
                  </a:cubicBezTo>
                  <a:cubicBezTo>
                    <a:pt x="13266" y="8506"/>
                    <a:pt x="16668" y="10007"/>
                    <a:pt x="17502" y="11775"/>
                  </a:cubicBezTo>
                  <a:cubicBezTo>
                    <a:pt x="17302" y="8073"/>
                    <a:pt x="17235" y="5471"/>
                    <a:pt x="14900" y="3503"/>
                  </a:cubicBezTo>
                  <a:cubicBezTo>
                    <a:pt x="12532" y="1568"/>
                    <a:pt x="7428" y="100"/>
                    <a:pt x="2058" y="0"/>
                  </a:cubicBezTo>
                  <a:cubicBezTo>
                    <a:pt x="2050" y="0"/>
                    <a:pt x="2043" y="0"/>
                    <a:pt x="2036" y="0"/>
                  </a:cubicBezTo>
                  <a:close/>
                </a:path>
              </a:pathLst>
            </a:custGeom>
            <a:solidFill>
              <a:srgbClr val="E6E6E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09;p26">
              <a:extLst>
                <a:ext uri="{FF2B5EF4-FFF2-40B4-BE49-F238E27FC236}">
                  <a16:creationId xmlns:a16="http://schemas.microsoft.com/office/drawing/2014/main" id="{AA886210-D970-676A-B12C-F83458FFAF3A}"/>
                </a:ext>
              </a:extLst>
            </p:cNvPr>
            <p:cNvSpPr/>
            <p:nvPr/>
          </p:nvSpPr>
          <p:spPr>
            <a:xfrm>
              <a:off x="5208900" y="3218575"/>
              <a:ext cx="716250" cy="468700"/>
            </a:xfrm>
            <a:custGeom>
              <a:avLst/>
              <a:gdLst/>
              <a:ahLst/>
              <a:cxnLst/>
              <a:rect l="l" t="t" r="r" b="b"/>
              <a:pathLst>
                <a:path w="28650" h="18748" extrusionOk="0">
                  <a:moveTo>
                    <a:pt x="25310" y="1"/>
                  </a:moveTo>
                  <a:cubicBezTo>
                    <a:pt x="25301" y="1"/>
                    <a:pt x="25293" y="1"/>
                    <a:pt x="25285" y="1"/>
                  </a:cubicBezTo>
                  <a:cubicBezTo>
                    <a:pt x="16645" y="101"/>
                    <a:pt x="8406" y="2369"/>
                    <a:pt x="4537" y="5471"/>
                  </a:cubicBezTo>
                  <a:cubicBezTo>
                    <a:pt x="701" y="8573"/>
                    <a:pt x="500" y="12776"/>
                    <a:pt x="0" y="18747"/>
                  </a:cubicBezTo>
                  <a:cubicBezTo>
                    <a:pt x="1401" y="15879"/>
                    <a:pt x="7239" y="12143"/>
                    <a:pt x="12876" y="9941"/>
                  </a:cubicBezTo>
                  <a:cubicBezTo>
                    <a:pt x="20995" y="6780"/>
                    <a:pt x="28650" y="1"/>
                    <a:pt x="25310" y="1"/>
                  </a:cubicBezTo>
                  <a:close/>
                </a:path>
              </a:pathLst>
            </a:custGeom>
            <a:solidFill>
              <a:srgbClr val="E6E6E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210;p26">
              <a:extLst>
                <a:ext uri="{FF2B5EF4-FFF2-40B4-BE49-F238E27FC236}">
                  <a16:creationId xmlns:a16="http://schemas.microsoft.com/office/drawing/2014/main" id="{4C349147-59B3-A10F-1736-B002F02A7DD6}"/>
                </a:ext>
              </a:extLst>
            </p:cNvPr>
            <p:cNvSpPr/>
            <p:nvPr/>
          </p:nvSpPr>
          <p:spPr>
            <a:xfrm>
              <a:off x="5207225" y="2963725"/>
              <a:ext cx="472650" cy="395825"/>
            </a:xfrm>
            <a:custGeom>
              <a:avLst/>
              <a:gdLst/>
              <a:ahLst/>
              <a:cxnLst/>
              <a:rect l="l" t="t" r="r" b="b"/>
              <a:pathLst>
                <a:path w="18906" h="15833" extrusionOk="0">
                  <a:moveTo>
                    <a:pt x="17021" y="0"/>
                  </a:moveTo>
                  <a:cubicBezTo>
                    <a:pt x="16948" y="0"/>
                    <a:pt x="16867" y="7"/>
                    <a:pt x="16779" y="21"/>
                  </a:cubicBezTo>
                  <a:cubicBezTo>
                    <a:pt x="10708" y="921"/>
                    <a:pt x="5037" y="3323"/>
                    <a:pt x="2536" y="5925"/>
                  </a:cubicBezTo>
                  <a:cubicBezTo>
                    <a:pt x="0" y="8493"/>
                    <a:pt x="67" y="11529"/>
                    <a:pt x="67" y="15832"/>
                  </a:cubicBezTo>
                  <a:cubicBezTo>
                    <a:pt x="901" y="13630"/>
                    <a:pt x="4770" y="10261"/>
                    <a:pt x="8640" y="8227"/>
                  </a:cubicBezTo>
                  <a:cubicBezTo>
                    <a:pt x="15705" y="4469"/>
                    <a:pt x="18906" y="0"/>
                    <a:pt x="17021" y="0"/>
                  </a:cubicBezTo>
                  <a:close/>
                </a:path>
              </a:pathLst>
            </a:custGeom>
            <a:solidFill>
              <a:srgbClr val="E6E6E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211;p26">
              <a:extLst>
                <a:ext uri="{FF2B5EF4-FFF2-40B4-BE49-F238E27FC236}">
                  <a16:creationId xmlns:a16="http://schemas.microsoft.com/office/drawing/2014/main" id="{CF151579-17FA-3DAA-79CA-C99D2ACF5199}"/>
                </a:ext>
              </a:extLst>
            </p:cNvPr>
            <p:cNvSpPr/>
            <p:nvPr/>
          </p:nvSpPr>
          <p:spPr>
            <a:xfrm>
              <a:off x="5037925" y="3913250"/>
              <a:ext cx="394475" cy="311075"/>
            </a:xfrm>
            <a:custGeom>
              <a:avLst/>
              <a:gdLst/>
              <a:ahLst/>
              <a:cxnLst/>
              <a:rect l="l" t="t" r="r" b="b"/>
              <a:pathLst>
                <a:path w="15779" h="12443" extrusionOk="0">
                  <a:moveTo>
                    <a:pt x="1" y="0"/>
                  </a:moveTo>
                  <a:lnTo>
                    <a:pt x="601" y="11942"/>
                  </a:lnTo>
                  <a:cubicBezTo>
                    <a:pt x="601" y="12209"/>
                    <a:pt x="868" y="12442"/>
                    <a:pt x="1135" y="12442"/>
                  </a:cubicBezTo>
                  <a:lnTo>
                    <a:pt x="14611" y="12442"/>
                  </a:lnTo>
                  <a:cubicBezTo>
                    <a:pt x="14912" y="12442"/>
                    <a:pt x="15145" y="12209"/>
                    <a:pt x="15145" y="11942"/>
                  </a:cubicBezTo>
                  <a:lnTo>
                    <a:pt x="15779"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212;p26">
              <a:extLst>
                <a:ext uri="{FF2B5EF4-FFF2-40B4-BE49-F238E27FC236}">
                  <a16:creationId xmlns:a16="http://schemas.microsoft.com/office/drawing/2014/main" id="{2D96FE34-27B5-FC58-1916-6A8AA1BBD5F8}"/>
                </a:ext>
              </a:extLst>
            </p:cNvPr>
            <p:cNvSpPr/>
            <p:nvPr/>
          </p:nvSpPr>
          <p:spPr>
            <a:xfrm>
              <a:off x="4999575" y="3861550"/>
              <a:ext cx="471200" cy="115100"/>
            </a:xfrm>
            <a:custGeom>
              <a:avLst/>
              <a:gdLst/>
              <a:ahLst/>
              <a:cxnLst/>
              <a:rect l="l" t="t" r="r" b="b"/>
              <a:pathLst>
                <a:path w="18848" h="4604" extrusionOk="0">
                  <a:moveTo>
                    <a:pt x="0" y="0"/>
                  </a:moveTo>
                  <a:lnTo>
                    <a:pt x="501" y="4603"/>
                  </a:lnTo>
                  <a:lnTo>
                    <a:pt x="18314" y="4603"/>
                  </a:lnTo>
                  <a:lnTo>
                    <a:pt x="18847"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213;p26">
              <a:extLst>
                <a:ext uri="{FF2B5EF4-FFF2-40B4-BE49-F238E27FC236}">
                  <a16:creationId xmlns:a16="http://schemas.microsoft.com/office/drawing/2014/main" id="{62EFE28F-F6A3-EEF9-9B37-AD609FF8BAC3}"/>
                </a:ext>
              </a:extLst>
            </p:cNvPr>
            <p:cNvSpPr/>
            <p:nvPr/>
          </p:nvSpPr>
          <p:spPr>
            <a:xfrm>
              <a:off x="1774775" y="4562875"/>
              <a:ext cx="4042900" cy="236025"/>
            </a:xfrm>
            <a:custGeom>
              <a:avLst/>
              <a:gdLst/>
              <a:ahLst/>
              <a:cxnLst/>
              <a:rect l="l" t="t" r="r" b="b"/>
              <a:pathLst>
                <a:path w="161716" h="9441" extrusionOk="0">
                  <a:moveTo>
                    <a:pt x="80858" y="1"/>
                  </a:moveTo>
                  <a:cubicBezTo>
                    <a:pt x="36193" y="1"/>
                    <a:pt x="0" y="2135"/>
                    <a:pt x="0" y="4737"/>
                  </a:cubicBezTo>
                  <a:cubicBezTo>
                    <a:pt x="0" y="7339"/>
                    <a:pt x="36193" y="9441"/>
                    <a:pt x="80858" y="9441"/>
                  </a:cubicBezTo>
                  <a:cubicBezTo>
                    <a:pt x="125523" y="9441"/>
                    <a:pt x="161716" y="7339"/>
                    <a:pt x="161716" y="4737"/>
                  </a:cubicBezTo>
                  <a:cubicBezTo>
                    <a:pt x="161716" y="2135"/>
                    <a:pt x="125523" y="1"/>
                    <a:pt x="80858" y="1"/>
                  </a:cubicBezTo>
                  <a:close/>
                </a:path>
              </a:pathLst>
            </a:custGeom>
            <a:solidFill>
              <a:srgbClr val="F5F5F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14;p26">
              <a:extLst>
                <a:ext uri="{FF2B5EF4-FFF2-40B4-BE49-F238E27FC236}">
                  <a16:creationId xmlns:a16="http://schemas.microsoft.com/office/drawing/2014/main" id="{3BDD7E64-B83F-9AD9-AB50-404D0F69C40C}"/>
                </a:ext>
              </a:extLst>
            </p:cNvPr>
            <p:cNvSpPr/>
            <p:nvPr/>
          </p:nvSpPr>
          <p:spPr>
            <a:xfrm>
              <a:off x="5155525" y="1032850"/>
              <a:ext cx="20025" cy="60075"/>
            </a:xfrm>
            <a:custGeom>
              <a:avLst/>
              <a:gdLst/>
              <a:ahLst/>
              <a:cxnLst/>
              <a:rect l="l" t="t" r="r" b="b"/>
              <a:pathLst>
                <a:path w="801" h="2403" extrusionOk="0">
                  <a:moveTo>
                    <a:pt x="367" y="0"/>
                  </a:moveTo>
                  <a:cubicBezTo>
                    <a:pt x="367" y="768"/>
                    <a:pt x="267" y="1535"/>
                    <a:pt x="0" y="2269"/>
                  </a:cubicBezTo>
                  <a:lnTo>
                    <a:pt x="401" y="2402"/>
                  </a:lnTo>
                  <a:cubicBezTo>
                    <a:pt x="667" y="1635"/>
                    <a:pt x="801" y="801"/>
                    <a:pt x="801"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15;p26">
              <a:extLst>
                <a:ext uri="{FF2B5EF4-FFF2-40B4-BE49-F238E27FC236}">
                  <a16:creationId xmlns:a16="http://schemas.microsoft.com/office/drawing/2014/main" id="{EA851B93-4A9B-2ECD-7617-98E1BFADB583}"/>
                </a:ext>
              </a:extLst>
            </p:cNvPr>
            <p:cNvSpPr/>
            <p:nvPr/>
          </p:nvSpPr>
          <p:spPr>
            <a:xfrm>
              <a:off x="5043775" y="850225"/>
              <a:ext cx="123450" cy="130100"/>
            </a:xfrm>
            <a:custGeom>
              <a:avLst/>
              <a:gdLst/>
              <a:ahLst/>
              <a:cxnLst/>
              <a:rect l="l" t="t" r="r" b="b"/>
              <a:pathLst>
                <a:path w="4938" h="5204" extrusionOk="0">
                  <a:moveTo>
                    <a:pt x="134" y="0"/>
                  </a:moveTo>
                  <a:lnTo>
                    <a:pt x="0" y="400"/>
                  </a:lnTo>
                  <a:cubicBezTo>
                    <a:pt x="2169" y="1168"/>
                    <a:pt x="3870" y="2969"/>
                    <a:pt x="4537" y="5204"/>
                  </a:cubicBezTo>
                  <a:lnTo>
                    <a:pt x="4937" y="5070"/>
                  </a:lnTo>
                  <a:cubicBezTo>
                    <a:pt x="4237" y="2702"/>
                    <a:pt x="2435" y="834"/>
                    <a:pt x="134"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16;p26">
              <a:extLst>
                <a:ext uri="{FF2B5EF4-FFF2-40B4-BE49-F238E27FC236}">
                  <a16:creationId xmlns:a16="http://schemas.microsoft.com/office/drawing/2014/main" id="{8D88313F-D5DD-F98A-E297-BDC3F348ADC2}"/>
                </a:ext>
              </a:extLst>
            </p:cNvPr>
            <p:cNvSpPr/>
            <p:nvPr/>
          </p:nvSpPr>
          <p:spPr>
            <a:xfrm>
              <a:off x="4786100" y="874600"/>
              <a:ext cx="352775" cy="347575"/>
            </a:xfrm>
            <a:custGeom>
              <a:avLst/>
              <a:gdLst/>
              <a:ahLst/>
              <a:cxnLst/>
              <a:rect l="l" t="t" r="r" b="b"/>
              <a:pathLst>
                <a:path w="14111" h="13903" extrusionOk="0">
                  <a:moveTo>
                    <a:pt x="7794" y="0"/>
                  </a:moveTo>
                  <a:cubicBezTo>
                    <a:pt x="6570" y="0"/>
                    <a:pt x="5313" y="362"/>
                    <a:pt x="4170" y="1160"/>
                  </a:cubicBezTo>
                  <a:cubicBezTo>
                    <a:pt x="0" y="4095"/>
                    <a:pt x="867" y="10533"/>
                    <a:pt x="5671" y="12235"/>
                  </a:cubicBezTo>
                  <a:lnTo>
                    <a:pt x="10007" y="13903"/>
                  </a:lnTo>
                  <a:lnTo>
                    <a:pt x="9207" y="12502"/>
                  </a:lnTo>
                  <a:cubicBezTo>
                    <a:pt x="12075" y="11834"/>
                    <a:pt x="14110" y="9266"/>
                    <a:pt x="14110" y="6330"/>
                  </a:cubicBezTo>
                  <a:cubicBezTo>
                    <a:pt x="14110" y="2591"/>
                    <a:pt x="11069" y="0"/>
                    <a:pt x="7794"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17;p26">
              <a:extLst>
                <a:ext uri="{FF2B5EF4-FFF2-40B4-BE49-F238E27FC236}">
                  <a16:creationId xmlns:a16="http://schemas.microsoft.com/office/drawing/2014/main" id="{F671D1E5-14D6-5497-1B03-3A9A84036241}"/>
                </a:ext>
              </a:extLst>
            </p:cNvPr>
            <p:cNvSpPr/>
            <p:nvPr/>
          </p:nvSpPr>
          <p:spPr>
            <a:xfrm>
              <a:off x="4737725" y="1017650"/>
              <a:ext cx="258550" cy="255400"/>
            </a:xfrm>
            <a:custGeom>
              <a:avLst/>
              <a:gdLst/>
              <a:ahLst/>
              <a:cxnLst/>
              <a:rect l="l" t="t" r="r" b="b"/>
              <a:pathLst>
                <a:path w="10342" h="10216" extrusionOk="0">
                  <a:moveTo>
                    <a:pt x="4647" y="1"/>
                  </a:moveTo>
                  <a:cubicBezTo>
                    <a:pt x="2251" y="1"/>
                    <a:pt x="0" y="1897"/>
                    <a:pt x="0" y="4645"/>
                  </a:cubicBezTo>
                  <a:cubicBezTo>
                    <a:pt x="0" y="6780"/>
                    <a:pt x="1501" y="8648"/>
                    <a:pt x="3636" y="9148"/>
                  </a:cubicBezTo>
                  <a:lnTo>
                    <a:pt x="3002" y="10215"/>
                  </a:lnTo>
                  <a:lnTo>
                    <a:pt x="6205" y="8981"/>
                  </a:lnTo>
                  <a:cubicBezTo>
                    <a:pt x="9707" y="7714"/>
                    <a:pt x="10341" y="3010"/>
                    <a:pt x="7272" y="842"/>
                  </a:cubicBezTo>
                  <a:cubicBezTo>
                    <a:pt x="6449" y="263"/>
                    <a:pt x="5538" y="1"/>
                    <a:pt x="4647"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18;p26">
              <a:extLst>
                <a:ext uri="{FF2B5EF4-FFF2-40B4-BE49-F238E27FC236}">
                  <a16:creationId xmlns:a16="http://schemas.microsoft.com/office/drawing/2014/main" id="{BFB93759-0CE1-268D-028D-8B6DF1D08A01}"/>
                </a:ext>
              </a:extLst>
            </p:cNvPr>
            <p:cNvSpPr/>
            <p:nvPr/>
          </p:nvSpPr>
          <p:spPr>
            <a:xfrm>
              <a:off x="5134675" y="1472325"/>
              <a:ext cx="371125" cy="376975"/>
            </a:xfrm>
            <a:custGeom>
              <a:avLst/>
              <a:gdLst/>
              <a:ahLst/>
              <a:cxnLst/>
              <a:rect l="l" t="t" r="r" b="b"/>
              <a:pathLst>
                <a:path w="14845" h="15079" extrusionOk="0">
                  <a:moveTo>
                    <a:pt x="8707" y="1"/>
                  </a:moveTo>
                  <a:cubicBezTo>
                    <a:pt x="7072" y="1420"/>
                    <a:pt x="3782" y="2525"/>
                    <a:pt x="1608" y="2525"/>
                  </a:cubicBezTo>
                  <a:cubicBezTo>
                    <a:pt x="1431" y="2525"/>
                    <a:pt x="1262" y="2518"/>
                    <a:pt x="1101" y="2502"/>
                  </a:cubicBezTo>
                  <a:lnTo>
                    <a:pt x="1101" y="2502"/>
                  </a:lnTo>
                  <a:cubicBezTo>
                    <a:pt x="0" y="9507"/>
                    <a:pt x="5871" y="15078"/>
                    <a:pt x="5871" y="15078"/>
                  </a:cubicBezTo>
                  <a:cubicBezTo>
                    <a:pt x="5871" y="15078"/>
                    <a:pt x="13343" y="12009"/>
                    <a:pt x="14844" y="5104"/>
                  </a:cubicBezTo>
                  <a:cubicBezTo>
                    <a:pt x="12809" y="4504"/>
                    <a:pt x="9774" y="2069"/>
                    <a:pt x="8707" y="1"/>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19;p26">
              <a:extLst>
                <a:ext uri="{FF2B5EF4-FFF2-40B4-BE49-F238E27FC236}">
                  <a16:creationId xmlns:a16="http://schemas.microsoft.com/office/drawing/2014/main" id="{3300EDEC-578C-2E49-5BC9-13C94446D7B6}"/>
                </a:ext>
              </a:extLst>
            </p:cNvPr>
            <p:cNvSpPr/>
            <p:nvPr/>
          </p:nvSpPr>
          <p:spPr>
            <a:xfrm>
              <a:off x="5177200" y="1509850"/>
              <a:ext cx="297750" cy="307750"/>
            </a:xfrm>
            <a:custGeom>
              <a:avLst/>
              <a:gdLst/>
              <a:ahLst/>
              <a:cxnLst/>
              <a:rect l="l" t="t" r="r" b="b"/>
              <a:pathLst>
                <a:path w="11910" h="12310" extrusionOk="0">
                  <a:moveTo>
                    <a:pt x="6705" y="1"/>
                  </a:moveTo>
                  <a:cubicBezTo>
                    <a:pt x="4771" y="1168"/>
                    <a:pt x="2569" y="1869"/>
                    <a:pt x="334" y="2036"/>
                  </a:cubicBezTo>
                  <a:cubicBezTo>
                    <a:pt x="1" y="6872"/>
                    <a:pt x="3169" y="10942"/>
                    <a:pt x="4404" y="12310"/>
                  </a:cubicBezTo>
                  <a:cubicBezTo>
                    <a:pt x="6072" y="11476"/>
                    <a:pt x="10475" y="8840"/>
                    <a:pt x="11909" y="4237"/>
                  </a:cubicBezTo>
                  <a:cubicBezTo>
                    <a:pt x="9874" y="3236"/>
                    <a:pt x="8106" y="1802"/>
                    <a:pt x="6705"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20;p26">
              <a:extLst>
                <a:ext uri="{FF2B5EF4-FFF2-40B4-BE49-F238E27FC236}">
                  <a16:creationId xmlns:a16="http://schemas.microsoft.com/office/drawing/2014/main" id="{2CCE44CB-0A0C-0E75-AA0A-20DDD817EDA9}"/>
                </a:ext>
              </a:extLst>
            </p:cNvPr>
            <p:cNvSpPr/>
            <p:nvPr/>
          </p:nvSpPr>
          <p:spPr>
            <a:xfrm>
              <a:off x="3405925" y="842700"/>
              <a:ext cx="331100" cy="151800"/>
            </a:xfrm>
            <a:custGeom>
              <a:avLst/>
              <a:gdLst/>
              <a:ahLst/>
              <a:cxnLst/>
              <a:rect l="l" t="t" r="r" b="b"/>
              <a:pathLst>
                <a:path w="13244" h="6072" extrusionOk="0">
                  <a:moveTo>
                    <a:pt x="5705" y="1"/>
                  </a:moveTo>
                  <a:lnTo>
                    <a:pt x="1" y="6072"/>
                  </a:lnTo>
                  <a:lnTo>
                    <a:pt x="13244" y="3470"/>
                  </a:lnTo>
                  <a:lnTo>
                    <a:pt x="5705" y="1"/>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21;p26">
              <a:extLst>
                <a:ext uri="{FF2B5EF4-FFF2-40B4-BE49-F238E27FC236}">
                  <a16:creationId xmlns:a16="http://schemas.microsoft.com/office/drawing/2014/main" id="{5D0CACE3-8813-512B-10CB-EF9F50D129A6}"/>
                </a:ext>
              </a:extLst>
            </p:cNvPr>
            <p:cNvSpPr/>
            <p:nvPr/>
          </p:nvSpPr>
          <p:spPr>
            <a:xfrm>
              <a:off x="3380925" y="929050"/>
              <a:ext cx="427825" cy="304350"/>
            </a:xfrm>
            <a:custGeom>
              <a:avLst/>
              <a:gdLst/>
              <a:ahLst/>
              <a:cxnLst/>
              <a:rect l="l" t="t" r="r" b="b"/>
              <a:pathLst>
                <a:path w="17113" h="12174" extrusionOk="0">
                  <a:moveTo>
                    <a:pt x="14437" y="1"/>
                  </a:moveTo>
                  <a:cubicBezTo>
                    <a:pt x="14374" y="1"/>
                    <a:pt x="14309" y="6"/>
                    <a:pt x="14244" y="16"/>
                  </a:cubicBezTo>
                  <a:lnTo>
                    <a:pt x="1001" y="2618"/>
                  </a:lnTo>
                  <a:cubicBezTo>
                    <a:pt x="401" y="2718"/>
                    <a:pt x="0" y="3318"/>
                    <a:pt x="100" y="3919"/>
                  </a:cubicBezTo>
                  <a:lnTo>
                    <a:pt x="1535" y="11258"/>
                  </a:lnTo>
                  <a:cubicBezTo>
                    <a:pt x="1654" y="11796"/>
                    <a:pt x="2123" y="12173"/>
                    <a:pt x="2675" y="12173"/>
                  </a:cubicBezTo>
                  <a:cubicBezTo>
                    <a:pt x="2739" y="12173"/>
                    <a:pt x="2804" y="12168"/>
                    <a:pt x="2869" y="12158"/>
                  </a:cubicBezTo>
                  <a:lnTo>
                    <a:pt x="16112" y="9556"/>
                  </a:lnTo>
                  <a:cubicBezTo>
                    <a:pt x="16712" y="9456"/>
                    <a:pt x="17112" y="8856"/>
                    <a:pt x="17012" y="8255"/>
                  </a:cubicBezTo>
                  <a:lnTo>
                    <a:pt x="15578" y="917"/>
                  </a:lnTo>
                  <a:cubicBezTo>
                    <a:pt x="15458" y="378"/>
                    <a:pt x="14990" y="1"/>
                    <a:pt x="14437" y="1"/>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22;p26">
              <a:extLst>
                <a:ext uri="{FF2B5EF4-FFF2-40B4-BE49-F238E27FC236}">
                  <a16:creationId xmlns:a16="http://schemas.microsoft.com/office/drawing/2014/main" id="{FBC4F113-111D-422E-5416-60C593AE9DBC}"/>
                </a:ext>
              </a:extLst>
            </p:cNvPr>
            <p:cNvSpPr/>
            <p:nvPr/>
          </p:nvSpPr>
          <p:spPr>
            <a:xfrm>
              <a:off x="3405925" y="929450"/>
              <a:ext cx="331100" cy="151800"/>
            </a:xfrm>
            <a:custGeom>
              <a:avLst/>
              <a:gdLst/>
              <a:ahLst/>
              <a:cxnLst/>
              <a:rect l="l" t="t" r="r" b="b"/>
              <a:pathLst>
                <a:path w="13244" h="6072" extrusionOk="0">
                  <a:moveTo>
                    <a:pt x="13244" y="0"/>
                  </a:moveTo>
                  <a:lnTo>
                    <a:pt x="1" y="2602"/>
                  </a:lnTo>
                  <a:lnTo>
                    <a:pt x="7573" y="6071"/>
                  </a:lnTo>
                  <a:lnTo>
                    <a:pt x="13244" y="0"/>
                  </a:lnTo>
                  <a:close/>
                </a:path>
              </a:pathLst>
            </a:custGeom>
            <a:solidFill>
              <a:srgbClr val="2F9C8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23;p26">
              <a:extLst>
                <a:ext uri="{FF2B5EF4-FFF2-40B4-BE49-F238E27FC236}">
                  <a16:creationId xmlns:a16="http://schemas.microsoft.com/office/drawing/2014/main" id="{29A19933-1AD6-FF53-54A1-A0EFB2A9E30C}"/>
                </a:ext>
              </a:extLst>
            </p:cNvPr>
            <p:cNvSpPr/>
            <p:nvPr/>
          </p:nvSpPr>
          <p:spPr>
            <a:xfrm>
              <a:off x="3409275" y="796850"/>
              <a:ext cx="296900" cy="284400"/>
            </a:xfrm>
            <a:custGeom>
              <a:avLst/>
              <a:gdLst/>
              <a:ahLst/>
              <a:cxnLst/>
              <a:rect l="l" t="t" r="r" b="b"/>
              <a:pathLst>
                <a:path w="11876" h="11376" extrusionOk="0">
                  <a:moveTo>
                    <a:pt x="9607" y="0"/>
                  </a:moveTo>
                  <a:lnTo>
                    <a:pt x="0" y="3269"/>
                  </a:lnTo>
                  <a:lnTo>
                    <a:pt x="1902" y="8840"/>
                  </a:lnTo>
                  <a:lnTo>
                    <a:pt x="7439" y="11375"/>
                  </a:lnTo>
                  <a:lnTo>
                    <a:pt x="11876" y="6638"/>
                  </a:lnTo>
                  <a:lnTo>
                    <a:pt x="9607" y="0"/>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24;p26">
              <a:extLst>
                <a:ext uri="{FF2B5EF4-FFF2-40B4-BE49-F238E27FC236}">
                  <a16:creationId xmlns:a16="http://schemas.microsoft.com/office/drawing/2014/main" id="{B87DC304-6D25-7B6D-FE2F-307E2923CF6D}"/>
                </a:ext>
              </a:extLst>
            </p:cNvPr>
            <p:cNvSpPr/>
            <p:nvPr/>
          </p:nvSpPr>
          <p:spPr>
            <a:xfrm>
              <a:off x="3409275" y="796850"/>
              <a:ext cx="296900" cy="284400"/>
            </a:xfrm>
            <a:custGeom>
              <a:avLst/>
              <a:gdLst/>
              <a:ahLst/>
              <a:cxnLst/>
              <a:rect l="l" t="t" r="r" b="b"/>
              <a:pathLst>
                <a:path w="11876" h="11376" extrusionOk="0">
                  <a:moveTo>
                    <a:pt x="9607" y="0"/>
                  </a:moveTo>
                  <a:lnTo>
                    <a:pt x="0" y="3269"/>
                  </a:lnTo>
                  <a:lnTo>
                    <a:pt x="1902" y="8840"/>
                  </a:lnTo>
                  <a:lnTo>
                    <a:pt x="7439" y="11375"/>
                  </a:lnTo>
                  <a:lnTo>
                    <a:pt x="11876" y="6638"/>
                  </a:lnTo>
                  <a:lnTo>
                    <a:pt x="9607"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25;p26">
              <a:extLst>
                <a:ext uri="{FF2B5EF4-FFF2-40B4-BE49-F238E27FC236}">
                  <a16:creationId xmlns:a16="http://schemas.microsoft.com/office/drawing/2014/main" id="{B7E3F5D1-8A31-3D24-88D5-167DB115D1A8}"/>
                </a:ext>
              </a:extLst>
            </p:cNvPr>
            <p:cNvSpPr/>
            <p:nvPr/>
          </p:nvSpPr>
          <p:spPr>
            <a:xfrm>
              <a:off x="3149075" y="1414800"/>
              <a:ext cx="253550" cy="252700"/>
            </a:xfrm>
            <a:custGeom>
              <a:avLst/>
              <a:gdLst/>
              <a:ahLst/>
              <a:cxnLst/>
              <a:rect l="l" t="t" r="r" b="b"/>
              <a:pathLst>
                <a:path w="10142" h="10108" extrusionOk="0">
                  <a:moveTo>
                    <a:pt x="5063" y="2982"/>
                  </a:moveTo>
                  <a:cubicBezTo>
                    <a:pt x="5924" y="2982"/>
                    <a:pt x="6780" y="3500"/>
                    <a:pt x="7073" y="4470"/>
                  </a:cubicBezTo>
                  <a:cubicBezTo>
                    <a:pt x="7406" y="5604"/>
                    <a:pt x="6739" y="6738"/>
                    <a:pt x="5638" y="7072"/>
                  </a:cubicBezTo>
                  <a:cubicBezTo>
                    <a:pt x="5442" y="7127"/>
                    <a:pt x="5248" y="7153"/>
                    <a:pt x="5061" y="7153"/>
                  </a:cubicBezTo>
                  <a:cubicBezTo>
                    <a:pt x="3559" y="7153"/>
                    <a:pt x="2436" y="5493"/>
                    <a:pt x="3237" y="4070"/>
                  </a:cubicBezTo>
                  <a:cubicBezTo>
                    <a:pt x="3643" y="3332"/>
                    <a:pt x="4355" y="2982"/>
                    <a:pt x="5063" y="2982"/>
                  </a:cubicBezTo>
                  <a:close/>
                  <a:moveTo>
                    <a:pt x="4704" y="0"/>
                  </a:moveTo>
                  <a:lnTo>
                    <a:pt x="2703" y="567"/>
                  </a:lnTo>
                  <a:lnTo>
                    <a:pt x="2636" y="1334"/>
                  </a:lnTo>
                  <a:cubicBezTo>
                    <a:pt x="2403" y="1501"/>
                    <a:pt x="2169" y="1668"/>
                    <a:pt x="1969" y="1868"/>
                  </a:cubicBezTo>
                  <a:lnTo>
                    <a:pt x="1235" y="1735"/>
                  </a:lnTo>
                  <a:lnTo>
                    <a:pt x="234" y="3603"/>
                  </a:lnTo>
                  <a:lnTo>
                    <a:pt x="735" y="4136"/>
                  </a:lnTo>
                  <a:cubicBezTo>
                    <a:pt x="668" y="4437"/>
                    <a:pt x="635" y="4703"/>
                    <a:pt x="635" y="5004"/>
                  </a:cubicBezTo>
                  <a:lnTo>
                    <a:pt x="1" y="5437"/>
                  </a:lnTo>
                  <a:lnTo>
                    <a:pt x="601" y="7439"/>
                  </a:lnTo>
                  <a:lnTo>
                    <a:pt x="1335" y="7472"/>
                  </a:lnTo>
                  <a:cubicBezTo>
                    <a:pt x="1502" y="7739"/>
                    <a:pt x="1669" y="7939"/>
                    <a:pt x="1869" y="8173"/>
                  </a:cubicBezTo>
                  <a:lnTo>
                    <a:pt x="1769" y="8906"/>
                  </a:lnTo>
                  <a:lnTo>
                    <a:pt x="3604" y="9907"/>
                  </a:lnTo>
                  <a:lnTo>
                    <a:pt x="4137" y="9407"/>
                  </a:lnTo>
                  <a:cubicBezTo>
                    <a:pt x="4437" y="9473"/>
                    <a:pt x="4738" y="9507"/>
                    <a:pt x="5005" y="9507"/>
                  </a:cubicBezTo>
                  <a:lnTo>
                    <a:pt x="5438" y="10107"/>
                  </a:lnTo>
                  <a:lnTo>
                    <a:pt x="7440" y="9540"/>
                  </a:lnTo>
                  <a:lnTo>
                    <a:pt x="7473" y="8773"/>
                  </a:lnTo>
                  <a:cubicBezTo>
                    <a:pt x="7740" y="8606"/>
                    <a:pt x="7973" y="8439"/>
                    <a:pt x="8173" y="8239"/>
                  </a:cubicBezTo>
                  <a:lnTo>
                    <a:pt x="8907" y="8373"/>
                  </a:lnTo>
                  <a:lnTo>
                    <a:pt x="9908" y="6538"/>
                  </a:lnTo>
                  <a:lnTo>
                    <a:pt x="9408" y="5971"/>
                  </a:lnTo>
                  <a:cubicBezTo>
                    <a:pt x="9474" y="5704"/>
                    <a:pt x="9508" y="5404"/>
                    <a:pt x="9508" y="5137"/>
                  </a:cubicBezTo>
                  <a:lnTo>
                    <a:pt x="10142" y="4703"/>
                  </a:lnTo>
                  <a:lnTo>
                    <a:pt x="9541" y="2669"/>
                  </a:lnTo>
                  <a:lnTo>
                    <a:pt x="8807" y="2635"/>
                  </a:lnTo>
                  <a:cubicBezTo>
                    <a:pt x="8640" y="2402"/>
                    <a:pt x="8474" y="2168"/>
                    <a:pt x="8274" y="1968"/>
                  </a:cubicBezTo>
                  <a:lnTo>
                    <a:pt x="8374" y="1234"/>
                  </a:lnTo>
                  <a:lnTo>
                    <a:pt x="6539" y="200"/>
                  </a:lnTo>
                  <a:lnTo>
                    <a:pt x="5972" y="701"/>
                  </a:lnTo>
                  <a:cubicBezTo>
                    <a:pt x="5705" y="634"/>
                    <a:pt x="5405" y="600"/>
                    <a:pt x="5138" y="600"/>
                  </a:cubicBezTo>
                  <a:lnTo>
                    <a:pt x="4704" y="0"/>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26;p26">
              <a:extLst>
                <a:ext uri="{FF2B5EF4-FFF2-40B4-BE49-F238E27FC236}">
                  <a16:creationId xmlns:a16="http://schemas.microsoft.com/office/drawing/2014/main" id="{15F38600-3B08-A514-FE27-708F1B0A44BC}"/>
                </a:ext>
              </a:extLst>
            </p:cNvPr>
            <p:cNvSpPr/>
            <p:nvPr/>
          </p:nvSpPr>
          <p:spPr>
            <a:xfrm>
              <a:off x="2994800" y="1413950"/>
              <a:ext cx="155150" cy="155150"/>
            </a:xfrm>
            <a:custGeom>
              <a:avLst/>
              <a:gdLst/>
              <a:ahLst/>
              <a:cxnLst/>
              <a:rect l="l" t="t" r="r" b="b"/>
              <a:pathLst>
                <a:path w="6206" h="6206" extrusionOk="0">
                  <a:moveTo>
                    <a:pt x="3106" y="995"/>
                  </a:moveTo>
                  <a:cubicBezTo>
                    <a:pt x="3975" y="995"/>
                    <a:pt x="4842" y="1524"/>
                    <a:pt x="5138" y="2502"/>
                  </a:cubicBezTo>
                  <a:cubicBezTo>
                    <a:pt x="5438" y="3603"/>
                    <a:pt x="4804" y="4771"/>
                    <a:pt x="3704" y="5104"/>
                  </a:cubicBezTo>
                  <a:cubicBezTo>
                    <a:pt x="3504" y="5160"/>
                    <a:pt x="3307" y="5186"/>
                    <a:pt x="3118" y="5186"/>
                  </a:cubicBezTo>
                  <a:cubicBezTo>
                    <a:pt x="1599" y="5186"/>
                    <a:pt x="501" y="3522"/>
                    <a:pt x="1302" y="2069"/>
                  </a:cubicBezTo>
                  <a:cubicBezTo>
                    <a:pt x="1704" y="1339"/>
                    <a:pt x="2405" y="995"/>
                    <a:pt x="3106" y="995"/>
                  </a:cubicBezTo>
                  <a:close/>
                  <a:moveTo>
                    <a:pt x="2903" y="1"/>
                  </a:moveTo>
                  <a:lnTo>
                    <a:pt x="1635" y="334"/>
                  </a:lnTo>
                  <a:lnTo>
                    <a:pt x="1602" y="801"/>
                  </a:lnTo>
                  <a:cubicBezTo>
                    <a:pt x="1469" y="901"/>
                    <a:pt x="1335" y="1001"/>
                    <a:pt x="1202" y="1135"/>
                  </a:cubicBezTo>
                  <a:lnTo>
                    <a:pt x="735" y="1068"/>
                  </a:lnTo>
                  <a:lnTo>
                    <a:pt x="134" y="2202"/>
                  </a:lnTo>
                  <a:lnTo>
                    <a:pt x="435" y="2536"/>
                  </a:lnTo>
                  <a:cubicBezTo>
                    <a:pt x="401" y="2703"/>
                    <a:pt x="368" y="2869"/>
                    <a:pt x="368" y="3070"/>
                  </a:cubicBezTo>
                  <a:lnTo>
                    <a:pt x="1" y="3303"/>
                  </a:lnTo>
                  <a:lnTo>
                    <a:pt x="368" y="4571"/>
                  </a:lnTo>
                  <a:lnTo>
                    <a:pt x="801" y="4604"/>
                  </a:lnTo>
                  <a:cubicBezTo>
                    <a:pt x="902" y="4737"/>
                    <a:pt x="1035" y="4871"/>
                    <a:pt x="1135" y="5004"/>
                  </a:cubicBezTo>
                  <a:lnTo>
                    <a:pt x="1068" y="5471"/>
                  </a:lnTo>
                  <a:lnTo>
                    <a:pt x="2202" y="6072"/>
                  </a:lnTo>
                  <a:lnTo>
                    <a:pt x="2536" y="5771"/>
                  </a:lnTo>
                  <a:cubicBezTo>
                    <a:pt x="2703" y="5805"/>
                    <a:pt x="2870" y="5838"/>
                    <a:pt x="3070" y="5838"/>
                  </a:cubicBezTo>
                  <a:lnTo>
                    <a:pt x="3337" y="6205"/>
                  </a:lnTo>
                  <a:lnTo>
                    <a:pt x="4571" y="5838"/>
                  </a:lnTo>
                  <a:lnTo>
                    <a:pt x="4604" y="5405"/>
                  </a:lnTo>
                  <a:cubicBezTo>
                    <a:pt x="4738" y="5304"/>
                    <a:pt x="4904" y="5204"/>
                    <a:pt x="5004" y="5071"/>
                  </a:cubicBezTo>
                  <a:lnTo>
                    <a:pt x="5471" y="5138"/>
                  </a:lnTo>
                  <a:lnTo>
                    <a:pt x="6105" y="4004"/>
                  </a:lnTo>
                  <a:lnTo>
                    <a:pt x="5772" y="3670"/>
                  </a:lnTo>
                  <a:cubicBezTo>
                    <a:pt x="5805" y="3503"/>
                    <a:pt x="5838" y="3336"/>
                    <a:pt x="5838" y="3136"/>
                  </a:cubicBezTo>
                  <a:lnTo>
                    <a:pt x="6205" y="2869"/>
                  </a:lnTo>
                  <a:lnTo>
                    <a:pt x="5872" y="1635"/>
                  </a:lnTo>
                  <a:lnTo>
                    <a:pt x="5405" y="1602"/>
                  </a:lnTo>
                  <a:cubicBezTo>
                    <a:pt x="5305" y="1468"/>
                    <a:pt x="5205" y="1335"/>
                    <a:pt x="5071" y="1202"/>
                  </a:cubicBezTo>
                  <a:lnTo>
                    <a:pt x="5138" y="735"/>
                  </a:lnTo>
                  <a:lnTo>
                    <a:pt x="4037" y="134"/>
                  </a:lnTo>
                  <a:lnTo>
                    <a:pt x="3670" y="434"/>
                  </a:lnTo>
                  <a:cubicBezTo>
                    <a:pt x="3503" y="401"/>
                    <a:pt x="3337" y="368"/>
                    <a:pt x="3170" y="368"/>
                  </a:cubicBezTo>
                  <a:lnTo>
                    <a:pt x="2903" y="1"/>
                  </a:ln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27;p26">
              <a:extLst>
                <a:ext uri="{FF2B5EF4-FFF2-40B4-BE49-F238E27FC236}">
                  <a16:creationId xmlns:a16="http://schemas.microsoft.com/office/drawing/2014/main" id="{00E8DF6F-5FC3-1E99-8854-B7785F4762D5}"/>
                </a:ext>
              </a:extLst>
            </p:cNvPr>
            <p:cNvSpPr/>
            <p:nvPr/>
          </p:nvSpPr>
          <p:spPr>
            <a:xfrm>
              <a:off x="4153975" y="1241350"/>
              <a:ext cx="150575" cy="177925"/>
            </a:xfrm>
            <a:custGeom>
              <a:avLst/>
              <a:gdLst/>
              <a:ahLst/>
              <a:cxnLst/>
              <a:rect l="l" t="t" r="r" b="b"/>
              <a:pathLst>
                <a:path w="6023" h="7117" extrusionOk="0">
                  <a:moveTo>
                    <a:pt x="3311" y="0"/>
                  </a:moveTo>
                  <a:cubicBezTo>
                    <a:pt x="1852" y="0"/>
                    <a:pt x="1239" y="1108"/>
                    <a:pt x="1268" y="2602"/>
                  </a:cubicBezTo>
                  <a:cubicBezTo>
                    <a:pt x="1335" y="4303"/>
                    <a:pt x="0" y="6771"/>
                    <a:pt x="1702" y="7105"/>
                  </a:cubicBezTo>
                  <a:cubicBezTo>
                    <a:pt x="1741" y="7113"/>
                    <a:pt x="1781" y="7116"/>
                    <a:pt x="1822" y="7116"/>
                  </a:cubicBezTo>
                  <a:cubicBezTo>
                    <a:pt x="3524" y="7116"/>
                    <a:pt x="6022" y="425"/>
                    <a:pt x="3970" y="66"/>
                  </a:cubicBezTo>
                  <a:cubicBezTo>
                    <a:pt x="3734" y="22"/>
                    <a:pt x="3514" y="0"/>
                    <a:pt x="3311"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28;p26">
              <a:extLst>
                <a:ext uri="{FF2B5EF4-FFF2-40B4-BE49-F238E27FC236}">
                  <a16:creationId xmlns:a16="http://schemas.microsoft.com/office/drawing/2014/main" id="{98E3A40C-1F8D-4C9D-945C-79FD8A5BF657}"/>
                </a:ext>
              </a:extLst>
            </p:cNvPr>
            <p:cNvSpPr/>
            <p:nvPr/>
          </p:nvSpPr>
          <p:spPr>
            <a:xfrm>
              <a:off x="3681125" y="2469700"/>
              <a:ext cx="648825" cy="1984800"/>
            </a:xfrm>
            <a:custGeom>
              <a:avLst/>
              <a:gdLst/>
              <a:ahLst/>
              <a:cxnLst/>
              <a:rect l="l" t="t" r="r" b="b"/>
              <a:pathLst>
                <a:path w="25953" h="79392" extrusionOk="0">
                  <a:moveTo>
                    <a:pt x="10075" y="1"/>
                  </a:moveTo>
                  <a:cubicBezTo>
                    <a:pt x="10075" y="1"/>
                    <a:pt x="7640" y="27187"/>
                    <a:pt x="6272" y="38762"/>
                  </a:cubicBezTo>
                  <a:cubicBezTo>
                    <a:pt x="4838" y="50771"/>
                    <a:pt x="1" y="77423"/>
                    <a:pt x="1" y="77423"/>
                  </a:cubicBezTo>
                  <a:lnTo>
                    <a:pt x="6972" y="79391"/>
                  </a:lnTo>
                  <a:cubicBezTo>
                    <a:pt x="6972" y="79391"/>
                    <a:pt x="14778" y="53272"/>
                    <a:pt x="15779" y="38328"/>
                  </a:cubicBezTo>
                  <a:cubicBezTo>
                    <a:pt x="21550" y="21783"/>
                    <a:pt x="25953" y="234"/>
                    <a:pt x="25953" y="234"/>
                  </a:cubicBezTo>
                  <a:lnTo>
                    <a:pt x="10075" y="1"/>
                  </a:ln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29;p26">
              <a:extLst>
                <a:ext uri="{FF2B5EF4-FFF2-40B4-BE49-F238E27FC236}">
                  <a16:creationId xmlns:a16="http://schemas.microsoft.com/office/drawing/2014/main" id="{454C7B90-6014-D8A9-7897-D01207E1DF76}"/>
                </a:ext>
              </a:extLst>
            </p:cNvPr>
            <p:cNvSpPr/>
            <p:nvPr/>
          </p:nvSpPr>
          <p:spPr>
            <a:xfrm>
              <a:off x="4124775" y="2774925"/>
              <a:ext cx="100100" cy="501225"/>
            </a:xfrm>
            <a:custGeom>
              <a:avLst/>
              <a:gdLst/>
              <a:ahLst/>
              <a:cxnLst/>
              <a:rect l="l" t="t" r="r" b="b"/>
              <a:pathLst>
                <a:path w="4004" h="20049" extrusionOk="0">
                  <a:moveTo>
                    <a:pt x="1035" y="1"/>
                  </a:moveTo>
                  <a:cubicBezTo>
                    <a:pt x="1035" y="1"/>
                    <a:pt x="568" y="12710"/>
                    <a:pt x="1" y="20048"/>
                  </a:cubicBezTo>
                  <a:cubicBezTo>
                    <a:pt x="1502" y="15278"/>
                    <a:pt x="2836" y="10375"/>
                    <a:pt x="4004" y="5872"/>
                  </a:cubicBezTo>
                  <a:lnTo>
                    <a:pt x="1035" y="1"/>
                  </a:lnTo>
                  <a:close/>
                </a:path>
              </a:pathLst>
            </a:custGeom>
            <a:solidFill>
              <a:srgbClr val="1C242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30;p26">
              <a:extLst>
                <a:ext uri="{FF2B5EF4-FFF2-40B4-BE49-F238E27FC236}">
                  <a16:creationId xmlns:a16="http://schemas.microsoft.com/office/drawing/2014/main" id="{5DFDDB58-D5EB-C192-61BA-0672ABDFDA70}"/>
                </a:ext>
              </a:extLst>
            </p:cNvPr>
            <p:cNvSpPr/>
            <p:nvPr/>
          </p:nvSpPr>
          <p:spPr>
            <a:xfrm>
              <a:off x="3484325" y="4394425"/>
              <a:ext cx="365275" cy="287475"/>
            </a:xfrm>
            <a:custGeom>
              <a:avLst/>
              <a:gdLst/>
              <a:ahLst/>
              <a:cxnLst/>
              <a:rect l="l" t="t" r="r" b="b"/>
              <a:pathLst>
                <a:path w="14611" h="11499" extrusionOk="0">
                  <a:moveTo>
                    <a:pt x="8974" y="0"/>
                  </a:moveTo>
                  <a:cubicBezTo>
                    <a:pt x="8974" y="0"/>
                    <a:pt x="8106" y="4103"/>
                    <a:pt x="7439" y="5204"/>
                  </a:cubicBezTo>
                  <a:cubicBezTo>
                    <a:pt x="6095" y="5597"/>
                    <a:pt x="4623" y="6506"/>
                    <a:pt x="2041" y="6506"/>
                  </a:cubicBezTo>
                  <a:cubicBezTo>
                    <a:pt x="1995" y="6506"/>
                    <a:pt x="1949" y="6506"/>
                    <a:pt x="1902" y="6505"/>
                  </a:cubicBezTo>
                  <a:cubicBezTo>
                    <a:pt x="668" y="6505"/>
                    <a:pt x="1" y="8306"/>
                    <a:pt x="1502" y="8740"/>
                  </a:cubicBezTo>
                  <a:cubicBezTo>
                    <a:pt x="3937" y="9474"/>
                    <a:pt x="5805" y="9707"/>
                    <a:pt x="7906" y="10341"/>
                  </a:cubicBezTo>
                  <a:cubicBezTo>
                    <a:pt x="9674" y="10875"/>
                    <a:pt x="10108" y="11175"/>
                    <a:pt x="11142" y="11475"/>
                  </a:cubicBezTo>
                  <a:cubicBezTo>
                    <a:pt x="11194" y="11491"/>
                    <a:pt x="11248" y="11498"/>
                    <a:pt x="11301" y="11498"/>
                  </a:cubicBezTo>
                  <a:cubicBezTo>
                    <a:pt x="11583" y="11498"/>
                    <a:pt x="11853" y="11284"/>
                    <a:pt x="11909" y="10975"/>
                  </a:cubicBezTo>
                  <a:lnTo>
                    <a:pt x="12509" y="7606"/>
                  </a:lnTo>
                  <a:cubicBezTo>
                    <a:pt x="12943" y="5871"/>
                    <a:pt x="14611" y="2002"/>
                    <a:pt x="14611" y="2002"/>
                  </a:cubicBezTo>
                  <a:lnTo>
                    <a:pt x="8974" y="0"/>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31;p26">
              <a:extLst>
                <a:ext uri="{FF2B5EF4-FFF2-40B4-BE49-F238E27FC236}">
                  <a16:creationId xmlns:a16="http://schemas.microsoft.com/office/drawing/2014/main" id="{95A0EA4B-248F-73F1-09A7-2D3CD54E7463}"/>
                </a:ext>
              </a:extLst>
            </p:cNvPr>
            <p:cNvSpPr/>
            <p:nvPr/>
          </p:nvSpPr>
          <p:spPr>
            <a:xfrm>
              <a:off x="3671125" y="4345400"/>
              <a:ext cx="213500" cy="133275"/>
            </a:xfrm>
            <a:custGeom>
              <a:avLst/>
              <a:gdLst/>
              <a:ahLst/>
              <a:cxnLst/>
              <a:rect l="l" t="t" r="r" b="b"/>
              <a:pathLst>
                <a:path w="8540" h="5331" extrusionOk="0">
                  <a:moveTo>
                    <a:pt x="1009" y="1"/>
                  </a:moveTo>
                  <a:cubicBezTo>
                    <a:pt x="759" y="1"/>
                    <a:pt x="523" y="185"/>
                    <a:pt x="468" y="460"/>
                  </a:cubicBezTo>
                  <a:lnTo>
                    <a:pt x="34" y="2795"/>
                  </a:lnTo>
                  <a:cubicBezTo>
                    <a:pt x="1" y="3062"/>
                    <a:pt x="167" y="3329"/>
                    <a:pt x="434" y="3396"/>
                  </a:cubicBezTo>
                  <a:lnTo>
                    <a:pt x="6805" y="5297"/>
                  </a:lnTo>
                  <a:cubicBezTo>
                    <a:pt x="6865" y="5320"/>
                    <a:pt x="6926" y="5330"/>
                    <a:pt x="6984" y="5330"/>
                  </a:cubicBezTo>
                  <a:cubicBezTo>
                    <a:pt x="7186" y="5330"/>
                    <a:pt x="7369" y="5204"/>
                    <a:pt x="7473" y="4997"/>
                  </a:cubicBezTo>
                  <a:lnTo>
                    <a:pt x="8407" y="2929"/>
                  </a:lnTo>
                  <a:cubicBezTo>
                    <a:pt x="8540" y="2662"/>
                    <a:pt x="8407" y="2295"/>
                    <a:pt x="8073" y="2195"/>
                  </a:cubicBezTo>
                  <a:lnTo>
                    <a:pt x="1168" y="27"/>
                  </a:lnTo>
                  <a:cubicBezTo>
                    <a:pt x="1115" y="9"/>
                    <a:pt x="1062" y="1"/>
                    <a:pt x="1009"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32;p26">
              <a:extLst>
                <a:ext uri="{FF2B5EF4-FFF2-40B4-BE49-F238E27FC236}">
                  <a16:creationId xmlns:a16="http://schemas.microsoft.com/office/drawing/2014/main" id="{4D569066-1953-F522-EAA8-C3F74707D68C}"/>
                </a:ext>
              </a:extLst>
            </p:cNvPr>
            <p:cNvSpPr/>
            <p:nvPr/>
          </p:nvSpPr>
          <p:spPr>
            <a:xfrm>
              <a:off x="3671125" y="4345400"/>
              <a:ext cx="213500" cy="133275"/>
            </a:xfrm>
            <a:custGeom>
              <a:avLst/>
              <a:gdLst/>
              <a:ahLst/>
              <a:cxnLst/>
              <a:rect l="l" t="t" r="r" b="b"/>
              <a:pathLst>
                <a:path w="8540" h="5331" extrusionOk="0">
                  <a:moveTo>
                    <a:pt x="1009" y="1"/>
                  </a:moveTo>
                  <a:cubicBezTo>
                    <a:pt x="759" y="1"/>
                    <a:pt x="523" y="185"/>
                    <a:pt x="468" y="460"/>
                  </a:cubicBezTo>
                  <a:lnTo>
                    <a:pt x="34" y="2795"/>
                  </a:lnTo>
                  <a:cubicBezTo>
                    <a:pt x="1" y="3062"/>
                    <a:pt x="167" y="3329"/>
                    <a:pt x="434" y="3396"/>
                  </a:cubicBezTo>
                  <a:lnTo>
                    <a:pt x="6805" y="5297"/>
                  </a:lnTo>
                  <a:cubicBezTo>
                    <a:pt x="6865" y="5320"/>
                    <a:pt x="6926" y="5330"/>
                    <a:pt x="6984" y="5330"/>
                  </a:cubicBezTo>
                  <a:cubicBezTo>
                    <a:pt x="7186" y="5330"/>
                    <a:pt x="7369" y="5204"/>
                    <a:pt x="7473" y="4997"/>
                  </a:cubicBezTo>
                  <a:lnTo>
                    <a:pt x="8407" y="2929"/>
                  </a:lnTo>
                  <a:cubicBezTo>
                    <a:pt x="8540" y="2662"/>
                    <a:pt x="8407" y="2295"/>
                    <a:pt x="8073" y="2195"/>
                  </a:cubicBezTo>
                  <a:lnTo>
                    <a:pt x="1168" y="27"/>
                  </a:lnTo>
                  <a:cubicBezTo>
                    <a:pt x="1115" y="9"/>
                    <a:pt x="1062" y="1"/>
                    <a:pt x="1009" y="1"/>
                  </a:cubicBezTo>
                  <a:close/>
                </a:path>
              </a:pathLst>
            </a:custGeom>
            <a:solidFill>
              <a:srgbClr val="B7B7B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33;p26">
              <a:extLst>
                <a:ext uri="{FF2B5EF4-FFF2-40B4-BE49-F238E27FC236}">
                  <a16:creationId xmlns:a16="http://schemas.microsoft.com/office/drawing/2014/main" id="{D84445EC-FD30-DF5D-5704-61A7CCAA7011}"/>
                </a:ext>
              </a:extLst>
            </p:cNvPr>
            <p:cNvSpPr/>
            <p:nvPr/>
          </p:nvSpPr>
          <p:spPr>
            <a:xfrm>
              <a:off x="4230700" y="4431950"/>
              <a:ext cx="291900" cy="248775"/>
            </a:xfrm>
            <a:custGeom>
              <a:avLst/>
              <a:gdLst/>
              <a:ahLst/>
              <a:cxnLst/>
              <a:rect l="l" t="t" r="r" b="b"/>
              <a:pathLst>
                <a:path w="11676" h="9951" extrusionOk="0">
                  <a:moveTo>
                    <a:pt x="10775" y="0"/>
                  </a:moveTo>
                  <a:lnTo>
                    <a:pt x="5171" y="134"/>
                  </a:lnTo>
                  <a:cubicBezTo>
                    <a:pt x="5171" y="134"/>
                    <a:pt x="5604" y="3870"/>
                    <a:pt x="5571" y="5204"/>
                  </a:cubicBezTo>
                  <a:cubicBezTo>
                    <a:pt x="4503" y="5971"/>
                    <a:pt x="3403" y="7005"/>
                    <a:pt x="1068" y="7706"/>
                  </a:cubicBezTo>
                  <a:cubicBezTo>
                    <a:pt x="0" y="8040"/>
                    <a:pt x="100" y="9941"/>
                    <a:pt x="1535" y="9941"/>
                  </a:cubicBezTo>
                  <a:cubicBezTo>
                    <a:pt x="1776" y="9948"/>
                    <a:pt x="2011" y="9951"/>
                    <a:pt x="2239" y="9951"/>
                  </a:cubicBezTo>
                  <a:cubicBezTo>
                    <a:pt x="4162" y="9951"/>
                    <a:pt x="5660" y="9738"/>
                    <a:pt x="7380" y="9738"/>
                  </a:cubicBezTo>
                  <a:cubicBezTo>
                    <a:pt x="7488" y="9738"/>
                    <a:pt x="7596" y="9739"/>
                    <a:pt x="7706" y="9741"/>
                  </a:cubicBezTo>
                  <a:cubicBezTo>
                    <a:pt x="9440" y="9774"/>
                    <a:pt x="9640" y="9941"/>
                    <a:pt x="10674" y="9941"/>
                  </a:cubicBezTo>
                  <a:cubicBezTo>
                    <a:pt x="11275" y="9941"/>
                    <a:pt x="11675" y="9374"/>
                    <a:pt x="11508" y="8807"/>
                  </a:cubicBezTo>
                  <a:lnTo>
                    <a:pt x="10841" y="5871"/>
                  </a:lnTo>
                  <a:cubicBezTo>
                    <a:pt x="10641" y="4103"/>
                    <a:pt x="10775" y="0"/>
                    <a:pt x="10775"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34;p26">
              <a:extLst>
                <a:ext uri="{FF2B5EF4-FFF2-40B4-BE49-F238E27FC236}">
                  <a16:creationId xmlns:a16="http://schemas.microsoft.com/office/drawing/2014/main" id="{714A9629-B047-2315-78B9-A69519BC68CB}"/>
                </a:ext>
              </a:extLst>
            </p:cNvPr>
            <p:cNvSpPr/>
            <p:nvPr/>
          </p:nvSpPr>
          <p:spPr>
            <a:xfrm>
              <a:off x="4080575" y="2472200"/>
              <a:ext cx="457025" cy="1962275"/>
            </a:xfrm>
            <a:custGeom>
              <a:avLst/>
              <a:gdLst/>
              <a:ahLst/>
              <a:cxnLst/>
              <a:rect l="l" t="t" r="r" b="b"/>
              <a:pathLst>
                <a:path w="18281" h="78491" extrusionOk="0">
                  <a:moveTo>
                    <a:pt x="1" y="1"/>
                  </a:moveTo>
                  <a:cubicBezTo>
                    <a:pt x="1" y="1"/>
                    <a:pt x="3870" y="27187"/>
                    <a:pt x="5772" y="38495"/>
                  </a:cubicBezTo>
                  <a:cubicBezTo>
                    <a:pt x="7673" y="49803"/>
                    <a:pt x="10342" y="78390"/>
                    <a:pt x="10342" y="78390"/>
                  </a:cubicBezTo>
                  <a:lnTo>
                    <a:pt x="17447" y="78490"/>
                  </a:lnTo>
                  <a:cubicBezTo>
                    <a:pt x="17447" y="78490"/>
                    <a:pt x="18281" y="50504"/>
                    <a:pt x="15545" y="37228"/>
                  </a:cubicBezTo>
                  <a:cubicBezTo>
                    <a:pt x="15045" y="20115"/>
                    <a:pt x="16980" y="10275"/>
                    <a:pt x="14445" y="234"/>
                  </a:cubicBezTo>
                  <a:lnTo>
                    <a:pt x="1" y="1"/>
                  </a:ln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35;p26">
              <a:extLst>
                <a:ext uri="{FF2B5EF4-FFF2-40B4-BE49-F238E27FC236}">
                  <a16:creationId xmlns:a16="http://schemas.microsoft.com/office/drawing/2014/main" id="{2D53413E-0EB1-ED09-10DA-B12B048BDFBB}"/>
                </a:ext>
              </a:extLst>
            </p:cNvPr>
            <p:cNvSpPr/>
            <p:nvPr/>
          </p:nvSpPr>
          <p:spPr>
            <a:xfrm>
              <a:off x="4320750" y="4377750"/>
              <a:ext cx="211850" cy="88500"/>
            </a:xfrm>
            <a:custGeom>
              <a:avLst/>
              <a:gdLst/>
              <a:ahLst/>
              <a:cxnLst/>
              <a:rect l="l" t="t" r="r" b="b"/>
              <a:pathLst>
                <a:path w="8474" h="3540" extrusionOk="0">
                  <a:moveTo>
                    <a:pt x="635" y="0"/>
                  </a:moveTo>
                  <a:cubicBezTo>
                    <a:pt x="268" y="0"/>
                    <a:pt x="1" y="300"/>
                    <a:pt x="67" y="667"/>
                  </a:cubicBezTo>
                  <a:lnTo>
                    <a:pt x="434" y="3002"/>
                  </a:lnTo>
                  <a:cubicBezTo>
                    <a:pt x="468" y="3236"/>
                    <a:pt x="668" y="3436"/>
                    <a:pt x="901" y="3436"/>
                  </a:cubicBezTo>
                  <a:lnTo>
                    <a:pt x="7606" y="3536"/>
                  </a:lnTo>
                  <a:cubicBezTo>
                    <a:pt x="7625" y="3538"/>
                    <a:pt x="7645" y="3539"/>
                    <a:pt x="7663" y="3539"/>
                  </a:cubicBezTo>
                  <a:cubicBezTo>
                    <a:pt x="7940" y="3539"/>
                    <a:pt x="8175" y="3317"/>
                    <a:pt x="8207" y="3036"/>
                  </a:cubicBezTo>
                  <a:lnTo>
                    <a:pt x="8440" y="834"/>
                  </a:lnTo>
                  <a:cubicBezTo>
                    <a:pt x="8473" y="501"/>
                    <a:pt x="8240" y="234"/>
                    <a:pt x="7940" y="234"/>
                  </a:cubicBezTo>
                  <a:lnTo>
                    <a:pt x="635" y="0"/>
                  </a:ln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36;p26">
              <a:extLst>
                <a:ext uri="{FF2B5EF4-FFF2-40B4-BE49-F238E27FC236}">
                  <a16:creationId xmlns:a16="http://schemas.microsoft.com/office/drawing/2014/main" id="{23C6E43E-C6CE-ADAE-1CC5-2764DBA8BDA2}"/>
                </a:ext>
              </a:extLst>
            </p:cNvPr>
            <p:cNvSpPr/>
            <p:nvPr/>
          </p:nvSpPr>
          <p:spPr>
            <a:xfrm>
              <a:off x="4320750" y="4377750"/>
              <a:ext cx="211850" cy="88500"/>
            </a:xfrm>
            <a:custGeom>
              <a:avLst/>
              <a:gdLst/>
              <a:ahLst/>
              <a:cxnLst/>
              <a:rect l="l" t="t" r="r" b="b"/>
              <a:pathLst>
                <a:path w="8474" h="3540" extrusionOk="0">
                  <a:moveTo>
                    <a:pt x="635" y="0"/>
                  </a:moveTo>
                  <a:cubicBezTo>
                    <a:pt x="268" y="0"/>
                    <a:pt x="1" y="300"/>
                    <a:pt x="67" y="667"/>
                  </a:cubicBezTo>
                  <a:lnTo>
                    <a:pt x="434" y="3002"/>
                  </a:lnTo>
                  <a:cubicBezTo>
                    <a:pt x="468" y="3236"/>
                    <a:pt x="668" y="3436"/>
                    <a:pt x="901" y="3436"/>
                  </a:cubicBezTo>
                  <a:lnTo>
                    <a:pt x="7606" y="3536"/>
                  </a:lnTo>
                  <a:cubicBezTo>
                    <a:pt x="7625" y="3538"/>
                    <a:pt x="7645" y="3539"/>
                    <a:pt x="7663" y="3539"/>
                  </a:cubicBezTo>
                  <a:cubicBezTo>
                    <a:pt x="7940" y="3539"/>
                    <a:pt x="8175" y="3317"/>
                    <a:pt x="8207" y="3036"/>
                  </a:cubicBezTo>
                  <a:lnTo>
                    <a:pt x="8440" y="834"/>
                  </a:lnTo>
                  <a:cubicBezTo>
                    <a:pt x="8473" y="501"/>
                    <a:pt x="8240" y="234"/>
                    <a:pt x="7940" y="234"/>
                  </a:cubicBezTo>
                  <a:lnTo>
                    <a:pt x="635" y="0"/>
                  </a:lnTo>
                  <a:close/>
                </a:path>
              </a:pathLst>
            </a:custGeom>
            <a:solidFill>
              <a:srgbClr val="B7B7B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37;p26">
              <a:extLst>
                <a:ext uri="{FF2B5EF4-FFF2-40B4-BE49-F238E27FC236}">
                  <a16:creationId xmlns:a16="http://schemas.microsoft.com/office/drawing/2014/main" id="{FF344A20-7A83-DE44-FF79-125BFA8A158B}"/>
                </a:ext>
              </a:extLst>
            </p:cNvPr>
            <p:cNvSpPr/>
            <p:nvPr/>
          </p:nvSpPr>
          <p:spPr>
            <a:xfrm>
              <a:off x="3596900" y="1372350"/>
              <a:ext cx="528750" cy="459450"/>
            </a:xfrm>
            <a:custGeom>
              <a:avLst/>
              <a:gdLst/>
              <a:ahLst/>
              <a:cxnLst/>
              <a:rect l="l" t="t" r="r" b="b"/>
              <a:pathLst>
                <a:path w="21150" h="18378" extrusionOk="0">
                  <a:moveTo>
                    <a:pt x="1810" y="0"/>
                  </a:moveTo>
                  <a:cubicBezTo>
                    <a:pt x="1176" y="0"/>
                    <a:pt x="547" y="384"/>
                    <a:pt x="401" y="1164"/>
                  </a:cubicBezTo>
                  <a:cubicBezTo>
                    <a:pt x="201" y="2332"/>
                    <a:pt x="101" y="3499"/>
                    <a:pt x="67" y="4667"/>
                  </a:cubicBezTo>
                  <a:cubicBezTo>
                    <a:pt x="1" y="5834"/>
                    <a:pt x="34" y="7035"/>
                    <a:pt x="134" y="8203"/>
                  </a:cubicBezTo>
                  <a:cubicBezTo>
                    <a:pt x="234" y="9404"/>
                    <a:pt x="434" y="10638"/>
                    <a:pt x="768" y="11805"/>
                  </a:cubicBezTo>
                  <a:cubicBezTo>
                    <a:pt x="1102" y="13073"/>
                    <a:pt x="1635" y="14307"/>
                    <a:pt x="2302" y="15441"/>
                  </a:cubicBezTo>
                  <a:cubicBezTo>
                    <a:pt x="2636" y="16008"/>
                    <a:pt x="3203" y="16409"/>
                    <a:pt x="3837" y="16542"/>
                  </a:cubicBezTo>
                  <a:lnTo>
                    <a:pt x="4037" y="16575"/>
                  </a:lnTo>
                  <a:cubicBezTo>
                    <a:pt x="5204" y="16842"/>
                    <a:pt x="6372" y="17076"/>
                    <a:pt x="7539" y="17242"/>
                  </a:cubicBezTo>
                  <a:cubicBezTo>
                    <a:pt x="8707" y="17443"/>
                    <a:pt x="9874" y="17643"/>
                    <a:pt x="11075" y="17776"/>
                  </a:cubicBezTo>
                  <a:cubicBezTo>
                    <a:pt x="12243" y="17943"/>
                    <a:pt x="13410" y="18076"/>
                    <a:pt x="14578" y="18176"/>
                  </a:cubicBezTo>
                  <a:cubicBezTo>
                    <a:pt x="15779" y="18277"/>
                    <a:pt x="16946" y="18343"/>
                    <a:pt x="18180" y="18377"/>
                  </a:cubicBezTo>
                  <a:cubicBezTo>
                    <a:pt x="18201" y="18377"/>
                    <a:pt x="18221" y="18377"/>
                    <a:pt x="18241" y="18377"/>
                  </a:cubicBezTo>
                  <a:cubicBezTo>
                    <a:pt x="19748" y="18377"/>
                    <a:pt x="20984" y="17155"/>
                    <a:pt x="21082" y="15641"/>
                  </a:cubicBezTo>
                  <a:cubicBezTo>
                    <a:pt x="21149" y="14107"/>
                    <a:pt x="19982" y="12773"/>
                    <a:pt x="18447" y="12606"/>
                  </a:cubicBezTo>
                  <a:lnTo>
                    <a:pt x="18414" y="12606"/>
                  </a:lnTo>
                  <a:lnTo>
                    <a:pt x="11642" y="12105"/>
                  </a:lnTo>
                  <a:cubicBezTo>
                    <a:pt x="9741" y="11939"/>
                    <a:pt x="7840" y="11772"/>
                    <a:pt x="5972" y="11572"/>
                  </a:cubicBezTo>
                  <a:cubicBezTo>
                    <a:pt x="5738" y="11138"/>
                    <a:pt x="5505" y="10704"/>
                    <a:pt x="5338" y="10271"/>
                  </a:cubicBezTo>
                  <a:cubicBezTo>
                    <a:pt x="4938" y="9337"/>
                    <a:pt x="4637" y="8403"/>
                    <a:pt x="4371" y="7469"/>
                  </a:cubicBezTo>
                  <a:cubicBezTo>
                    <a:pt x="4137" y="6501"/>
                    <a:pt x="3904" y="5467"/>
                    <a:pt x="3737" y="4433"/>
                  </a:cubicBezTo>
                  <a:cubicBezTo>
                    <a:pt x="3537" y="3399"/>
                    <a:pt x="3370" y="2365"/>
                    <a:pt x="3270" y="1331"/>
                  </a:cubicBezTo>
                  <a:lnTo>
                    <a:pt x="3270" y="1264"/>
                  </a:lnTo>
                  <a:cubicBezTo>
                    <a:pt x="3150" y="426"/>
                    <a:pt x="2477" y="0"/>
                    <a:pt x="181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238;p26">
              <a:extLst>
                <a:ext uri="{FF2B5EF4-FFF2-40B4-BE49-F238E27FC236}">
                  <a16:creationId xmlns:a16="http://schemas.microsoft.com/office/drawing/2014/main" id="{99DF71F5-5BD0-121C-235E-3FD0FB16753E}"/>
                </a:ext>
              </a:extLst>
            </p:cNvPr>
            <p:cNvSpPr/>
            <p:nvPr/>
          </p:nvSpPr>
          <p:spPr>
            <a:xfrm>
              <a:off x="3869600" y="1664125"/>
              <a:ext cx="404475" cy="235975"/>
            </a:xfrm>
            <a:custGeom>
              <a:avLst/>
              <a:gdLst/>
              <a:ahLst/>
              <a:cxnLst/>
              <a:rect l="l" t="t" r="r" b="b"/>
              <a:pathLst>
                <a:path w="16179" h="9439" extrusionOk="0">
                  <a:moveTo>
                    <a:pt x="734" y="1"/>
                  </a:moveTo>
                  <a:cubicBezTo>
                    <a:pt x="1" y="2936"/>
                    <a:pt x="67" y="6038"/>
                    <a:pt x="901" y="8974"/>
                  </a:cubicBezTo>
                  <a:cubicBezTo>
                    <a:pt x="901" y="8974"/>
                    <a:pt x="1811" y="9438"/>
                    <a:pt x="4214" y="9438"/>
                  </a:cubicBezTo>
                  <a:cubicBezTo>
                    <a:pt x="5031" y="9438"/>
                    <a:pt x="6021" y="9385"/>
                    <a:pt x="7206" y="9241"/>
                  </a:cubicBezTo>
                  <a:cubicBezTo>
                    <a:pt x="12443" y="8574"/>
                    <a:pt x="16179" y="2236"/>
                    <a:pt x="11809" y="1335"/>
                  </a:cubicBezTo>
                  <a:cubicBezTo>
                    <a:pt x="8140" y="635"/>
                    <a:pt x="4437" y="201"/>
                    <a:pt x="734" y="1"/>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39;p26">
              <a:extLst>
                <a:ext uri="{FF2B5EF4-FFF2-40B4-BE49-F238E27FC236}">
                  <a16:creationId xmlns:a16="http://schemas.microsoft.com/office/drawing/2014/main" id="{2B9412E0-78A8-EBBD-4A0C-681DBA678B15}"/>
                </a:ext>
              </a:extLst>
            </p:cNvPr>
            <p:cNvSpPr/>
            <p:nvPr/>
          </p:nvSpPr>
          <p:spPr>
            <a:xfrm>
              <a:off x="3903800" y="1696625"/>
              <a:ext cx="657150" cy="836500"/>
            </a:xfrm>
            <a:custGeom>
              <a:avLst/>
              <a:gdLst/>
              <a:ahLst/>
              <a:cxnLst/>
              <a:rect l="l" t="t" r="r" b="b"/>
              <a:pathLst>
                <a:path w="26286" h="33460" extrusionOk="0">
                  <a:moveTo>
                    <a:pt x="10476" y="0"/>
                  </a:moveTo>
                  <a:cubicBezTo>
                    <a:pt x="6202" y="0"/>
                    <a:pt x="2890" y="2135"/>
                    <a:pt x="2068" y="6340"/>
                  </a:cubicBezTo>
                  <a:cubicBezTo>
                    <a:pt x="434" y="14912"/>
                    <a:pt x="0" y="23652"/>
                    <a:pt x="734" y="32358"/>
                  </a:cubicBezTo>
                  <a:cubicBezTo>
                    <a:pt x="750" y="33108"/>
                    <a:pt x="5442" y="33460"/>
                    <a:pt x="10427" y="33460"/>
                  </a:cubicBezTo>
                  <a:cubicBezTo>
                    <a:pt x="15643" y="33460"/>
                    <a:pt x="21180" y="33075"/>
                    <a:pt x="22016" y="32358"/>
                  </a:cubicBezTo>
                  <a:cubicBezTo>
                    <a:pt x="22716" y="26821"/>
                    <a:pt x="21916" y="20917"/>
                    <a:pt x="25552" y="8541"/>
                  </a:cubicBezTo>
                  <a:cubicBezTo>
                    <a:pt x="26286" y="6006"/>
                    <a:pt x="25151" y="2203"/>
                    <a:pt x="22616" y="1570"/>
                  </a:cubicBezTo>
                  <a:cubicBezTo>
                    <a:pt x="18680" y="669"/>
                    <a:pt x="14677" y="135"/>
                    <a:pt x="10674" y="2"/>
                  </a:cubicBezTo>
                  <a:cubicBezTo>
                    <a:pt x="10608" y="1"/>
                    <a:pt x="10542" y="0"/>
                    <a:pt x="10476"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40;p26">
              <a:extLst>
                <a:ext uri="{FF2B5EF4-FFF2-40B4-BE49-F238E27FC236}">
                  <a16:creationId xmlns:a16="http://schemas.microsoft.com/office/drawing/2014/main" id="{E90349C4-09C3-64EB-E7D6-461F9D953E10}"/>
                </a:ext>
              </a:extLst>
            </p:cNvPr>
            <p:cNvSpPr/>
            <p:nvPr/>
          </p:nvSpPr>
          <p:spPr>
            <a:xfrm>
              <a:off x="4156475" y="1825000"/>
              <a:ext cx="20875" cy="32700"/>
            </a:xfrm>
            <a:custGeom>
              <a:avLst/>
              <a:gdLst/>
              <a:ahLst/>
              <a:cxnLst/>
              <a:rect l="l" t="t" r="r" b="b"/>
              <a:pathLst>
                <a:path w="835" h="1308" extrusionOk="0">
                  <a:moveTo>
                    <a:pt x="529" y="1"/>
                  </a:moveTo>
                  <a:cubicBezTo>
                    <a:pt x="342" y="1"/>
                    <a:pt x="161" y="227"/>
                    <a:pt x="67" y="571"/>
                  </a:cubicBezTo>
                  <a:cubicBezTo>
                    <a:pt x="0" y="938"/>
                    <a:pt x="67" y="1271"/>
                    <a:pt x="267" y="1305"/>
                  </a:cubicBezTo>
                  <a:cubicBezTo>
                    <a:pt x="280" y="1307"/>
                    <a:pt x="293" y="1308"/>
                    <a:pt x="305" y="1308"/>
                  </a:cubicBezTo>
                  <a:cubicBezTo>
                    <a:pt x="492" y="1308"/>
                    <a:pt x="674" y="1081"/>
                    <a:pt x="768" y="738"/>
                  </a:cubicBezTo>
                  <a:cubicBezTo>
                    <a:pt x="834" y="404"/>
                    <a:pt x="768" y="37"/>
                    <a:pt x="567" y="4"/>
                  </a:cubicBezTo>
                  <a:cubicBezTo>
                    <a:pt x="555" y="2"/>
                    <a:pt x="542" y="1"/>
                    <a:pt x="529"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41;p26">
              <a:extLst>
                <a:ext uri="{FF2B5EF4-FFF2-40B4-BE49-F238E27FC236}">
                  <a16:creationId xmlns:a16="http://schemas.microsoft.com/office/drawing/2014/main" id="{6E773E1D-D0B2-2C34-0540-5EBD2A6DCAED}"/>
                </a:ext>
              </a:extLst>
            </p:cNvPr>
            <p:cNvSpPr/>
            <p:nvPr/>
          </p:nvSpPr>
          <p:spPr>
            <a:xfrm>
              <a:off x="4418325" y="1458900"/>
              <a:ext cx="603800" cy="431625"/>
            </a:xfrm>
            <a:custGeom>
              <a:avLst/>
              <a:gdLst/>
              <a:ahLst/>
              <a:cxnLst/>
              <a:rect l="l" t="t" r="r" b="b"/>
              <a:pathLst>
                <a:path w="24152" h="17265" extrusionOk="0">
                  <a:moveTo>
                    <a:pt x="22555" y="0"/>
                  </a:moveTo>
                  <a:cubicBezTo>
                    <a:pt x="21938" y="0"/>
                    <a:pt x="21326" y="352"/>
                    <a:pt x="21116" y="1105"/>
                  </a:cubicBezTo>
                  <a:lnTo>
                    <a:pt x="21082" y="1205"/>
                  </a:lnTo>
                  <a:cubicBezTo>
                    <a:pt x="20815" y="2239"/>
                    <a:pt x="20482" y="3340"/>
                    <a:pt x="20115" y="4374"/>
                  </a:cubicBezTo>
                  <a:cubicBezTo>
                    <a:pt x="19781" y="5441"/>
                    <a:pt x="19414" y="6475"/>
                    <a:pt x="18981" y="7443"/>
                  </a:cubicBezTo>
                  <a:cubicBezTo>
                    <a:pt x="18580" y="8410"/>
                    <a:pt x="18080" y="9344"/>
                    <a:pt x="17580" y="10245"/>
                  </a:cubicBezTo>
                  <a:cubicBezTo>
                    <a:pt x="17313" y="10678"/>
                    <a:pt x="17013" y="11112"/>
                    <a:pt x="16712" y="11512"/>
                  </a:cubicBezTo>
                  <a:cubicBezTo>
                    <a:pt x="14711" y="11445"/>
                    <a:pt x="12676" y="11345"/>
                    <a:pt x="10675" y="11212"/>
                  </a:cubicBezTo>
                  <a:lnTo>
                    <a:pt x="3503" y="10712"/>
                  </a:lnTo>
                  <a:lnTo>
                    <a:pt x="3470" y="10712"/>
                  </a:lnTo>
                  <a:cubicBezTo>
                    <a:pt x="3368" y="10701"/>
                    <a:pt x="3268" y="10697"/>
                    <a:pt x="3168" y="10697"/>
                  </a:cubicBezTo>
                  <a:cubicBezTo>
                    <a:pt x="1624" y="10697"/>
                    <a:pt x="291" y="11882"/>
                    <a:pt x="134" y="13480"/>
                  </a:cubicBezTo>
                  <a:cubicBezTo>
                    <a:pt x="1" y="15148"/>
                    <a:pt x="1235" y="16649"/>
                    <a:pt x="2903" y="16783"/>
                  </a:cubicBezTo>
                  <a:cubicBezTo>
                    <a:pt x="4204" y="16949"/>
                    <a:pt x="5404" y="17049"/>
                    <a:pt x="6672" y="17116"/>
                  </a:cubicBezTo>
                  <a:cubicBezTo>
                    <a:pt x="7940" y="17216"/>
                    <a:pt x="9174" y="17250"/>
                    <a:pt x="10441" y="17250"/>
                  </a:cubicBezTo>
                  <a:cubicBezTo>
                    <a:pt x="10853" y="17261"/>
                    <a:pt x="11268" y="17264"/>
                    <a:pt x="11684" y="17264"/>
                  </a:cubicBezTo>
                  <a:cubicBezTo>
                    <a:pt x="12517" y="17264"/>
                    <a:pt x="13355" y="17250"/>
                    <a:pt x="14177" y="17250"/>
                  </a:cubicBezTo>
                  <a:cubicBezTo>
                    <a:pt x="15445" y="17250"/>
                    <a:pt x="16712" y="17150"/>
                    <a:pt x="17980" y="17083"/>
                  </a:cubicBezTo>
                  <a:lnTo>
                    <a:pt x="18214" y="17083"/>
                  </a:lnTo>
                  <a:cubicBezTo>
                    <a:pt x="18881" y="17049"/>
                    <a:pt x="19514" y="16716"/>
                    <a:pt x="19948" y="16182"/>
                  </a:cubicBezTo>
                  <a:cubicBezTo>
                    <a:pt x="20849" y="15081"/>
                    <a:pt x="21583" y="13881"/>
                    <a:pt x="22116" y="12580"/>
                  </a:cubicBezTo>
                  <a:cubicBezTo>
                    <a:pt x="22617" y="11412"/>
                    <a:pt x="23017" y="10178"/>
                    <a:pt x="23317" y="8910"/>
                  </a:cubicBezTo>
                  <a:cubicBezTo>
                    <a:pt x="23617" y="7676"/>
                    <a:pt x="23851" y="6442"/>
                    <a:pt x="23984" y="5208"/>
                  </a:cubicBezTo>
                  <a:cubicBezTo>
                    <a:pt x="24118" y="3940"/>
                    <a:pt x="24151" y="2706"/>
                    <a:pt x="24118" y="1472"/>
                  </a:cubicBezTo>
                  <a:cubicBezTo>
                    <a:pt x="24063" y="520"/>
                    <a:pt x="23305" y="0"/>
                    <a:pt x="2255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42;p26">
              <a:extLst>
                <a:ext uri="{FF2B5EF4-FFF2-40B4-BE49-F238E27FC236}">
                  <a16:creationId xmlns:a16="http://schemas.microsoft.com/office/drawing/2014/main" id="{85EBAA12-40EB-60EA-E6E7-4FB49963D183}"/>
                </a:ext>
              </a:extLst>
            </p:cNvPr>
            <p:cNvSpPr/>
            <p:nvPr/>
          </p:nvSpPr>
          <p:spPr>
            <a:xfrm>
              <a:off x="4273225" y="1718025"/>
              <a:ext cx="422000" cy="247600"/>
            </a:xfrm>
            <a:custGeom>
              <a:avLst/>
              <a:gdLst/>
              <a:ahLst/>
              <a:cxnLst/>
              <a:rect l="l" t="t" r="r" b="b"/>
              <a:pathLst>
                <a:path w="16880" h="9904" extrusionOk="0">
                  <a:moveTo>
                    <a:pt x="8535" y="1"/>
                  </a:moveTo>
                  <a:cubicBezTo>
                    <a:pt x="7281" y="1"/>
                    <a:pt x="6026" y="27"/>
                    <a:pt x="4770" y="80"/>
                  </a:cubicBezTo>
                  <a:cubicBezTo>
                    <a:pt x="0" y="380"/>
                    <a:pt x="3003" y="7585"/>
                    <a:pt x="8340" y="9053"/>
                  </a:cubicBezTo>
                  <a:cubicBezTo>
                    <a:pt x="10820" y="9737"/>
                    <a:pt x="12511" y="9904"/>
                    <a:pt x="13570" y="9904"/>
                  </a:cubicBezTo>
                  <a:cubicBezTo>
                    <a:pt x="14576" y="9904"/>
                    <a:pt x="15011" y="9753"/>
                    <a:pt x="15011" y="9753"/>
                  </a:cubicBezTo>
                  <a:cubicBezTo>
                    <a:pt x="16345" y="6785"/>
                    <a:pt x="16879" y="3549"/>
                    <a:pt x="16546" y="347"/>
                  </a:cubicBezTo>
                  <a:cubicBezTo>
                    <a:pt x="13887" y="119"/>
                    <a:pt x="11213" y="1"/>
                    <a:pt x="8535" y="1"/>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43;p26">
              <a:extLst>
                <a:ext uri="{FF2B5EF4-FFF2-40B4-BE49-F238E27FC236}">
                  <a16:creationId xmlns:a16="http://schemas.microsoft.com/office/drawing/2014/main" id="{9EF85734-3897-F35A-8A3A-B4F9977CEDCA}"/>
                </a:ext>
              </a:extLst>
            </p:cNvPr>
            <p:cNvSpPr/>
            <p:nvPr/>
          </p:nvSpPr>
          <p:spPr>
            <a:xfrm>
              <a:off x="4922025" y="1403950"/>
              <a:ext cx="162625" cy="137625"/>
            </a:xfrm>
            <a:custGeom>
              <a:avLst/>
              <a:gdLst/>
              <a:ahLst/>
              <a:cxnLst/>
              <a:rect l="l" t="t" r="r" b="b"/>
              <a:pathLst>
                <a:path w="6505" h="5505" extrusionOk="0">
                  <a:moveTo>
                    <a:pt x="2702" y="0"/>
                  </a:moveTo>
                  <a:cubicBezTo>
                    <a:pt x="2702" y="0"/>
                    <a:pt x="0" y="2569"/>
                    <a:pt x="1068" y="4237"/>
                  </a:cubicBezTo>
                  <a:lnTo>
                    <a:pt x="3236" y="5504"/>
                  </a:lnTo>
                  <a:lnTo>
                    <a:pt x="6505" y="3069"/>
                  </a:lnTo>
                  <a:lnTo>
                    <a:pt x="270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44;p26">
              <a:extLst>
                <a:ext uri="{FF2B5EF4-FFF2-40B4-BE49-F238E27FC236}">
                  <a16:creationId xmlns:a16="http://schemas.microsoft.com/office/drawing/2014/main" id="{3EC6DB68-E8B1-22E8-57C1-BAE1B694119E}"/>
                </a:ext>
              </a:extLst>
            </p:cNvPr>
            <p:cNvSpPr/>
            <p:nvPr/>
          </p:nvSpPr>
          <p:spPr>
            <a:xfrm>
              <a:off x="4988725" y="1349025"/>
              <a:ext cx="135975" cy="131675"/>
            </a:xfrm>
            <a:custGeom>
              <a:avLst/>
              <a:gdLst/>
              <a:ahLst/>
              <a:cxnLst/>
              <a:rect l="l" t="t" r="r" b="b"/>
              <a:pathLst>
                <a:path w="5439" h="5267" extrusionOk="0">
                  <a:moveTo>
                    <a:pt x="2348" y="1"/>
                  </a:moveTo>
                  <a:cubicBezTo>
                    <a:pt x="1931" y="1"/>
                    <a:pt x="1525" y="200"/>
                    <a:pt x="1268" y="563"/>
                  </a:cubicBezTo>
                  <a:lnTo>
                    <a:pt x="1" y="2197"/>
                  </a:lnTo>
                  <a:lnTo>
                    <a:pt x="3804" y="5266"/>
                  </a:lnTo>
                  <a:lnTo>
                    <a:pt x="5071" y="2998"/>
                  </a:lnTo>
                  <a:cubicBezTo>
                    <a:pt x="5438" y="2297"/>
                    <a:pt x="5238" y="1430"/>
                    <a:pt x="4537" y="1030"/>
                  </a:cubicBezTo>
                  <a:lnTo>
                    <a:pt x="3036" y="196"/>
                  </a:lnTo>
                  <a:cubicBezTo>
                    <a:pt x="2820" y="64"/>
                    <a:pt x="2582" y="1"/>
                    <a:pt x="234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245;p26">
              <a:extLst>
                <a:ext uri="{FF2B5EF4-FFF2-40B4-BE49-F238E27FC236}">
                  <a16:creationId xmlns:a16="http://schemas.microsoft.com/office/drawing/2014/main" id="{1C703B5E-5661-5467-FE5C-1633D1E83135}"/>
                </a:ext>
              </a:extLst>
            </p:cNvPr>
            <p:cNvSpPr/>
            <p:nvPr/>
          </p:nvSpPr>
          <p:spPr>
            <a:xfrm>
              <a:off x="4417575" y="1800925"/>
              <a:ext cx="698775" cy="373075"/>
            </a:xfrm>
            <a:custGeom>
              <a:avLst/>
              <a:gdLst/>
              <a:ahLst/>
              <a:cxnLst/>
              <a:rect l="l" t="t" r="r" b="b"/>
              <a:pathLst>
                <a:path w="27951" h="14923" extrusionOk="0">
                  <a:moveTo>
                    <a:pt x="4077" y="0"/>
                  </a:moveTo>
                  <a:cubicBezTo>
                    <a:pt x="1889" y="0"/>
                    <a:pt x="0" y="2741"/>
                    <a:pt x="1899" y="4870"/>
                  </a:cubicBezTo>
                  <a:cubicBezTo>
                    <a:pt x="2732" y="5770"/>
                    <a:pt x="3566" y="6571"/>
                    <a:pt x="4400" y="7405"/>
                  </a:cubicBezTo>
                  <a:cubicBezTo>
                    <a:pt x="5234" y="8239"/>
                    <a:pt x="6102" y="9039"/>
                    <a:pt x="7002" y="9840"/>
                  </a:cubicBezTo>
                  <a:cubicBezTo>
                    <a:pt x="7869" y="10607"/>
                    <a:pt x="8770" y="11374"/>
                    <a:pt x="9704" y="12141"/>
                  </a:cubicBezTo>
                  <a:cubicBezTo>
                    <a:pt x="10605" y="12875"/>
                    <a:pt x="11572" y="13609"/>
                    <a:pt x="12506" y="14343"/>
                  </a:cubicBezTo>
                  <a:lnTo>
                    <a:pt x="12706" y="14476"/>
                  </a:lnTo>
                  <a:cubicBezTo>
                    <a:pt x="13091" y="14759"/>
                    <a:pt x="13574" y="14922"/>
                    <a:pt x="14065" y="14922"/>
                  </a:cubicBezTo>
                  <a:cubicBezTo>
                    <a:pt x="14213" y="14922"/>
                    <a:pt x="14361" y="14908"/>
                    <a:pt x="14508" y="14877"/>
                  </a:cubicBezTo>
                  <a:cubicBezTo>
                    <a:pt x="15742" y="14643"/>
                    <a:pt x="16943" y="14310"/>
                    <a:pt x="18110" y="13909"/>
                  </a:cubicBezTo>
                  <a:cubicBezTo>
                    <a:pt x="19211" y="13476"/>
                    <a:pt x="20312" y="13009"/>
                    <a:pt x="21379" y="12475"/>
                  </a:cubicBezTo>
                  <a:cubicBezTo>
                    <a:pt x="22413" y="11941"/>
                    <a:pt x="23414" y="11374"/>
                    <a:pt x="24415" y="10774"/>
                  </a:cubicBezTo>
                  <a:cubicBezTo>
                    <a:pt x="25382" y="10140"/>
                    <a:pt x="26349" y="9506"/>
                    <a:pt x="27283" y="8806"/>
                  </a:cubicBezTo>
                  <a:cubicBezTo>
                    <a:pt x="27750" y="8405"/>
                    <a:pt x="27950" y="7738"/>
                    <a:pt x="27717" y="7138"/>
                  </a:cubicBezTo>
                  <a:cubicBezTo>
                    <a:pt x="27509" y="6566"/>
                    <a:pt x="26957" y="6217"/>
                    <a:pt x="26360" y="6217"/>
                  </a:cubicBezTo>
                  <a:cubicBezTo>
                    <a:pt x="26191" y="6217"/>
                    <a:pt x="26018" y="6245"/>
                    <a:pt x="25849" y="6304"/>
                  </a:cubicBezTo>
                  <a:lnTo>
                    <a:pt x="25816" y="6304"/>
                  </a:lnTo>
                  <a:cubicBezTo>
                    <a:pt x="24815" y="6671"/>
                    <a:pt x="23781" y="7071"/>
                    <a:pt x="22780" y="7438"/>
                  </a:cubicBezTo>
                  <a:cubicBezTo>
                    <a:pt x="21779" y="7772"/>
                    <a:pt x="20745" y="8139"/>
                    <a:pt x="19745" y="8439"/>
                  </a:cubicBezTo>
                  <a:cubicBezTo>
                    <a:pt x="18711" y="8772"/>
                    <a:pt x="17710" y="9039"/>
                    <a:pt x="16709" y="9273"/>
                  </a:cubicBezTo>
                  <a:cubicBezTo>
                    <a:pt x="16142" y="9406"/>
                    <a:pt x="15608" y="9506"/>
                    <a:pt x="15041" y="9606"/>
                  </a:cubicBezTo>
                  <a:cubicBezTo>
                    <a:pt x="13674" y="8305"/>
                    <a:pt x="12273" y="7004"/>
                    <a:pt x="10872" y="5637"/>
                  </a:cubicBezTo>
                  <a:lnTo>
                    <a:pt x="6068" y="867"/>
                  </a:lnTo>
                  <a:lnTo>
                    <a:pt x="6035" y="833"/>
                  </a:lnTo>
                  <a:cubicBezTo>
                    <a:pt x="5418" y="248"/>
                    <a:pt x="4734" y="0"/>
                    <a:pt x="4077"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246;p26">
              <a:extLst>
                <a:ext uri="{FF2B5EF4-FFF2-40B4-BE49-F238E27FC236}">
                  <a16:creationId xmlns:a16="http://schemas.microsoft.com/office/drawing/2014/main" id="{7605900A-C8B8-1384-2DB9-4E6E24405717}"/>
                </a:ext>
              </a:extLst>
            </p:cNvPr>
            <p:cNvSpPr/>
            <p:nvPr/>
          </p:nvSpPr>
          <p:spPr>
            <a:xfrm>
              <a:off x="4363925" y="1733250"/>
              <a:ext cx="342975" cy="346200"/>
            </a:xfrm>
            <a:custGeom>
              <a:avLst/>
              <a:gdLst/>
              <a:ahLst/>
              <a:cxnLst/>
              <a:rect l="l" t="t" r="r" b="b"/>
              <a:pathLst>
                <a:path w="13719" h="13848" extrusionOk="0">
                  <a:moveTo>
                    <a:pt x="3892" y="0"/>
                  </a:moveTo>
                  <a:cubicBezTo>
                    <a:pt x="1280" y="0"/>
                    <a:pt x="1" y="5556"/>
                    <a:pt x="2510" y="9278"/>
                  </a:cubicBezTo>
                  <a:cubicBezTo>
                    <a:pt x="5112" y="13147"/>
                    <a:pt x="6847" y="13848"/>
                    <a:pt x="6847" y="13848"/>
                  </a:cubicBezTo>
                  <a:cubicBezTo>
                    <a:pt x="9582" y="12547"/>
                    <a:pt x="11950" y="10545"/>
                    <a:pt x="13718" y="8077"/>
                  </a:cubicBezTo>
                  <a:cubicBezTo>
                    <a:pt x="11116" y="5408"/>
                    <a:pt x="8348" y="2907"/>
                    <a:pt x="5446" y="605"/>
                  </a:cubicBezTo>
                  <a:cubicBezTo>
                    <a:pt x="4893" y="187"/>
                    <a:pt x="4370" y="0"/>
                    <a:pt x="3892"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47;p26">
              <a:extLst>
                <a:ext uri="{FF2B5EF4-FFF2-40B4-BE49-F238E27FC236}">
                  <a16:creationId xmlns:a16="http://schemas.microsoft.com/office/drawing/2014/main" id="{4DF7356C-64BC-81C7-D0F4-903939C0F749}"/>
                </a:ext>
              </a:extLst>
            </p:cNvPr>
            <p:cNvSpPr/>
            <p:nvPr/>
          </p:nvSpPr>
          <p:spPr>
            <a:xfrm>
              <a:off x="5041275" y="1897625"/>
              <a:ext cx="145125" cy="125125"/>
            </a:xfrm>
            <a:custGeom>
              <a:avLst/>
              <a:gdLst/>
              <a:ahLst/>
              <a:cxnLst/>
              <a:rect l="l" t="t" r="r" b="b"/>
              <a:pathLst>
                <a:path w="5805" h="5005" extrusionOk="0">
                  <a:moveTo>
                    <a:pt x="3103" y="1"/>
                  </a:moveTo>
                  <a:cubicBezTo>
                    <a:pt x="3103" y="1"/>
                    <a:pt x="0" y="1669"/>
                    <a:pt x="601" y="3503"/>
                  </a:cubicBezTo>
                  <a:lnTo>
                    <a:pt x="2169" y="5004"/>
                  </a:lnTo>
                  <a:lnTo>
                    <a:pt x="5804" y="3770"/>
                  </a:lnTo>
                  <a:lnTo>
                    <a:pt x="310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48;p26">
              <a:extLst>
                <a:ext uri="{FF2B5EF4-FFF2-40B4-BE49-F238E27FC236}">
                  <a16:creationId xmlns:a16="http://schemas.microsoft.com/office/drawing/2014/main" id="{FC9C1F80-FC96-3B9A-5D40-4C05147D45ED}"/>
                </a:ext>
              </a:extLst>
            </p:cNvPr>
            <p:cNvSpPr/>
            <p:nvPr/>
          </p:nvSpPr>
          <p:spPr>
            <a:xfrm>
              <a:off x="5116325" y="1862350"/>
              <a:ext cx="123450" cy="128700"/>
            </a:xfrm>
            <a:custGeom>
              <a:avLst/>
              <a:gdLst/>
              <a:ahLst/>
              <a:cxnLst/>
              <a:rect l="l" t="t" r="r" b="b"/>
              <a:pathLst>
                <a:path w="4938" h="5148" extrusionOk="0">
                  <a:moveTo>
                    <a:pt x="2341" y="1"/>
                  </a:moveTo>
                  <a:cubicBezTo>
                    <a:pt x="2063" y="1"/>
                    <a:pt x="1781" y="93"/>
                    <a:pt x="1535" y="278"/>
                  </a:cubicBezTo>
                  <a:lnTo>
                    <a:pt x="0" y="1479"/>
                  </a:lnTo>
                  <a:lnTo>
                    <a:pt x="2769" y="5148"/>
                  </a:lnTo>
                  <a:lnTo>
                    <a:pt x="4404" y="3447"/>
                  </a:lnTo>
                  <a:cubicBezTo>
                    <a:pt x="4937" y="2913"/>
                    <a:pt x="4937" y="2046"/>
                    <a:pt x="4404" y="1512"/>
                  </a:cubicBezTo>
                  <a:lnTo>
                    <a:pt x="3236" y="378"/>
                  </a:lnTo>
                  <a:cubicBezTo>
                    <a:pt x="2985" y="126"/>
                    <a:pt x="2666" y="1"/>
                    <a:pt x="234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249;p26">
              <a:extLst>
                <a:ext uri="{FF2B5EF4-FFF2-40B4-BE49-F238E27FC236}">
                  <a16:creationId xmlns:a16="http://schemas.microsoft.com/office/drawing/2014/main" id="{5D19E557-B004-CF48-E23D-C0B941FCC5E9}"/>
                </a:ext>
              </a:extLst>
            </p:cNvPr>
            <p:cNvSpPr/>
            <p:nvPr/>
          </p:nvSpPr>
          <p:spPr>
            <a:xfrm>
              <a:off x="4192325" y="1708200"/>
              <a:ext cx="210175" cy="141925"/>
            </a:xfrm>
            <a:custGeom>
              <a:avLst/>
              <a:gdLst/>
              <a:ahLst/>
              <a:cxnLst/>
              <a:rect l="l" t="t" r="r" b="b"/>
              <a:pathLst>
                <a:path w="8407" h="5677" extrusionOk="0">
                  <a:moveTo>
                    <a:pt x="7411" y="0"/>
                  </a:moveTo>
                  <a:cubicBezTo>
                    <a:pt x="7364" y="0"/>
                    <a:pt x="7339" y="6"/>
                    <a:pt x="7339" y="6"/>
                  </a:cubicBezTo>
                  <a:cubicBezTo>
                    <a:pt x="7339" y="6"/>
                    <a:pt x="4671" y="2307"/>
                    <a:pt x="1" y="3175"/>
                  </a:cubicBezTo>
                  <a:cubicBezTo>
                    <a:pt x="601" y="3875"/>
                    <a:pt x="901" y="4776"/>
                    <a:pt x="901" y="5676"/>
                  </a:cubicBezTo>
                  <a:cubicBezTo>
                    <a:pt x="4804" y="5009"/>
                    <a:pt x="8006" y="3108"/>
                    <a:pt x="8407" y="539"/>
                  </a:cubicBezTo>
                  <a:cubicBezTo>
                    <a:pt x="7925" y="58"/>
                    <a:pt x="7559" y="0"/>
                    <a:pt x="7411"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250;p26">
              <a:extLst>
                <a:ext uri="{FF2B5EF4-FFF2-40B4-BE49-F238E27FC236}">
                  <a16:creationId xmlns:a16="http://schemas.microsoft.com/office/drawing/2014/main" id="{D3C8430E-B38F-4CD7-BD64-31A0C5DB9B46}"/>
                </a:ext>
              </a:extLst>
            </p:cNvPr>
            <p:cNvSpPr/>
            <p:nvPr/>
          </p:nvSpPr>
          <p:spPr>
            <a:xfrm>
              <a:off x="4087250" y="1692950"/>
              <a:ext cx="118450" cy="132150"/>
            </a:xfrm>
            <a:custGeom>
              <a:avLst/>
              <a:gdLst/>
              <a:ahLst/>
              <a:cxnLst/>
              <a:rect l="l" t="t" r="r" b="b"/>
              <a:pathLst>
                <a:path w="4738" h="5286" extrusionOk="0">
                  <a:moveTo>
                    <a:pt x="4204" y="1"/>
                  </a:moveTo>
                  <a:cubicBezTo>
                    <a:pt x="3848" y="1"/>
                    <a:pt x="3492" y="60"/>
                    <a:pt x="3136" y="149"/>
                  </a:cubicBezTo>
                  <a:cubicBezTo>
                    <a:pt x="1935" y="749"/>
                    <a:pt x="1" y="3851"/>
                    <a:pt x="1502" y="5286"/>
                  </a:cubicBezTo>
                  <a:cubicBezTo>
                    <a:pt x="2202" y="4485"/>
                    <a:pt x="3170" y="3985"/>
                    <a:pt x="4204" y="3785"/>
                  </a:cubicBezTo>
                  <a:cubicBezTo>
                    <a:pt x="3103" y="916"/>
                    <a:pt x="4737" y="49"/>
                    <a:pt x="4737" y="49"/>
                  </a:cubicBezTo>
                  <a:cubicBezTo>
                    <a:pt x="4560" y="15"/>
                    <a:pt x="4382" y="1"/>
                    <a:pt x="420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251;p26">
              <a:extLst>
                <a:ext uri="{FF2B5EF4-FFF2-40B4-BE49-F238E27FC236}">
                  <a16:creationId xmlns:a16="http://schemas.microsoft.com/office/drawing/2014/main" id="{8E139D6A-9F75-75B0-FFE1-FDB33F00CB04}"/>
                </a:ext>
              </a:extLst>
            </p:cNvPr>
            <p:cNvSpPr/>
            <p:nvPr/>
          </p:nvSpPr>
          <p:spPr>
            <a:xfrm>
              <a:off x="4143125" y="1483175"/>
              <a:ext cx="249375" cy="308650"/>
            </a:xfrm>
            <a:custGeom>
              <a:avLst/>
              <a:gdLst/>
              <a:ahLst/>
              <a:cxnLst/>
              <a:rect l="l" t="t" r="r" b="b"/>
              <a:pathLst>
                <a:path w="9975" h="12346" extrusionOk="0">
                  <a:moveTo>
                    <a:pt x="9974" y="0"/>
                  </a:moveTo>
                  <a:lnTo>
                    <a:pt x="4204" y="3870"/>
                  </a:lnTo>
                  <a:cubicBezTo>
                    <a:pt x="4471" y="5905"/>
                    <a:pt x="4337" y="8039"/>
                    <a:pt x="1835" y="8640"/>
                  </a:cubicBezTo>
                  <a:cubicBezTo>
                    <a:pt x="1235" y="8773"/>
                    <a:pt x="735" y="9174"/>
                    <a:pt x="468" y="9741"/>
                  </a:cubicBezTo>
                  <a:cubicBezTo>
                    <a:pt x="1" y="10841"/>
                    <a:pt x="134" y="12109"/>
                    <a:pt x="2603" y="12309"/>
                  </a:cubicBezTo>
                  <a:cubicBezTo>
                    <a:pt x="2869" y="12333"/>
                    <a:pt x="3136" y="12345"/>
                    <a:pt x="3402" y="12345"/>
                  </a:cubicBezTo>
                  <a:cubicBezTo>
                    <a:pt x="5331" y="12345"/>
                    <a:pt x="7220" y="11714"/>
                    <a:pt x="8774" y="10541"/>
                  </a:cubicBezTo>
                  <a:cubicBezTo>
                    <a:pt x="9274" y="10174"/>
                    <a:pt x="9474" y="9474"/>
                    <a:pt x="9241" y="8907"/>
                  </a:cubicBezTo>
                  <a:cubicBezTo>
                    <a:pt x="8273" y="6505"/>
                    <a:pt x="9241" y="2369"/>
                    <a:pt x="997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252;p26">
              <a:extLst>
                <a:ext uri="{FF2B5EF4-FFF2-40B4-BE49-F238E27FC236}">
                  <a16:creationId xmlns:a16="http://schemas.microsoft.com/office/drawing/2014/main" id="{7F76CC37-E05A-97B9-C347-BA06A55A4591}"/>
                </a:ext>
              </a:extLst>
            </p:cNvPr>
            <p:cNvSpPr/>
            <p:nvPr/>
          </p:nvSpPr>
          <p:spPr>
            <a:xfrm>
              <a:off x="4248200" y="1523200"/>
              <a:ext cx="86750" cy="95925"/>
            </a:xfrm>
            <a:custGeom>
              <a:avLst/>
              <a:gdLst/>
              <a:ahLst/>
              <a:cxnLst/>
              <a:rect l="l" t="t" r="r" b="b"/>
              <a:pathLst>
                <a:path w="3470" h="3837" extrusionOk="0">
                  <a:moveTo>
                    <a:pt x="3403" y="0"/>
                  </a:moveTo>
                  <a:lnTo>
                    <a:pt x="1" y="2269"/>
                  </a:lnTo>
                  <a:cubicBezTo>
                    <a:pt x="67" y="2802"/>
                    <a:pt x="101" y="3303"/>
                    <a:pt x="101" y="3837"/>
                  </a:cubicBezTo>
                  <a:cubicBezTo>
                    <a:pt x="1268" y="3803"/>
                    <a:pt x="3036" y="2702"/>
                    <a:pt x="3303" y="1468"/>
                  </a:cubicBezTo>
                  <a:cubicBezTo>
                    <a:pt x="3436" y="1001"/>
                    <a:pt x="3470" y="501"/>
                    <a:pt x="3403" y="0"/>
                  </a:cubicBezTo>
                  <a:close/>
                </a:path>
              </a:pathLst>
            </a:custGeom>
            <a:solidFill>
              <a:srgbClr val="9E514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253;p26">
              <a:extLst>
                <a:ext uri="{FF2B5EF4-FFF2-40B4-BE49-F238E27FC236}">
                  <a16:creationId xmlns:a16="http://schemas.microsoft.com/office/drawing/2014/main" id="{C96A03DA-4949-E839-F185-D32C6DD1C9DF}"/>
                </a:ext>
              </a:extLst>
            </p:cNvPr>
            <p:cNvSpPr/>
            <p:nvPr/>
          </p:nvSpPr>
          <p:spPr>
            <a:xfrm>
              <a:off x="4156875" y="1227025"/>
              <a:ext cx="319850" cy="367775"/>
            </a:xfrm>
            <a:custGeom>
              <a:avLst/>
              <a:gdLst/>
              <a:ahLst/>
              <a:cxnLst/>
              <a:rect l="l" t="t" r="r" b="b"/>
              <a:pathLst>
                <a:path w="12794" h="14711" extrusionOk="0">
                  <a:moveTo>
                    <a:pt x="6881" y="1"/>
                  </a:moveTo>
                  <a:cubicBezTo>
                    <a:pt x="6600" y="1"/>
                    <a:pt x="6313" y="24"/>
                    <a:pt x="6022" y="72"/>
                  </a:cubicBezTo>
                  <a:cubicBezTo>
                    <a:pt x="2086" y="673"/>
                    <a:pt x="151" y="5977"/>
                    <a:pt x="51" y="9479"/>
                  </a:cubicBezTo>
                  <a:cubicBezTo>
                    <a:pt x="1" y="12410"/>
                    <a:pt x="2324" y="14710"/>
                    <a:pt x="4976" y="14710"/>
                  </a:cubicBezTo>
                  <a:cubicBezTo>
                    <a:pt x="5825" y="14710"/>
                    <a:pt x="6707" y="14475"/>
                    <a:pt x="7556" y="13949"/>
                  </a:cubicBezTo>
                  <a:cubicBezTo>
                    <a:pt x="9891" y="12515"/>
                    <a:pt x="10425" y="10346"/>
                    <a:pt x="11593" y="6744"/>
                  </a:cubicBezTo>
                  <a:cubicBezTo>
                    <a:pt x="12794" y="3386"/>
                    <a:pt x="10269" y="1"/>
                    <a:pt x="688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254;p26">
              <a:extLst>
                <a:ext uri="{FF2B5EF4-FFF2-40B4-BE49-F238E27FC236}">
                  <a16:creationId xmlns:a16="http://schemas.microsoft.com/office/drawing/2014/main" id="{019FC4E6-37B1-7EDE-C3AD-64F425FD26CB}"/>
                </a:ext>
              </a:extLst>
            </p:cNvPr>
            <p:cNvSpPr/>
            <p:nvPr/>
          </p:nvSpPr>
          <p:spPr>
            <a:xfrm>
              <a:off x="4145625" y="1271600"/>
              <a:ext cx="114275" cy="141550"/>
            </a:xfrm>
            <a:custGeom>
              <a:avLst/>
              <a:gdLst/>
              <a:ahLst/>
              <a:cxnLst/>
              <a:rect l="l" t="t" r="r" b="b"/>
              <a:pathLst>
                <a:path w="4571" h="5662" extrusionOk="0">
                  <a:moveTo>
                    <a:pt x="2836" y="224"/>
                  </a:moveTo>
                  <a:cubicBezTo>
                    <a:pt x="2970" y="224"/>
                    <a:pt x="3136" y="224"/>
                    <a:pt x="3270" y="291"/>
                  </a:cubicBezTo>
                  <a:cubicBezTo>
                    <a:pt x="3737" y="491"/>
                    <a:pt x="4104" y="925"/>
                    <a:pt x="4204" y="1458"/>
                  </a:cubicBezTo>
                  <a:cubicBezTo>
                    <a:pt x="4371" y="2125"/>
                    <a:pt x="4304" y="2793"/>
                    <a:pt x="4070" y="3460"/>
                  </a:cubicBezTo>
                  <a:cubicBezTo>
                    <a:pt x="3642" y="4658"/>
                    <a:pt x="2726" y="5466"/>
                    <a:pt x="1865" y="5466"/>
                  </a:cubicBezTo>
                  <a:cubicBezTo>
                    <a:pt x="1719" y="5466"/>
                    <a:pt x="1575" y="5443"/>
                    <a:pt x="1435" y="5394"/>
                  </a:cubicBezTo>
                  <a:cubicBezTo>
                    <a:pt x="968" y="5194"/>
                    <a:pt x="601" y="4761"/>
                    <a:pt x="501" y="4227"/>
                  </a:cubicBezTo>
                  <a:cubicBezTo>
                    <a:pt x="201" y="2859"/>
                    <a:pt x="701" y="1458"/>
                    <a:pt x="1802" y="591"/>
                  </a:cubicBezTo>
                  <a:cubicBezTo>
                    <a:pt x="2102" y="358"/>
                    <a:pt x="2436" y="224"/>
                    <a:pt x="2836" y="224"/>
                  </a:cubicBezTo>
                  <a:close/>
                  <a:moveTo>
                    <a:pt x="2769" y="0"/>
                  </a:moveTo>
                  <a:cubicBezTo>
                    <a:pt x="2384" y="0"/>
                    <a:pt x="1993" y="134"/>
                    <a:pt x="1669" y="424"/>
                  </a:cubicBezTo>
                  <a:cubicBezTo>
                    <a:pt x="534" y="1358"/>
                    <a:pt x="1" y="2826"/>
                    <a:pt x="301" y="4294"/>
                  </a:cubicBezTo>
                  <a:cubicBezTo>
                    <a:pt x="434" y="4861"/>
                    <a:pt x="835" y="5361"/>
                    <a:pt x="1368" y="5595"/>
                  </a:cubicBezTo>
                  <a:cubicBezTo>
                    <a:pt x="1535" y="5628"/>
                    <a:pt x="1702" y="5661"/>
                    <a:pt x="1869" y="5661"/>
                  </a:cubicBezTo>
                  <a:cubicBezTo>
                    <a:pt x="2836" y="5661"/>
                    <a:pt x="3837" y="4794"/>
                    <a:pt x="4270" y="3526"/>
                  </a:cubicBezTo>
                  <a:cubicBezTo>
                    <a:pt x="4537" y="2826"/>
                    <a:pt x="4571" y="2092"/>
                    <a:pt x="4404" y="1392"/>
                  </a:cubicBezTo>
                  <a:cubicBezTo>
                    <a:pt x="4271" y="526"/>
                    <a:pt x="3533" y="0"/>
                    <a:pt x="2769"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255;p26">
              <a:extLst>
                <a:ext uri="{FF2B5EF4-FFF2-40B4-BE49-F238E27FC236}">
                  <a16:creationId xmlns:a16="http://schemas.microsoft.com/office/drawing/2014/main" id="{B5800DD8-33C9-8917-89D6-6BF00A33A572}"/>
                </a:ext>
              </a:extLst>
            </p:cNvPr>
            <p:cNvSpPr/>
            <p:nvPr/>
          </p:nvSpPr>
          <p:spPr>
            <a:xfrm>
              <a:off x="4249875" y="1309675"/>
              <a:ext cx="116775" cy="141000"/>
            </a:xfrm>
            <a:custGeom>
              <a:avLst/>
              <a:gdLst/>
              <a:ahLst/>
              <a:cxnLst/>
              <a:rect l="l" t="t" r="r" b="b"/>
              <a:pathLst>
                <a:path w="4671" h="5640" extrusionOk="0">
                  <a:moveTo>
                    <a:pt x="2936" y="202"/>
                  </a:moveTo>
                  <a:cubicBezTo>
                    <a:pt x="3069" y="202"/>
                    <a:pt x="3236" y="236"/>
                    <a:pt x="3369" y="269"/>
                  </a:cubicBezTo>
                  <a:cubicBezTo>
                    <a:pt x="3870" y="469"/>
                    <a:pt x="4203" y="903"/>
                    <a:pt x="4303" y="1436"/>
                  </a:cubicBezTo>
                  <a:cubicBezTo>
                    <a:pt x="4470" y="2104"/>
                    <a:pt x="4437" y="2804"/>
                    <a:pt x="4203" y="3438"/>
                  </a:cubicBezTo>
                  <a:cubicBezTo>
                    <a:pt x="3775" y="4636"/>
                    <a:pt x="2859" y="5444"/>
                    <a:pt x="1998" y="5444"/>
                  </a:cubicBezTo>
                  <a:cubicBezTo>
                    <a:pt x="1852" y="5444"/>
                    <a:pt x="1708" y="5421"/>
                    <a:pt x="1568" y="5373"/>
                  </a:cubicBezTo>
                  <a:cubicBezTo>
                    <a:pt x="601" y="5039"/>
                    <a:pt x="234" y="3605"/>
                    <a:pt x="734" y="2204"/>
                  </a:cubicBezTo>
                  <a:cubicBezTo>
                    <a:pt x="934" y="1570"/>
                    <a:pt x="1335" y="1003"/>
                    <a:pt x="1868" y="569"/>
                  </a:cubicBezTo>
                  <a:cubicBezTo>
                    <a:pt x="2169" y="336"/>
                    <a:pt x="2536" y="202"/>
                    <a:pt x="2936" y="202"/>
                  </a:cubicBezTo>
                  <a:close/>
                  <a:moveTo>
                    <a:pt x="2845" y="1"/>
                  </a:moveTo>
                  <a:cubicBezTo>
                    <a:pt x="2469" y="1"/>
                    <a:pt x="2088" y="127"/>
                    <a:pt x="1768" y="402"/>
                  </a:cubicBezTo>
                  <a:cubicBezTo>
                    <a:pt x="1201" y="836"/>
                    <a:pt x="768" y="1470"/>
                    <a:pt x="534" y="2137"/>
                  </a:cubicBezTo>
                  <a:cubicBezTo>
                    <a:pt x="0" y="3638"/>
                    <a:pt x="434" y="5172"/>
                    <a:pt x="1468" y="5573"/>
                  </a:cubicBezTo>
                  <a:cubicBezTo>
                    <a:pt x="1635" y="5606"/>
                    <a:pt x="1802" y="5639"/>
                    <a:pt x="1968" y="5639"/>
                  </a:cubicBezTo>
                  <a:cubicBezTo>
                    <a:pt x="2902" y="5639"/>
                    <a:pt x="3903" y="4772"/>
                    <a:pt x="4370" y="3505"/>
                  </a:cubicBezTo>
                  <a:cubicBezTo>
                    <a:pt x="4604" y="2837"/>
                    <a:pt x="4670" y="2070"/>
                    <a:pt x="4504" y="1370"/>
                  </a:cubicBezTo>
                  <a:cubicBezTo>
                    <a:pt x="4347" y="521"/>
                    <a:pt x="3607" y="1"/>
                    <a:pt x="2845"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256;p26">
              <a:extLst>
                <a:ext uri="{FF2B5EF4-FFF2-40B4-BE49-F238E27FC236}">
                  <a16:creationId xmlns:a16="http://schemas.microsoft.com/office/drawing/2014/main" id="{ECE1CB57-0066-CECB-E22C-1B68BB5AA1F4}"/>
                </a:ext>
              </a:extLst>
            </p:cNvPr>
            <p:cNvSpPr/>
            <p:nvPr/>
          </p:nvSpPr>
          <p:spPr>
            <a:xfrm>
              <a:off x="4247375" y="1355900"/>
              <a:ext cx="20875" cy="10550"/>
            </a:xfrm>
            <a:custGeom>
              <a:avLst/>
              <a:gdLst/>
              <a:ahLst/>
              <a:cxnLst/>
              <a:rect l="l" t="t" r="r" b="b"/>
              <a:pathLst>
                <a:path w="835" h="422" extrusionOk="0">
                  <a:moveTo>
                    <a:pt x="237" y="0"/>
                  </a:moveTo>
                  <a:cubicBezTo>
                    <a:pt x="180" y="0"/>
                    <a:pt x="123" y="7"/>
                    <a:pt x="67" y="21"/>
                  </a:cubicBezTo>
                  <a:cubicBezTo>
                    <a:pt x="34" y="21"/>
                    <a:pt x="0" y="88"/>
                    <a:pt x="34" y="154"/>
                  </a:cubicBezTo>
                  <a:cubicBezTo>
                    <a:pt x="34" y="188"/>
                    <a:pt x="100" y="221"/>
                    <a:pt x="134" y="221"/>
                  </a:cubicBezTo>
                  <a:cubicBezTo>
                    <a:pt x="178" y="207"/>
                    <a:pt x="222" y="200"/>
                    <a:pt x="264" y="200"/>
                  </a:cubicBezTo>
                  <a:cubicBezTo>
                    <a:pt x="417" y="200"/>
                    <a:pt x="556" y="284"/>
                    <a:pt x="634" y="388"/>
                  </a:cubicBezTo>
                  <a:cubicBezTo>
                    <a:pt x="667" y="421"/>
                    <a:pt x="701" y="421"/>
                    <a:pt x="734" y="421"/>
                  </a:cubicBezTo>
                  <a:cubicBezTo>
                    <a:pt x="734" y="421"/>
                    <a:pt x="768" y="421"/>
                    <a:pt x="801" y="388"/>
                  </a:cubicBezTo>
                  <a:cubicBezTo>
                    <a:pt x="834" y="355"/>
                    <a:pt x="834" y="288"/>
                    <a:pt x="801" y="255"/>
                  </a:cubicBezTo>
                  <a:cubicBezTo>
                    <a:pt x="669" y="96"/>
                    <a:pt x="453" y="0"/>
                    <a:pt x="237"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257;p26">
              <a:extLst>
                <a:ext uri="{FF2B5EF4-FFF2-40B4-BE49-F238E27FC236}">
                  <a16:creationId xmlns:a16="http://schemas.microsoft.com/office/drawing/2014/main" id="{9554ACB1-CB38-9AB9-E2B2-76A9370D2653}"/>
                </a:ext>
              </a:extLst>
            </p:cNvPr>
            <p:cNvSpPr/>
            <p:nvPr/>
          </p:nvSpPr>
          <p:spPr>
            <a:xfrm>
              <a:off x="4351875" y="1398850"/>
              <a:ext cx="80650" cy="47650"/>
            </a:xfrm>
            <a:custGeom>
              <a:avLst/>
              <a:gdLst/>
              <a:ahLst/>
              <a:cxnLst/>
              <a:rect l="l" t="t" r="r" b="b"/>
              <a:pathLst>
                <a:path w="3226" h="1906" extrusionOk="0">
                  <a:moveTo>
                    <a:pt x="128" y="1"/>
                  </a:moveTo>
                  <a:cubicBezTo>
                    <a:pt x="19" y="1"/>
                    <a:pt x="0" y="174"/>
                    <a:pt x="123" y="204"/>
                  </a:cubicBezTo>
                  <a:cubicBezTo>
                    <a:pt x="123" y="204"/>
                    <a:pt x="924" y="371"/>
                    <a:pt x="3025" y="1906"/>
                  </a:cubicBezTo>
                  <a:lnTo>
                    <a:pt x="3092" y="1906"/>
                  </a:lnTo>
                  <a:cubicBezTo>
                    <a:pt x="3126" y="1906"/>
                    <a:pt x="3159" y="1906"/>
                    <a:pt x="3192" y="1872"/>
                  </a:cubicBezTo>
                  <a:cubicBezTo>
                    <a:pt x="3226" y="1839"/>
                    <a:pt x="3192" y="1772"/>
                    <a:pt x="3159" y="1739"/>
                  </a:cubicBezTo>
                  <a:cubicBezTo>
                    <a:pt x="991" y="171"/>
                    <a:pt x="190" y="4"/>
                    <a:pt x="157" y="4"/>
                  </a:cubicBezTo>
                  <a:cubicBezTo>
                    <a:pt x="147" y="2"/>
                    <a:pt x="137" y="1"/>
                    <a:pt x="128"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258;p26">
              <a:extLst>
                <a:ext uri="{FF2B5EF4-FFF2-40B4-BE49-F238E27FC236}">
                  <a16:creationId xmlns:a16="http://schemas.microsoft.com/office/drawing/2014/main" id="{EF69AE5C-4E00-1833-B193-97A1BF205660}"/>
                </a:ext>
              </a:extLst>
            </p:cNvPr>
            <p:cNvSpPr/>
            <p:nvPr/>
          </p:nvSpPr>
          <p:spPr>
            <a:xfrm>
              <a:off x="4196700" y="1101925"/>
              <a:ext cx="398450" cy="369600"/>
            </a:xfrm>
            <a:custGeom>
              <a:avLst/>
              <a:gdLst/>
              <a:ahLst/>
              <a:cxnLst/>
              <a:rect l="l" t="t" r="r" b="b"/>
              <a:pathLst>
                <a:path w="15938" h="14784" extrusionOk="0">
                  <a:moveTo>
                    <a:pt x="4940" y="0"/>
                  </a:moveTo>
                  <a:cubicBezTo>
                    <a:pt x="3062" y="0"/>
                    <a:pt x="393" y="1194"/>
                    <a:pt x="159" y="3809"/>
                  </a:cubicBezTo>
                  <a:cubicBezTo>
                    <a:pt x="1" y="5648"/>
                    <a:pt x="1259" y="6854"/>
                    <a:pt x="2587" y="6854"/>
                  </a:cubicBezTo>
                  <a:cubicBezTo>
                    <a:pt x="2656" y="6854"/>
                    <a:pt x="2725" y="6851"/>
                    <a:pt x="2795" y="6844"/>
                  </a:cubicBezTo>
                  <a:cubicBezTo>
                    <a:pt x="2938" y="6829"/>
                    <a:pt x="3069" y="6822"/>
                    <a:pt x="3191" y="6822"/>
                  </a:cubicBezTo>
                  <a:cubicBezTo>
                    <a:pt x="5184" y="6822"/>
                    <a:pt x="4598" y="8716"/>
                    <a:pt x="8823" y="8716"/>
                  </a:cubicBezTo>
                  <a:cubicBezTo>
                    <a:pt x="8923" y="8716"/>
                    <a:pt x="9026" y="8714"/>
                    <a:pt x="9132" y="8712"/>
                  </a:cubicBezTo>
                  <a:lnTo>
                    <a:pt x="9132" y="8712"/>
                  </a:lnTo>
                  <a:cubicBezTo>
                    <a:pt x="7932" y="10180"/>
                    <a:pt x="9399" y="10847"/>
                    <a:pt x="8432" y="11448"/>
                  </a:cubicBezTo>
                  <a:cubicBezTo>
                    <a:pt x="7565" y="12015"/>
                    <a:pt x="6197" y="13482"/>
                    <a:pt x="7598" y="14783"/>
                  </a:cubicBezTo>
                  <a:cubicBezTo>
                    <a:pt x="9099" y="14683"/>
                    <a:pt x="10533" y="14316"/>
                    <a:pt x="11934" y="13749"/>
                  </a:cubicBezTo>
                  <a:cubicBezTo>
                    <a:pt x="14069" y="12749"/>
                    <a:pt x="15937" y="9013"/>
                    <a:pt x="12568" y="8179"/>
                  </a:cubicBezTo>
                  <a:cubicBezTo>
                    <a:pt x="12835" y="4943"/>
                    <a:pt x="10700" y="6277"/>
                    <a:pt x="8999" y="4743"/>
                  </a:cubicBezTo>
                  <a:cubicBezTo>
                    <a:pt x="7798" y="3642"/>
                    <a:pt x="8232" y="2508"/>
                    <a:pt x="5963" y="2308"/>
                  </a:cubicBezTo>
                  <a:cubicBezTo>
                    <a:pt x="5063" y="2208"/>
                    <a:pt x="4663" y="1007"/>
                    <a:pt x="6664" y="640"/>
                  </a:cubicBezTo>
                  <a:cubicBezTo>
                    <a:pt x="6404" y="220"/>
                    <a:pt x="5744" y="0"/>
                    <a:pt x="4940"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259;p26">
              <a:extLst>
                <a:ext uri="{FF2B5EF4-FFF2-40B4-BE49-F238E27FC236}">
                  <a16:creationId xmlns:a16="http://schemas.microsoft.com/office/drawing/2014/main" id="{23B48C05-3D9E-05DE-EF81-9B39E128B359}"/>
                </a:ext>
              </a:extLst>
            </p:cNvPr>
            <p:cNvSpPr/>
            <p:nvPr/>
          </p:nvSpPr>
          <p:spPr>
            <a:xfrm>
              <a:off x="4481700" y="1238000"/>
              <a:ext cx="85925" cy="70000"/>
            </a:xfrm>
            <a:custGeom>
              <a:avLst/>
              <a:gdLst/>
              <a:ahLst/>
              <a:cxnLst/>
              <a:rect l="l" t="t" r="r" b="b"/>
              <a:pathLst>
                <a:path w="3437" h="2800" extrusionOk="0">
                  <a:moveTo>
                    <a:pt x="2402" y="0"/>
                  </a:moveTo>
                  <a:lnTo>
                    <a:pt x="2402" y="0"/>
                  </a:lnTo>
                  <a:cubicBezTo>
                    <a:pt x="2569" y="1435"/>
                    <a:pt x="1435" y="2669"/>
                    <a:pt x="1" y="2669"/>
                  </a:cubicBezTo>
                  <a:cubicBezTo>
                    <a:pt x="388" y="2755"/>
                    <a:pt x="757" y="2799"/>
                    <a:pt x="1093" y="2799"/>
                  </a:cubicBezTo>
                  <a:cubicBezTo>
                    <a:pt x="2583" y="2799"/>
                    <a:pt x="3437" y="1933"/>
                    <a:pt x="2402"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260;p26">
              <a:extLst>
                <a:ext uri="{FF2B5EF4-FFF2-40B4-BE49-F238E27FC236}">
                  <a16:creationId xmlns:a16="http://schemas.microsoft.com/office/drawing/2014/main" id="{4525982E-507B-09A1-954D-D827E1A2C7EE}"/>
                </a:ext>
              </a:extLst>
            </p:cNvPr>
            <p:cNvSpPr/>
            <p:nvPr/>
          </p:nvSpPr>
          <p:spPr>
            <a:xfrm>
              <a:off x="4364375" y="1427350"/>
              <a:ext cx="114025" cy="93400"/>
            </a:xfrm>
            <a:custGeom>
              <a:avLst/>
              <a:gdLst/>
              <a:ahLst/>
              <a:cxnLst/>
              <a:rect l="l" t="t" r="r" b="b"/>
              <a:pathLst>
                <a:path w="4561" h="3736" extrusionOk="0">
                  <a:moveTo>
                    <a:pt x="3120" y="1"/>
                  </a:moveTo>
                  <a:cubicBezTo>
                    <a:pt x="2229" y="1"/>
                    <a:pt x="1198" y="900"/>
                    <a:pt x="691" y="1633"/>
                  </a:cubicBezTo>
                  <a:cubicBezTo>
                    <a:pt x="0" y="2619"/>
                    <a:pt x="120" y="3735"/>
                    <a:pt x="1241" y="3735"/>
                  </a:cubicBezTo>
                  <a:cubicBezTo>
                    <a:pt x="1258" y="3735"/>
                    <a:pt x="1274" y="3735"/>
                    <a:pt x="1291" y="3734"/>
                  </a:cubicBezTo>
                  <a:cubicBezTo>
                    <a:pt x="2192" y="3668"/>
                    <a:pt x="3026" y="3267"/>
                    <a:pt x="3693" y="2634"/>
                  </a:cubicBezTo>
                  <a:cubicBezTo>
                    <a:pt x="4494" y="1800"/>
                    <a:pt x="4560" y="532"/>
                    <a:pt x="3593" y="98"/>
                  </a:cubicBezTo>
                  <a:cubicBezTo>
                    <a:pt x="3443" y="31"/>
                    <a:pt x="3284" y="1"/>
                    <a:pt x="312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261;p26">
              <a:extLst>
                <a:ext uri="{FF2B5EF4-FFF2-40B4-BE49-F238E27FC236}">
                  <a16:creationId xmlns:a16="http://schemas.microsoft.com/office/drawing/2014/main" id="{C67399C4-5C3C-8EDE-9A03-D9787FE09B09}"/>
                </a:ext>
              </a:extLst>
            </p:cNvPr>
            <p:cNvSpPr/>
            <p:nvPr/>
          </p:nvSpPr>
          <p:spPr>
            <a:xfrm>
              <a:off x="4399150" y="1453100"/>
              <a:ext cx="70900" cy="63500"/>
            </a:xfrm>
            <a:custGeom>
              <a:avLst/>
              <a:gdLst/>
              <a:ahLst/>
              <a:cxnLst/>
              <a:rect l="l" t="t" r="r" b="b"/>
              <a:pathLst>
                <a:path w="2836" h="2540" extrusionOk="0">
                  <a:moveTo>
                    <a:pt x="1738" y="0"/>
                  </a:moveTo>
                  <a:cubicBezTo>
                    <a:pt x="1375" y="0"/>
                    <a:pt x="965" y="172"/>
                    <a:pt x="634" y="503"/>
                  </a:cubicBezTo>
                  <a:cubicBezTo>
                    <a:pt x="100" y="1037"/>
                    <a:pt x="0" y="1837"/>
                    <a:pt x="401" y="2271"/>
                  </a:cubicBezTo>
                  <a:cubicBezTo>
                    <a:pt x="582" y="2452"/>
                    <a:pt x="826" y="2540"/>
                    <a:pt x="1089" y="2540"/>
                  </a:cubicBezTo>
                  <a:cubicBezTo>
                    <a:pt x="1456" y="2540"/>
                    <a:pt x="1857" y="2368"/>
                    <a:pt x="2169" y="2037"/>
                  </a:cubicBezTo>
                  <a:cubicBezTo>
                    <a:pt x="2736" y="1504"/>
                    <a:pt x="2836" y="703"/>
                    <a:pt x="2402" y="269"/>
                  </a:cubicBezTo>
                  <a:cubicBezTo>
                    <a:pt x="2235" y="88"/>
                    <a:pt x="1998" y="0"/>
                    <a:pt x="1738"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262;p26">
              <a:extLst>
                <a:ext uri="{FF2B5EF4-FFF2-40B4-BE49-F238E27FC236}">
                  <a16:creationId xmlns:a16="http://schemas.microsoft.com/office/drawing/2014/main" id="{1AFA7AB9-266A-B709-39B5-2AC8610B91B5}"/>
                </a:ext>
              </a:extLst>
            </p:cNvPr>
            <p:cNvSpPr/>
            <p:nvPr/>
          </p:nvSpPr>
          <p:spPr>
            <a:xfrm>
              <a:off x="4229025" y="1504100"/>
              <a:ext cx="45175" cy="35600"/>
            </a:xfrm>
            <a:custGeom>
              <a:avLst/>
              <a:gdLst/>
              <a:ahLst/>
              <a:cxnLst/>
              <a:rect l="l" t="t" r="r" b="b"/>
              <a:pathLst>
                <a:path w="1807" h="1424" extrusionOk="0">
                  <a:moveTo>
                    <a:pt x="937" y="1"/>
                  </a:moveTo>
                  <a:cubicBezTo>
                    <a:pt x="871" y="1"/>
                    <a:pt x="803" y="10"/>
                    <a:pt x="734" y="31"/>
                  </a:cubicBezTo>
                  <a:cubicBezTo>
                    <a:pt x="134" y="197"/>
                    <a:pt x="0" y="965"/>
                    <a:pt x="501" y="1332"/>
                  </a:cubicBezTo>
                  <a:cubicBezTo>
                    <a:pt x="625" y="1393"/>
                    <a:pt x="758" y="1423"/>
                    <a:pt x="889" y="1423"/>
                  </a:cubicBezTo>
                  <a:cubicBezTo>
                    <a:pt x="1182" y="1423"/>
                    <a:pt x="1463" y="1274"/>
                    <a:pt x="1602" y="998"/>
                  </a:cubicBezTo>
                  <a:cubicBezTo>
                    <a:pt x="1807" y="499"/>
                    <a:pt x="1419" y="1"/>
                    <a:pt x="937"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263;p26">
              <a:extLst>
                <a:ext uri="{FF2B5EF4-FFF2-40B4-BE49-F238E27FC236}">
                  <a16:creationId xmlns:a16="http://schemas.microsoft.com/office/drawing/2014/main" id="{2BC3C096-6F67-5B13-E913-1264CC85A337}"/>
                </a:ext>
              </a:extLst>
            </p:cNvPr>
            <p:cNvSpPr/>
            <p:nvPr/>
          </p:nvSpPr>
          <p:spPr>
            <a:xfrm>
              <a:off x="4245375" y="1489425"/>
              <a:ext cx="182150" cy="42150"/>
            </a:xfrm>
            <a:custGeom>
              <a:avLst/>
              <a:gdLst/>
              <a:ahLst/>
              <a:cxnLst/>
              <a:rect l="l" t="t" r="r" b="b"/>
              <a:pathLst>
                <a:path w="7286" h="1686" extrusionOk="0">
                  <a:moveTo>
                    <a:pt x="7052" y="0"/>
                  </a:moveTo>
                  <a:cubicBezTo>
                    <a:pt x="7002" y="0"/>
                    <a:pt x="6952" y="17"/>
                    <a:pt x="6919" y="51"/>
                  </a:cubicBezTo>
                  <a:cubicBezTo>
                    <a:pt x="6068" y="854"/>
                    <a:pt x="4146" y="1256"/>
                    <a:pt x="2374" y="1256"/>
                  </a:cubicBezTo>
                  <a:cubicBezTo>
                    <a:pt x="1645" y="1256"/>
                    <a:pt x="941" y="1187"/>
                    <a:pt x="347" y="1051"/>
                  </a:cubicBezTo>
                  <a:cubicBezTo>
                    <a:pt x="327" y="1046"/>
                    <a:pt x="307" y="1044"/>
                    <a:pt x="289" y="1044"/>
                  </a:cubicBezTo>
                  <a:cubicBezTo>
                    <a:pt x="67" y="1044"/>
                    <a:pt x="1" y="1390"/>
                    <a:pt x="247" y="1452"/>
                  </a:cubicBezTo>
                  <a:cubicBezTo>
                    <a:pt x="948" y="1618"/>
                    <a:pt x="1681" y="1685"/>
                    <a:pt x="2382" y="1685"/>
                  </a:cubicBezTo>
                  <a:cubicBezTo>
                    <a:pt x="4250" y="1685"/>
                    <a:pt x="6285" y="1251"/>
                    <a:pt x="7185" y="351"/>
                  </a:cubicBezTo>
                  <a:cubicBezTo>
                    <a:pt x="7285" y="251"/>
                    <a:pt x="7285" y="117"/>
                    <a:pt x="7185" y="51"/>
                  </a:cubicBezTo>
                  <a:cubicBezTo>
                    <a:pt x="7152" y="17"/>
                    <a:pt x="7102" y="0"/>
                    <a:pt x="7052"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264;p26">
              <a:extLst>
                <a:ext uri="{FF2B5EF4-FFF2-40B4-BE49-F238E27FC236}">
                  <a16:creationId xmlns:a16="http://schemas.microsoft.com/office/drawing/2014/main" id="{32A3E248-542B-47D8-91C9-98BC547E88B2}"/>
                </a:ext>
              </a:extLst>
            </p:cNvPr>
            <p:cNvSpPr/>
            <p:nvPr/>
          </p:nvSpPr>
          <p:spPr>
            <a:xfrm>
              <a:off x="4283225" y="1368600"/>
              <a:ext cx="21700" cy="27150"/>
            </a:xfrm>
            <a:custGeom>
              <a:avLst/>
              <a:gdLst/>
              <a:ahLst/>
              <a:cxnLst/>
              <a:rect l="l" t="t" r="r" b="b"/>
              <a:pathLst>
                <a:path w="868" h="1086" extrusionOk="0">
                  <a:moveTo>
                    <a:pt x="554" y="0"/>
                  </a:moveTo>
                  <a:cubicBezTo>
                    <a:pt x="375" y="0"/>
                    <a:pt x="188" y="182"/>
                    <a:pt x="101" y="414"/>
                  </a:cubicBezTo>
                  <a:cubicBezTo>
                    <a:pt x="1" y="714"/>
                    <a:pt x="67" y="1014"/>
                    <a:pt x="268" y="1081"/>
                  </a:cubicBezTo>
                  <a:cubicBezTo>
                    <a:pt x="284" y="1084"/>
                    <a:pt x="302" y="1085"/>
                    <a:pt x="319" y="1085"/>
                  </a:cubicBezTo>
                  <a:cubicBezTo>
                    <a:pt x="506" y="1085"/>
                    <a:pt x="710" y="922"/>
                    <a:pt x="801" y="647"/>
                  </a:cubicBezTo>
                  <a:cubicBezTo>
                    <a:pt x="868" y="347"/>
                    <a:pt x="801" y="80"/>
                    <a:pt x="634" y="13"/>
                  </a:cubicBezTo>
                  <a:cubicBezTo>
                    <a:pt x="608" y="5"/>
                    <a:pt x="581" y="0"/>
                    <a:pt x="554"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265;p26">
              <a:extLst>
                <a:ext uri="{FF2B5EF4-FFF2-40B4-BE49-F238E27FC236}">
                  <a16:creationId xmlns:a16="http://schemas.microsoft.com/office/drawing/2014/main" id="{E8469406-42B6-C919-3E2A-531785644184}"/>
                </a:ext>
              </a:extLst>
            </p:cNvPr>
            <p:cNvSpPr/>
            <p:nvPr/>
          </p:nvSpPr>
          <p:spPr>
            <a:xfrm>
              <a:off x="4193175" y="1337125"/>
              <a:ext cx="22525" cy="27150"/>
            </a:xfrm>
            <a:custGeom>
              <a:avLst/>
              <a:gdLst/>
              <a:ahLst/>
              <a:cxnLst/>
              <a:rect l="l" t="t" r="r" b="b"/>
              <a:pathLst>
                <a:path w="901" h="1086" extrusionOk="0">
                  <a:moveTo>
                    <a:pt x="590" y="1"/>
                  </a:moveTo>
                  <a:cubicBezTo>
                    <a:pt x="423" y="1"/>
                    <a:pt x="192" y="164"/>
                    <a:pt x="100" y="438"/>
                  </a:cubicBezTo>
                  <a:cubicBezTo>
                    <a:pt x="0" y="739"/>
                    <a:pt x="100" y="1006"/>
                    <a:pt x="267" y="1072"/>
                  </a:cubicBezTo>
                  <a:cubicBezTo>
                    <a:pt x="293" y="1081"/>
                    <a:pt x="320" y="1085"/>
                    <a:pt x="347" y="1085"/>
                  </a:cubicBezTo>
                  <a:cubicBezTo>
                    <a:pt x="526" y="1085"/>
                    <a:pt x="714" y="904"/>
                    <a:pt x="801" y="672"/>
                  </a:cubicBezTo>
                  <a:cubicBezTo>
                    <a:pt x="901" y="372"/>
                    <a:pt x="834" y="72"/>
                    <a:pt x="634" y="5"/>
                  </a:cubicBezTo>
                  <a:cubicBezTo>
                    <a:pt x="620" y="2"/>
                    <a:pt x="605" y="1"/>
                    <a:pt x="590"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266;p26">
              <a:extLst>
                <a:ext uri="{FF2B5EF4-FFF2-40B4-BE49-F238E27FC236}">
                  <a16:creationId xmlns:a16="http://schemas.microsoft.com/office/drawing/2014/main" id="{1DF4D1E7-EF0B-E5B0-40E0-307A2FC7B6ED}"/>
                </a:ext>
              </a:extLst>
            </p:cNvPr>
            <p:cNvSpPr/>
            <p:nvPr/>
          </p:nvSpPr>
          <p:spPr>
            <a:xfrm>
              <a:off x="4180650" y="1378100"/>
              <a:ext cx="65075" cy="62575"/>
            </a:xfrm>
            <a:custGeom>
              <a:avLst/>
              <a:gdLst/>
              <a:ahLst/>
              <a:cxnLst/>
              <a:rect l="l" t="t" r="r" b="b"/>
              <a:pathLst>
                <a:path w="2603" h="2503" extrusionOk="0">
                  <a:moveTo>
                    <a:pt x="2603" y="0"/>
                  </a:moveTo>
                  <a:lnTo>
                    <a:pt x="2603" y="0"/>
                  </a:lnTo>
                  <a:cubicBezTo>
                    <a:pt x="1702" y="467"/>
                    <a:pt x="835" y="968"/>
                    <a:pt x="1" y="1535"/>
                  </a:cubicBezTo>
                  <a:cubicBezTo>
                    <a:pt x="201" y="2235"/>
                    <a:pt x="1302" y="2502"/>
                    <a:pt x="1302" y="2502"/>
                  </a:cubicBezTo>
                  <a:lnTo>
                    <a:pt x="2603" y="0"/>
                  </a:lnTo>
                  <a:close/>
                </a:path>
              </a:pathLst>
            </a:custGeom>
            <a:solidFill>
              <a:srgbClr val="FF56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267;p26">
              <a:extLst>
                <a:ext uri="{FF2B5EF4-FFF2-40B4-BE49-F238E27FC236}">
                  <a16:creationId xmlns:a16="http://schemas.microsoft.com/office/drawing/2014/main" id="{C10BEC13-7E3A-4EA0-CE15-85432852B4C5}"/>
                </a:ext>
              </a:extLst>
            </p:cNvPr>
            <p:cNvSpPr/>
            <p:nvPr/>
          </p:nvSpPr>
          <p:spPr>
            <a:xfrm>
              <a:off x="4213175" y="1464275"/>
              <a:ext cx="61750" cy="11725"/>
            </a:xfrm>
            <a:custGeom>
              <a:avLst/>
              <a:gdLst/>
              <a:ahLst/>
              <a:cxnLst/>
              <a:rect l="l" t="t" r="r" b="b"/>
              <a:pathLst>
                <a:path w="2470" h="469" extrusionOk="0">
                  <a:moveTo>
                    <a:pt x="2390" y="1"/>
                  </a:moveTo>
                  <a:cubicBezTo>
                    <a:pt x="2369" y="1"/>
                    <a:pt x="2350" y="9"/>
                    <a:pt x="2336" y="22"/>
                  </a:cubicBezTo>
                  <a:cubicBezTo>
                    <a:pt x="1977" y="210"/>
                    <a:pt x="1592" y="302"/>
                    <a:pt x="1208" y="302"/>
                  </a:cubicBezTo>
                  <a:cubicBezTo>
                    <a:pt x="842" y="302"/>
                    <a:pt x="476" y="219"/>
                    <a:pt x="134" y="56"/>
                  </a:cubicBezTo>
                  <a:cubicBezTo>
                    <a:pt x="124" y="46"/>
                    <a:pt x="112" y="42"/>
                    <a:pt x="98" y="42"/>
                  </a:cubicBezTo>
                  <a:cubicBezTo>
                    <a:pt x="65" y="42"/>
                    <a:pt x="24" y="66"/>
                    <a:pt x="1" y="89"/>
                  </a:cubicBezTo>
                  <a:cubicBezTo>
                    <a:pt x="1" y="123"/>
                    <a:pt x="1" y="189"/>
                    <a:pt x="34" y="223"/>
                  </a:cubicBezTo>
                  <a:cubicBezTo>
                    <a:pt x="167" y="256"/>
                    <a:pt x="301" y="323"/>
                    <a:pt x="434" y="356"/>
                  </a:cubicBezTo>
                  <a:cubicBezTo>
                    <a:pt x="672" y="431"/>
                    <a:pt x="924" y="469"/>
                    <a:pt x="1179" y="469"/>
                  </a:cubicBezTo>
                  <a:cubicBezTo>
                    <a:pt x="1604" y="469"/>
                    <a:pt x="2040" y="364"/>
                    <a:pt x="2436" y="156"/>
                  </a:cubicBezTo>
                  <a:cubicBezTo>
                    <a:pt x="2469" y="156"/>
                    <a:pt x="2469" y="89"/>
                    <a:pt x="2469" y="56"/>
                  </a:cubicBezTo>
                  <a:cubicBezTo>
                    <a:pt x="2450" y="17"/>
                    <a:pt x="2419" y="1"/>
                    <a:pt x="2390"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268;p26">
              <a:extLst>
                <a:ext uri="{FF2B5EF4-FFF2-40B4-BE49-F238E27FC236}">
                  <a16:creationId xmlns:a16="http://schemas.microsoft.com/office/drawing/2014/main" id="{148F52F3-BB2F-3113-D099-AA3A78CC9904}"/>
                </a:ext>
              </a:extLst>
            </p:cNvPr>
            <p:cNvSpPr/>
            <p:nvPr/>
          </p:nvSpPr>
          <p:spPr>
            <a:xfrm>
              <a:off x="4316575" y="1337025"/>
              <a:ext cx="35900" cy="35050"/>
            </a:xfrm>
            <a:custGeom>
              <a:avLst/>
              <a:gdLst/>
              <a:ahLst/>
              <a:cxnLst/>
              <a:rect l="l" t="t" r="r" b="b"/>
              <a:pathLst>
                <a:path w="1436" h="1402" extrusionOk="0">
                  <a:moveTo>
                    <a:pt x="215" y="0"/>
                  </a:moveTo>
                  <a:cubicBezTo>
                    <a:pt x="134" y="0"/>
                    <a:pt x="62" y="60"/>
                    <a:pt x="34" y="142"/>
                  </a:cubicBezTo>
                  <a:cubicBezTo>
                    <a:pt x="1" y="242"/>
                    <a:pt x="68" y="342"/>
                    <a:pt x="168" y="342"/>
                  </a:cubicBezTo>
                  <a:cubicBezTo>
                    <a:pt x="601" y="509"/>
                    <a:pt x="935" y="843"/>
                    <a:pt x="1068" y="1276"/>
                  </a:cubicBezTo>
                  <a:cubicBezTo>
                    <a:pt x="1102" y="1343"/>
                    <a:pt x="1135" y="1376"/>
                    <a:pt x="1202" y="1376"/>
                  </a:cubicBezTo>
                  <a:cubicBezTo>
                    <a:pt x="1219" y="1393"/>
                    <a:pt x="1235" y="1401"/>
                    <a:pt x="1252" y="1401"/>
                  </a:cubicBezTo>
                  <a:cubicBezTo>
                    <a:pt x="1269" y="1401"/>
                    <a:pt x="1285" y="1393"/>
                    <a:pt x="1302" y="1376"/>
                  </a:cubicBezTo>
                  <a:cubicBezTo>
                    <a:pt x="1402" y="1343"/>
                    <a:pt x="1435" y="1243"/>
                    <a:pt x="1402" y="1176"/>
                  </a:cubicBezTo>
                  <a:cubicBezTo>
                    <a:pt x="1235" y="609"/>
                    <a:pt x="802" y="176"/>
                    <a:pt x="268" y="9"/>
                  </a:cubicBezTo>
                  <a:cubicBezTo>
                    <a:pt x="250" y="3"/>
                    <a:pt x="232" y="0"/>
                    <a:pt x="215"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269;p26">
              <a:extLst>
                <a:ext uri="{FF2B5EF4-FFF2-40B4-BE49-F238E27FC236}">
                  <a16:creationId xmlns:a16="http://schemas.microsoft.com/office/drawing/2014/main" id="{84DEE6BE-8B94-7AD6-0534-A319F92CB81B}"/>
                </a:ext>
              </a:extLst>
            </p:cNvPr>
            <p:cNvSpPr/>
            <p:nvPr/>
          </p:nvSpPr>
          <p:spPr>
            <a:xfrm>
              <a:off x="4193175" y="1299350"/>
              <a:ext cx="47550" cy="14350"/>
            </a:xfrm>
            <a:custGeom>
              <a:avLst/>
              <a:gdLst/>
              <a:ahLst/>
              <a:cxnLst/>
              <a:rect l="l" t="t" r="r" b="b"/>
              <a:pathLst>
                <a:path w="1902" h="574" extrusionOk="0">
                  <a:moveTo>
                    <a:pt x="1009" y="1"/>
                  </a:moveTo>
                  <a:cubicBezTo>
                    <a:pt x="701" y="1"/>
                    <a:pt x="391" y="85"/>
                    <a:pt x="100" y="248"/>
                  </a:cubicBezTo>
                  <a:cubicBezTo>
                    <a:pt x="0" y="315"/>
                    <a:pt x="0" y="482"/>
                    <a:pt x="100" y="548"/>
                  </a:cubicBezTo>
                  <a:lnTo>
                    <a:pt x="134" y="548"/>
                  </a:lnTo>
                  <a:cubicBezTo>
                    <a:pt x="150" y="565"/>
                    <a:pt x="175" y="573"/>
                    <a:pt x="204" y="573"/>
                  </a:cubicBezTo>
                  <a:cubicBezTo>
                    <a:pt x="234" y="573"/>
                    <a:pt x="267" y="565"/>
                    <a:pt x="300" y="548"/>
                  </a:cubicBezTo>
                  <a:cubicBezTo>
                    <a:pt x="523" y="418"/>
                    <a:pt x="767" y="350"/>
                    <a:pt x="1015" y="350"/>
                  </a:cubicBezTo>
                  <a:cubicBezTo>
                    <a:pt x="1211" y="350"/>
                    <a:pt x="1409" y="393"/>
                    <a:pt x="1601" y="482"/>
                  </a:cubicBezTo>
                  <a:cubicBezTo>
                    <a:pt x="1628" y="491"/>
                    <a:pt x="1655" y="495"/>
                    <a:pt x="1680" y="495"/>
                  </a:cubicBezTo>
                  <a:cubicBezTo>
                    <a:pt x="1750" y="495"/>
                    <a:pt x="1810" y="464"/>
                    <a:pt x="1835" y="415"/>
                  </a:cubicBezTo>
                  <a:cubicBezTo>
                    <a:pt x="1901" y="315"/>
                    <a:pt x="1868" y="215"/>
                    <a:pt x="1768" y="182"/>
                  </a:cubicBezTo>
                  <a:cubicBezTo>
                    <a:pt x="1525" y="60"/>
                    <a:pt x="1267" y="1"/>
                    <a:pt x="1009"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270;p26">
              <a:extLst>
                <a:ext uri="{FF2B5EF4-FFF2-40B4-BE49-F238E27FC236}">
                  <a16:creationId xmlns:a16="http://schemas.microsoft.com/office/drawing/2014/main" id="{24CC6457-2DD0-B538-51BA-FCAD84EA7258}"/>
                </a:ext>
              </a:extLst>
            </p:cNvPr>
            <p:cNvSpPr/>
            <p:nvPr/>
          </p:nvSpPr>
          <p:spPr>
            <a:xfrm>
              <a:off x="3551875" y="1309725"/>
              <a:ext cx="153475" cy="127600"/>
            </a:xfrm>
            <a:custGeom>
              <a:avLst/>
              <a:gdLst/>
              <a:ahLst/>
              <a:cxnLst/>
              <a:rect l="l" t="t" r="r" b="b"/>
              <a:pathLst>
                <a:path w="6139" h="5104" extrusionOk="0">
                  <a:moveTo>
                    <a:pt x="3803" y="0"/>
                  </a:moveTo>
                  <a:lnTo>
                    <a:pt x="0" y="2602"/>
                  </a:lnTo>
                  <a:lnTo>
                    <a:pt x="2903" y="5104"/>
                  </a:lnTo>
                  <a:lnTo>
                    <a:pt x="5004" y="4103"/>
                  </a:lnTo>
                  <a:cubicBezTo>
                    <a:pt x="6138" y="2602"/>
                    <a:pt x="3803" y="0"/>
                    <a:pt x="3803"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271;p26">
              <a:extLst>
                <a:ext uri="{FF2B5EF4-FFF2-40B4-BE49-F238E27FC236}">
                  <a16:creationId xmlns:a16="http://schemas.microsoft.com/office/drawing/2014/main" id="{28FF25DF-62F7-7674-4FD1-EA3B7A11C1C6}"/>
                </a:ext>
              </a:extLst>
            </p:cNvPr>
            <p:cNvSpPr/>
            <p:nvPr/>
          </p:nvSpPr>
          <p:spPr>
            <a:xfrm>
              <a:off x="3519576" y="1253626"/>
              <a:ext cx="128450" cy="121375"/>
            </a:xfrm>
            <a:custGeom>
              <a:avLst/>
              <a:gdLst/>
              <a:ahLst/>
              <a:cxnLst/>
              <a:rect l="l" t="t" r="r" b="b"/>
              <a:pathLst>
                <a:path w="5138" h="4855" extrusionOk="0">
                  <a:moveTo>
                    <a:pt x="3014" y="1"/>
                  </a:moveTo>
                  <a:cubicBezTo>
                    <a:pt x="2832" y="1"/>
                    <a:pt x="2646" y="39"/>
                    <a:pt x="2469" y="118"/>
                  </a:cubicBezTo>
                  <a:lnTo>
                    <a:pt x="1001" y="785"/>
                  </a:lnTo>
                  <a:cubicBezTo>
                    <a:pt x="300" y="1119"/>
                    <a:pt x="0" y="1919"/>
                    <a:pt x="334" y="2620"/>
                  </a:cubicBezTo>
                  <a:lnTo>
                    <a:pt x="1334" y="4855"/>
                  </a:lnTo>
                  <a:lnTo>
                    <a:pt x="5137" y="2253"/>
                  </a:lnTo>
                  <a:lnTo>
                    <a:pt x="4103" y="618"/>
                  </a:lnTo>
                  <a:cubicBezTo>
                    <a:pt x="3868" y="218"/>
                    <a:pt x="3450" y="1"/>
                    <a:pt x="301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272;p26">
              <a:extLst>
                <a:ext uri="{FF2B5EF4-FFF2-40B4-BE49-F238E27FC236}">
                  <a16:creationId xmlns:a16="http://schemas.microsoft.com/office/drawing/2014/main" id="{CC1F12AE-CA5F-EA09-92E0-73EE8041C65C}"/>
                </a:ext>
              </a:extLst>
            </p:cNvPr>
            <p:cNvSpPr/>
            <p:nvPr/>
          </p:nvSpPr>
          <p:spPr>
            <a:xfrm>
              <a:off x="3321900" y="1807950"/>
              <a:ext cx="742025" cy="252325"/>
            </a:xfrm>
            <a:custGeom>
              <a:avLst/>
              <a:gdLst/>
              <a:ahLst/>
              <a:cxnLst/>
              <a:rect l="l" t="t" r="r" b="b"/>
              <a:pathLst>
                <a:path w="29681" h="10093" extrusionOk="0">
                  <a:moveTo>
                    <a:pt x="1925" y="1"/>
                  </a:moveTo>
                  <a:cubicBezTo>
                    <a:pt x="770" y="1"/>
                    <a:pt x="0" y="1517"/>
                    <a:pt x="994" y="2454"/>
                  </a:cubicBezTo>
                  <a:cubicBezTo>
                    <a:pt x="1894" y="3254"/>
                    <a:pt x="2795" y="3988"/>
                    <a:pt x="3762" y="4689"/>
                  </a:cubicBezTo>
                  <a:cubicBezTo>
                    <a:pt x="4696" y="5389"/>
                    <a:pt x="5664" y="6056"/>
                    <a:pt x="6664" y="6723"/>
                  </a:cubicBezTo>
                  <a:cubicBezTo>
                    <a:pt x="7665" y="7357"/>
                    <a:pt x="8699" y="7958"/>
                    <a:pt x="9800" y="8525"/>
                  </a:cubicBezTo>
                  <a:cubicBezTo>
                    <a:pt x="10901" y="9125"/>
                    <a:pt x="12102" y="9592"/>
                    <a:pt x="13302" y="9992"/>
                  </a:cubicBezTo>
                  <a:cubicBezTo>
                    <a:pt x="13569" y="10059"/>
                    <a:pt x="13803" y="10093"/>
                    <a:pt x="14070" y="10093"/>
                  </a:cubicBezTo>
                  <a:lnTo>
                    <a:pt x="14236" y="10093"/>
                  </a:lnTo>
                  <a:cubicBezTo>
                    <a:pt x="15437" y="9992"/>
                    <a:pt x="16605" y="9826"/>
                    <a:pt x="17772" y="9626"/>
                  </a:cubicBezTo>
                  <a:cubicBezTo>
                    <a:pt x="18373" y="9525"/>
                    <a:pt x="18940" y="9392"/>
                    <a:pt x="19507" y="9259"/>
                  </a:cubicBezTo>
                  <a:cubicBezTo>
                    <a:pt x="20107" y="9125"/>
                    <a:pt x="20674" y="8958"/>
                    <a:pt x="21208" y="8792"/>
                  </a:cubicBezTo>
                  <a:cubicBezTo>
                    <a:pt x="22342" y="8491"/>
                    <a:pt x="23443" y="8091"/>
                    <a:pt x="24544" y="7657"/>
                  </a:cubicBezTo>
                  <a:cubicBezTo>
                    <a:pt x="25111" y="7457"/>
                    <a:pt x="25645" y="7257"/>
                    <a:pt x="26178" y="6990"/>
                  </a:cubicBezTo>
                  <a:cubicBezTo>
                    <a:pt x="26445" y="6857"/>
                    <a:pt x="26712" y="6723"/>
                    <a:pt x="26979" y="6590"/>
                  </a:cubicBezTo>
                  <a:cubicBezTo>
                    <a:pt x="27246" y="6457"/>
                    <a:pt x="27513" y="6323"/>
                    <a:pt x="27813" y="6156"/>
                  </a:cubicBezTo>
                  <a:cubicBezTo>
                    <a:pt x="29147" y="5456"/>
                    <a:pt x="29681" y="3821"/>
                    <a:pt x="29014" y="2454"/>
                  </a:cubicBezTo>
                  <a:cubicBezTo>
                    <a:pt x="28528" y="1433"/>
                    <a:pt x="27511" y="820"/>
                    <a:pt x="26453" y="820"/>
                  </a:cubicBezTo>
                  <a:cubicBezTo>
                    <a:pt x="26058" y="820"/>
                    <a:pt x="25658" y="905"/>
                    <a:pt x="25278" y="1086"/>
                  </a:cubicBezTo>
                  <a:lnTo>
                    <a:pt x="25144" y="1153"/>
                  </a:lnTo>
                  <a:lnTo>
                    <a:pt x="24510" y="1453"/>
                  </a:lnTo>
                  <a:lnTo>
                    <a:pt x="23810" y="1753"/>
                  </a:lnTo>
                  <a:cubicBezTo>
                    <a:pt x="23343" y="1953"/>
                    <a:pt x="22876" y="2187"/>
                    <a:pt x="22409" y="2354"/>
                  </a:cubicBezTo>
                  <a:cubicBezTo>
                    <a:pt x="21442" y="2787"/>
                    <a:pt x="20508" y="3121"/>
                    <a:pt x="19540" y="3454"/>
                  </a:cubicBezTo>
                  <a:cubicBezTo>
                    <a:pt x="18573" y="3788"/>
                    <a:pt x="17572" y="4088"/>
                    <a:pt x="16605" y="4355"/>
                  </a:cubicBezTo>
                  <a:cubicBezTo>
                    <a:pt x="15737" y="4589"/>
                    <a:pt x="14870" y="4755"/>
                    <a:pt x="14003" y="4922"/>
                  </a:cubicBezTo>
                  <a:cubicBezTo>
                    <a:pt x="13269" y="4722"/>
                    <a:pt x="12468" y="4488"/>
                    <a:pt x="11668" y="4188"/>
                  </a:cubicBezTo>
                  <a:cubicBezTo>
                    <a:pt x="10701" y="3821"/>
                    <a:pt x="9666" y="3421"/>
                    <a:pt x="8666" y="2954"/>
                  </a:cubicBezTo>
                  <a:cubicBezTo>
                    <a:pt x="7665" y="2520"/>
                    <a:pt x="6631" y="2053"/>
                    <a:pt x="5630" y="1586"/>
                  </a:cubicBezTo>
                  <a:lnTo>
                    <a:pt x="2595" y="152"/>
                  </a:lnTo>
                  <a:lnTo>
                    <a:pt x="2561" y="152"/>
                  </a:lnTo>
                  <a:cubicBezTo>
                    <a:pt x="2342" y="48"/>
                    <a:pt x="2128" y="1"/>
                    <a:pt x="1925" y="1"/>
                  </a:cubicBezTo>
                  <a:close/>
                </a:path>
              </a:pathLst>
            </a:custGeom>
            <a:solidFill>
              <a:srgbClr val="FF8B7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273;p26">
              <a:extLst>
                <a:ext uri="{FF2B5EF4-FFF2-40B4-BE49-F238E27FC236}">
                  <a16:creationId xmlns:a16="http://schemas.microsoft.com/office/drawing/2014/main" id="{446CF666-4059-16A3-E91F-20B239B14E40}"/>
                </a:ext>
              </a:extLst>
            </p:cNvPr>
            <p:cNvSpPr/>
            <p:nvPr/>
          </p:nvSpPr>
          <p:spPr>
            <a:xfrm>
              <a:off x="3790375" y="1776625"/>
              <a:ext cx="353300" cy="298650"/>
            </a:xfrm>
            <a:custGeom>
              <a:avLst/>
              <a:gdLst/>
              <a:ahLst/>
              <a:cxnLst/>
              <a:rect l="l" t="t" r="r" b="b"/>
              <a:pathLst>
                <a:path w="14132" h="11946" extrusionOk="0">
                  <a:moveTo>
                    <a:pt x="10980" y="0"/>
                  </a:moveTo>
                  <a:cubicBezTo>
                    <a:pt x="10687" y="0"/>
                    <a:pt x="10363" y="54"/>
                    <a:pt x="10008" y="171"/>
                  </a:cubicBezTo>
                  <a:cubicBezTo>
                    <a:pt x="6572" y="1372"/>
                    <a:pt x="3236" y="2773"/>
                    <a:pt x="1" y="4441"/>
                  </a:cubicBezTo>
                  <a:cubicBezTo>
                    <a:pt x="835" y="7276"/>
                    <a:pt x="2369" y="9878"/>
                    <a:pt x="4504" y="11946"/>
                  </a:cubicBezTo>
                  <a:cubicBezTo>
                    <a:pt x="4504" y="11946"/>
                    <a:pt x="6305" y="11846"/>
                    <a:pt x="9974" y="9077"/>
                  </a:cubicBezTo>
                  <a:cubicBezTo>
                    <a:pt x="13728" y="6270"/>
                    <a:pt x="14131" y="0"/>
                    <a:pt x="10980"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274;p26">
              <a:extLst>
                <a:ext uri="{FF2B5EF4-FFF2-40B4-BE49-F238E27FC236}">
                  <a16:creationId xmlns:a16="http://schemas.microsoft.com/office/drawing/2014/main" id="{7A98BDB6-B397-C25C-9158-0EC8B6D703FF}"/>
                </a:ext>
              </a:extLst>
            </p:cNvPr>
            <p:cNvSpPr/>
            <p:nvPr/>
          </p:nvSpPr>
          <p:spPr>
            <a:xfrm>
              <a:off x="3274175" y="1764200"/>
              <a:ext cx="121775" cy="114275"/>
            </a:xfrm>
            <a:custGeom>
              <a:avLst/>
              <a:gdLst/>
              <a:ahLst/>
              <a:cxnLst/>
              <a:rect l="l" t="t" r="r" b="b"/>
              <a:pathLst>
                <a:path w="4871" h="4571" extrusionOk="0">
                  <a:moveTo>
                    <a:pt x="1535" y="1"/>
                  </a:moveTo>
                  <a:lnTo>
                    <a:pt x="1" y="4237"/>
                  </a:lnTo>
                  <a:lnTo>
                    <a:pt x="3737" y="4571"/>
                  </a:lnTo>
                  <a:lnTo>
                    <a:pt x="4837" y="2603"/>
                  </a:lnTo>
                  <a:cubicBezTo>
                    <a:pt x="4871" y="735"/>
                    <a:pt x="1535" y="1"/>
                    <a:pt x="153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275;p26">
              <a:extLst>
                <a:ext uri="{FF2B5EF4-FFF2-40B4-BE49-F238E27FC236}">
                  <a16:creationId xmlns:a16="http://schemas.microsoft.com/office/drawing/2014/main" id="{8B2353B7-EA5D-7157-4A1E-7C05070BFA85}"/>
                </a:ext>
              </a:extLst>
            </p:cNvPr>
            <p:cNvSpPr/>
            <p:nvPr/>
          </p:nvSpPr>
          <p:spPr>
            <a:xfrm>
              <a:off x="3201851" y="1745001"/>
              <a:ext cx="111750" cy="126200"/>
            </a:xfrm>
            <a:custGeom>
              <a:avLst/>
              <a:gdLst/>
              <a:ahLst/>
              <a:cxnLst/>
              <a:rect l="l" t="t" r="r" b="b"/>
              <a:pathLst>
                <a:path w="4470" h="5048" extrusionOk="0">
                  <a:moveTo>
                    <a:pt x="2225" y="0"/>
                  </a:moveTo>
                  <a:cubicBezTo>
                    <a:pt x="1790" y="0"/>
                    <a:pt x="1384" y="235"/>
                    <a:pt x="1168" y="644"/>
                  </a:cubicBezTo>
                  <a:lnTo>
                    <a:pt x="367" y="2012"/>
                  </a:lnTo>
                  <a:cubicBezTo>
                    <a:pt x="0" y="2679"/>
                    <a:pt x="234" y="3479"/>
                    <a:pt x="901" y="3846"/>
                  </a:cubicBezTo>
                  <a:lnTo>
                    <a:pt x="2936" y="5047"/>
                  </a:lnTo>
                  <a:lnTo>
                    <a:pt x="4470" y="811"/>
                  </a:lnTo>
                  <a:lnTo>
                    <a:pt x="2735" y="110"/>
                  </a:lnTo>
                  <a:cubicBezTo>
                    <a:pt x="2567" y="36"/>
                    <a:pt x="2394" y="0"/>
                    <a:pt x="222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276;p26">
              <a:extLst>
                <a:ext uri="{FF2B5EF4-FFF2-40B4-BE49-F238E27FC236}">
                  <a16:creationId xmlns:a16="http://schemas.microsoft.com/office/drawing/2014/main" id="{3168F408-892D-40CB-675E-255A1DDF90B3}"/>
                </a:ext>
              </a:extLst>
            </p:cNvPr>
            <p:cNvSpPr/>
            <p:nvPr/>
          </p:nvSpPr>
          <p:spPr>
            <a:xfrm>
              <a:off x="2112525" y="2701550"/>
              <a:ext cx="3367425" cy="54225"/>
            </a:xfrm>
            <a:custGeom>
              <a:avLst/>
              <a:gdLst/>
              <a:ahLst/>
              <a:cxnLst/>
              <a:rect l="l" t="t" r="r" b="b"/>
              <a:pathLst>
                <a:path w="134697" h="2169" extrusionOk="0">
                  <a:moveTo>
                    <a:pt x="1101" y="0"/>
                  </a:moveTo>
                  <a:cubicBezTo>
                    <a:pt x="500" y="0"/>
                    <a:pt x="0" y="501"/>
                    <a:pt x="33" y="1101"/>
                  </a:cubicBezTo>
                  <a:cubicBezTo>
                    <a:pt x="33" y="1668"/>
                    <a:pt x="500" y="2168"/>
                    <a:pt x="1101" y="2168"/>
                  </a:cubicBezTo>
                  <a:lnTo>
                    <a:pt x="133595" y="2168"/>
                  </a:lnTo>
                  <a:cubicBezTo>
                    <a:pt x="134196" y="2168"/>
                    <a:pt x="134663" y="1668"/>
                    <a:pt x="134663" y="1101"/>
                  </a:cubicBezTo>
                  <a:cubicBezTo>
                    <a:pt x="134696" y="501"/>
                    <a:pt x="134196" y="0"/>
                    <a:pt x="133595"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277;p26">
              <a:extLst>
                <a:ext uri="{FF2B5EF4-FFF2-40B4-BE49-F238E27FC236}">
                  <a16:creationId xmlns:a16="http://schemas.microsoft.com/office/drawing/2014/main" id="{A8D8614A-405A-F3E9-BE2F-A2678FF69718}"/>
                </a:ext>
              </a:extLst>
            </p:cNvPr>
            <p:cNvSpPr/>
            <p:nvPr/>
          </p:nvSpPr>
          <p:spPr>
            <a:xfrm>
              <a:off x="4733550" y="2502225"/>
              <a:ext cx="157650" cy="199350"/>
            </a:xfrm>
            <a:custGeom>
              <a:avLst/>
              <a:gdLst/>
              <a:ahLst/>
              <a:cxnLst/>
              <a:rect l="l" t="t" r="r" b="b"/>
              <a:pathLst>
                <a:path w="6306" h="7974" extrusionOk="0">
                  <a:moveTo>
                    <a:pt x="534" y="1"/>
                  </a:moveTo>
                  <a:cubicBezTo>
                    <a:pt x="234" y="1"/>
                    <a:pt x="1" y="234"/>
                    <a:pt x="1" y="535"/>
                  </a:cubicBezTo>
                  <a:lnTo>
                    <a:pt x="1" y="7439"/>
                  </a:lnTo>
                  <a:cubicBezTo>
                    <a:pt x="1" y="7740"/>
                    <a:pt x="234" y="7973"/>
                    <a:pt x="534" y="7973"/>
                  </a:cubicBezTo>
                  <a:lnTo>
                    <a:pt x="5771" y="7973"/>
                  </a:lnTo>
                  <a:cubicBezTo>
                    <a:pt x="6072" y="7973"/>
                    <a:pt x="6305" y="7740"/>
                    <a:pt x="6305" y="7439"/>
                  </a:cubicBezTo>
                  <a:lnTo>
                    <a:pt x="6305" y="535"/>
                  </a:lnTo>
                  <a:cubicBezTo>
                    <a:pt x="6305" y="234"/>
                    <a:pt x="6072" y="1"/>
                    <a:pt x="5771" y="1"/>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278;p26">
              <a:extLst>
                <a:ext uri="{FF2B5EF4-FFF2-40B4-BE49-F238E27FC236}">
                  <a16:creationId xmlns:a16="http://schemas.microsoft.com/office/drawing/2014/main" id="{58F739F4-F039-5E1F-7FEA-72FCD17B46C7}"/>
                </a:ext>
              </a:extLst>
            </p:cNvPr>
            <p:cNvSpPr/>
            <p:nvPr/>
          </p:nvSpPr>
          <p:spPr>
            <a:xfrm>
              <a:off x="4795250" y="2529925"/>
              <a:ext cx="167650" cy="143300"/>
            </a:xfrm>
            <a:custGeom>
              <a:avLst/>
              <a:gdLst/>
              <a:ahLst/>
              <a:cxnLst/>
              <a:rect l="l" t="t" r="r" b="b"/>
              <a:pathLst>
                <a:path w="6706" h="5732" extrusionOk="0">
                  <a:moveTo>
                    <a:pt x="3797" y="861"/>
                  </a:moveTo>
                  <a:cubicBezTo>
                    <a:pt x="3810" y="861"/>
                    <a:pt x="3824" y="861"/>
                    <a:pt x="3837" y="861"/>
                  </a:cubicBezTo>
                  <a:cubicBezTo>
                    <a:pt x="4971" y="861"/>
                    <a:pt x="5872" y="1762"/>
                    <a:pt x="5872" y="2862"/>
                  </a:cubicBezTo>
                  <a:cubicBezTo>
                    <a:pt x="5872" y="4107"/>
                    <a:pt x="4859" y="4921"/>
                    <a:pt x="3812" y="4921"/>
                  </a:cubicBezTo>
                  <a:cubicBezTo>
                    <a:pt x="3315" y="4921"/>
                    <a:pt x="2811" y="4738"/>
                    <a:pt x="2403" y="4330"/>
                  </a:cubicBezTo>
                  <a:cubicBezTo>
                    <a:pt x="1112" y="3039"/>
                    <a:pt x="2022" y="861"/>
                    <a:pt x="3797" y="861"/>
                  </a:cubicBezTo>
                  <a:close/>
                  <a:moveTo>
                    <a:pt x="3816" y="0"/>
                  </a:moveTo>
                  <a:cubicBezTo>
                    <a:pt x="3108" y="0"/>
                    <a:pt x="2387" y="266"/>
                    <a:pt x="1802" y="861"/>
                  </a:cubicBezTo>
                  <a:cubicBezTo>
                    <a:pt x="1" y="2662"/>
                    <a:pt x="1269" y="5731"/>
                    <a:pt x="3837" y="5731"/>
                  </a:cubicBezTo>
                  <a:cubicBezTo>
                    <a:pt x="5438" y="5731"/>
                    <a:pt x="6706" y="4463"/>
                    <a:pt x="6706" y="2862"/>
                  </a:cubicBezTo>
                  <a:cubicBezTo>
                    <a:pt x="6706" y="1150"/>
                    <a:pt x="5290" y="0"/>
                    <a:pt x="3816"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279;p26">
              <a:extLst>
                <a:ext uri="{FF2B5EF4-FFF2-40B4-BE49-F238E27FC236}">
                  <a16:creationId xmlns:a16="http://schemas.microsoft.com/office/drawing/2014/main" id="{99D25A27-DC44-6D19-3BC5-6533956A28AD}"/>
                </a:ext>
              </a:extLst>
            </p:cNvPr>
            <p:cNvSpPr/>
            <p:nvPr/>
          </p:nvSpPr>
          <p:spPr>
            <a:xfrm>
              <a:off x="4505050" y="2701550"/>
              <a:ext cx="974900" cy="54225"/>
            </a:xfrm>
            <a:custGeom>
              <a:avLst/>
              <a:gdLst/>
              <a:ahLst/>
              <a:cxnLst/>
              <a:rect l="l" t="t" r="r" b="b"/>
              <a:pathLst>
                <a:path w="38996" h="2169" extrusionOk="0">
                  <a:moveTo>
                    <a:pt x="1068" y="0"/>
                  </a:moveTo>
                  <a:cubicBezTo>
                    <a:pt x="468" y="0"/>
                    <a:pt x="1" y="501"/>
                    <a:pt x="1" y="1101"/>
                  </a:cubicBezTo>
                  <a:cubicBezTo>
                    <a:pt x="1" y="1668"/>
                    <a:pt x="468" y="2168"/>
                    <a:pt x="1068" y="2168"/>
                  </a:cubicBezTo>
                  <a:lnTo>
                    <a:pt x="37894" y="2168"/>
                  </a:lnTo>
                  <a:cubicBezTo>
                    <a:pt x="38495" y="2168"/>
                    <a:pt x="38962" y="1668"/>
                    <a:pt x="38962" y="1101"/>
                  </a:cubicBezTo>
                  <a:cubicBezTo>
                    <a:pt x="38995" y="501"/>
                    <a:pt x="38495" y="0"/>
                    <a:pt x="37894" y="0"/>
                  </a:cubicBezTo>
                  <a:close/>
                </a:path>
              </a:pathLst>
            </a:custGeom>
            <a:solidFill>
              <a:srgbClr val="2F9C8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280;p26">
              <a:extLst>
                <a:ext uri="{FF2B5EF4-FFF2-40B4-BE49-F238E27FC236}">
                  <a16:creationId xmlns:a16="http://schemas.microsoft.com/office/drawing/2014/main" id="{88A4BFEE-E8DF-28D5-53C3-B8FF95DD4313}"/>
                </a:ext>
              </a:extLst>
            </p:cNvPr>
            <p:cNvSpPr/>
            <p:nvPr/>
          </p:nvSpPr>
          <p:spPr>
            <a:xfrm>
              <a:off x="4941200" y="2755750"/>
              <a:ext cx="101775" cy="813100"/>
            </a:xfrm>
            <a:custGeom>
              <a:avLst/>
              <a:gdLst/>
              <a:ahLst/>
              <a:cxnLst/>
              <a:rect l="l" t="t" r="r" b="b"/>
              <a:pathLst>
                <a:path w="4071" h="32524" extrusionOk="0">
                  <a:moveTo>
                    <a:pt x="0" y="0"/>
                  </a:moveTo>
                  <a:lnTo>
                    <a:pt x="0" y="32524"/>
                  </a:lnTo>
                  <a:lnTo>
                    <a:pt x="4070" y="32524"/>
                  </a:lnTo>
                  <a:lnTo>
                    <a:pt x="4070" y="0"/>
                  </a:ln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281;p26">
              <a:extLst>
                <a:ext uri="{FF2B5EF4-FFF2-40B4-BE49-F238E27FC236}">
                  <a16:creationId xmlns:a16="http://schemas.microsoft.com/office/drawing/2014/main" id="{DA584973-56E4-6D10-6517-8048B25D317D}"/>
                </a:ext>
              </a:extLst>
            </p:cNvPr>
            <p:cNvSpPr/>
            <p:nvPr/>
          </p:nvSpPr>
          <p:spPr>
            <a:xfrm>
              <a:off x="5145500" y="2755750"/>
              <a:ext cx="194350" cy="41725"/>
            </a:xfrm>
            <a:custGeom>
              <a:avLst/>
              <a:gdLst/>
              <a:ahLst/>
              <a:cxnLst/>
              <a:rect l="l" t="t" r="r" b="b"/>
              <a:pathLst>
                <a:path w="7774" h="1669" extrusionOk="0">
                  <a:moveTo>
                    <a:pt x="1" y="0"/>
                  </a:moveTo>
                  <a:lnTo>
                    <a:pt x="1" y="768"/>
                  </a:lnTo>
                  <a:cubicBezTo>
                    <a:pt x="1" y="1268"/>
                    <a:pt x="401" y="1668"/>
                    <a:pt x="902" y="1668"/>
                  </a:cubicBezTo>
                  <a:lnTo>
                    <a:pt x="6873" y="1668"/>
                  </a:lnTo>
                  <a:cubicBezTo>
                    <a:pt x="7373" y="1668"/>
                    <a:pt x="7773" y="1268"/>
                    <a:pt x="7773" y="768"/>
                  </a:cubicBezTo>
                  <a:lnTo>
                    <a:pt x="7773" y="0"/>
                  </a:ln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282;p26">
              <a:extLst>
                <a:ext uri="{FF2B5EF4-FFF2-40B4-BE49-F238E27FC236}">
                  <a16:creationId xmlns:a16="http://schemas.microsoft.com/office/drawing/2014/main" id="{0D719A4E-B414-68E0-2B5B-4BD0EDE65031}"/>
                </a:ext>
              </a:extLst>
            </p:cNvPr>
            <p:cNvSpPr/>
            <p:nvPr/>
          </p:nvSpPr>
          <p:spPr>
            <a:xfrm>
              <a:off x="4916175" y="3367025"/>
              <a:ext cx="151800" cy="813100"/>
            </a:xfrm>
            <a:custGeom>
              <a:avLst/>
              <a:gdLst/>
              <a:ahLst/>
              <a:cxnLst/>
              <a:rect l="l" t="t" r="r" b="b"/>
              <a:pathLst>
                <a:path w="6072" h="32524" extrusionOk="0">
                  <a:moveTo>
                    <a:pt x="1" y="0"/>
                  </a:moveTo>
                  <a:lnTo>
                    <a:pt x="1" y="32524"/>
                  </a:lnTo>
                  <a:lnTo>
                    <a:pt x="6072" y="32524"/>
                  </a:lnTo>
                  <a:lnTo>
                    <a:pt x="6072" y="0"/>
                  </a:ln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283;p26">
              <a:extLst>
                <a:ext uri="{FF2B5EF4-FFF2-40B4-BE49-F238E27FC236}">
                  <a16:creationId xmlns:a16="http://schemas.microsoft.com/office/drawing/2014/main" id="{28ECD3B0-9D63-6964-3275-20792CBBABAA}"/>
                </a:ext>
              </a:extLst>
            </p:cNvPr>
            <p:cNvSpPr/>
            <p:nvPr/>
          </p:nvSpPr>
          <p:spPr>
            <a:xfrm>
              <a:off x="4891175" y="3868200"/>
              <a:ext cx="202650" cy="813125"/>
            </a:xfrm>
            <a:custGeom>
              <a:avLst/>
              <a:gdLst/>
              <a:ahLst/>
              <a:cxnLst/>
              <a:rect l="l" t="t" r="r" b="b"/>
              <a:pathLst>
                <a:path w="8106" h="32525" extrusionOk="0">
                  <a:moveTo>
                    <a:pt x="0" y="1"/>
                  </a:moveTo>
                  <a:lnTo>
                    <a:pt x="0" y="32524"/>
                  </a:lnTo>
                  <a:lnTo>
                    <a:pt x="8106" y="32524"/>
                  </a:lnTo>
                  <a:lnTo>
                    <a:pt x="8106" y="1"/>
                  </a:ln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284;p26">
              <a:extLst>
                <a:ext uri="{FF2B5EF4-FFF2-40B4-BE49-F238E27FC236}">
                  <a16:creationId xmlns:a16="http://schemas.microsoft.com/office/drawing/2014/main" id="{1C07DC4E-C5C7-A4AB-E3E9-F513C9472650}"/>
                </a:ext>
              </a:extLst>
            </p:cNvPr>
            <p:cNvSpPr/>
            <p:nvPr/>
          </p:nvSpPr>
          <p:spPr>
            <a:xfrm>
              <a:off x="4772750" y="4636250"/>
              <a:ext cx="438675" cy="45075"/>
            </a:xfrm>
            <a:custGeom>
              <a:avLst/>
              <a:gdLst/>
              <a:ahLst/>
              <a:cxnLst/>
              <a:rect l="l" t="t" r="r" b="b"/>
              <a:pathLst>
                <a:path w="17547" h="1803" extrusionOk="0">
                  <a:moveTo>
                    <a:pt x="1802" y="1"/>
                  </a:moveTo>
                  <a:cubicBezTo>
                    <a:pt x="801" y="1"/>
                    <a:pt x="0" y="802"/>
                    <a:pt x="0" y="1802"/>
                  </a:cubicBezTo>
                  <a:lnTo>
                    <a:pt x="17546" y="1802"/>
                  </a:lnTo>
                  <a:cubicBezTo>
                    <a:pt x="17546" y="802"/>
                    <a:pt x="16746" y="1"/>
                    <a:pt x="15745"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285;p26">
              <a:extLst>
                <a:ext uri="{FF2B5EF4-FFF2-40B4-BE49-F238E27FC236}">
                  <a16:creationId xmlns:a16="http://schemas.microsoft.com/office/drawing/2014/main" id="{5DC6DDCC-0896-52CA-2555-C71E2BA3062C}"/>
                </a:ext>
              </a:extLst>
            </p:cNvPr>
            <p:cNvSpPr/>
            <p:nvPr/>
          </p:nvSpPr>
          <p:spPr>
            <a:xfrm>
              <a:off x="2549500" y="2755750"/>
              <a:ext cx="101750" cy="813100"/>
            </a:xfrm>
            <a:custGeom>
              <a:avLst/>
              <a:gdLst/>
              <a:ahLst/>
              <a:cxnLst/>
              <a:rect l="l" t="t" r="r" b="b"/>
              <a:pathLst>
                <a:path w="4070" h="32524" extrusionOk="0">
                  <a:moveTo>
                    <a:pt x="0" y="0"/>
                  </a:moveTo>
                  <a:lnTo>
                    <a:pt x="0" y="32524"/>
                  </a:lnTo>
                  <a:lnTo>
                    <a:pt x="4070" y="32524"/>
                  </a:lnTo>
                  <a:lnTo>
                    <a:pt x="4070" y="0"/>
                  </a:ln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286;p26">
              <a:extLst>
                <a:ext uri="{FF2B5EF4-FFF2-40B4-BE49-F238E27FC236}">
                  <a16:creationId xmlns:a16="http://schemas.microsoft.com/office/drawing/2014/main" id="{5933F4EA-5296-1204-8FC7-22D6450BF640}"/>
                </a:ext>
              </a:extLst>
            </p:cNvPr>
            <p:cNvSpPr/>
            <p:nvPr/>
          </p:nvSpPr>
          <p:spPr>
            <a:xfrm>
              <a:off x="2524475" y="3367025"/>
              <a:ext cx="151800" cy="813100"/>
            </a:xfrm>
            <a:custGeom>
              <a:avLst/>
              <a:gdLst/>
              <a:ahLst/>
              <a:cxnLst/>
              <a:rect l="l" t="t" r="r" b="b"/>
              <a:pathLst>
                <a:path w="6072" h="32524" extrusionOk="0">
                  <a:moveTo>
                    <a:pt x="0" y="0"/>
                  </a:moveTo>
                  <a:lnTo>
                    <a:pt x="0" y="32524"/>
                  </a:lnTo>
                  <a:lnTo>
                    <a:pt x="6071" y="32524"/>
                  </a:lnTo>
                  <a:lnTo>
                    <a:pt x="6071" y="0"/>
                  </a:ln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287;p26">
              <a:extLst>
                <a:ext uri="{FF2B5EF4-FFF2-40B4-BE49-F238E27FC236}">
                  <a16:creationId xmlns:a16="http://schemas.microsoft.com/office/drawing/2014/main" id="{667BEBC3-24CE-BA0A-9AE6-8735B2D7A147}"/>
                </a:ext>
              </a:extLst>
            </p:cNvPr>
            <p:cNvSpPr/>
            <p:nvPr/>
          </p:nvSpPr>
          <p:spPr>
            <a:xfrm>
              <a:off x="2498625" y="3868200"/>
              <a:ext cx="202675" cy="813125"/>
            </a:xfrm>
            <a:custGeom>
              <a:avLst/>
              <a:gdLst/>
              <a:ahLst/>
              <a:cxnLst/>
              <a:rect l="l" t="t" r="r" b="b"/>
              <a:pathLst>
                <a:path w="8107" h="32525" extrusionOk="0">
                  <a:moveTo>
                    <a:pt x="0" y="1"/>
                  </a:moveTo>
                  <a:lnTo>
                    <a:pt x="0" y="32524"/>
                  </a:lnTo>
                  <a:lnTo>
                    <a:pt x="8106" y="32524"/>
                  </a:lnTo>
                  <a:lnTo>
                    <a:pt x="8106" y="1"/>
                  </a:ln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288;p26">
              <a:extLst>
                <a:ext uri="{FF2B5EF4-FFF2-40B4-BE49-F238E27FC236}">
                  <a16:creationId xmlns:a16="http://schemas.microsoft.com/office/drawing/2014/main" id="{C1CDC980-3B76-905E-D891-6F6E69575F9F}"/>
                </a:ext>
              </a:extLst>
            </p:cNvPr>
            <p:cNvSpPr/>
            <p:nvPr/>
          </p:nvSpPr>
          <p:spPr>
            <a:xfrm>
              <a:off x="2381050" y="4636250"/>
              <a:ext cx="438650" cy="45075"/>
            </a:xfrm>
            <a:custGeom>
              <a:avLst/>
              <a:gdLst/>
              <a:ahLst/>
              <a:cxnLst/>
              <a:rect l="l" t="t" r="r" b="b"/>
              <a:pathLst>
                <a:path w="17546" h="1803" extrusionOk="0">
                  <a:moveTo>
                    <a:pt x="1801" y="1"/>
                  </a:moveTo>
                  <a:cubicBezTo>
                    <a:pt x="801" y="1"/>
                    <a:pt x="0" y="802"/>
                    <a:pt x="0" y="1802"/>
                  </a:cubicBezTo>
                  <a:lnTo>
                    <a:pt x="17546" y="1802"/>
                  </a:lnTo>
                  <a:cubicBezTo>
                    <a:pt x="17546" y="802"/>
                    <a:pt x="16745" y="1"/>
                    <a:pt x="15745"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289;p26">
              <a:extLst>
                <a:ext uri="{FF2B5EF4-FFF2-40B4-BE49-F238E27FC236}">
                  <a16:creationId xmlns:a16="http://schemas.microsoft.com/office/drawing/2014/main" id="{BDDF6AD0-562E-FB11-B2AB-1CF6DEFA8449}"/>
                </a:ext>
              </a:extLst>
            </p:cNvPr>
            <p:cNvSpPr/>
            <p:nvPr/>
          </p:nvSpPr>
          <p:spPr>
            <a:xfrm>
              <a:off x="2597025" y="2669025"/>
              <a:ext cx="1280950" cy="32550"/>
            </a:xfrm>
            <a:custGeom>
              <a:avLst/>
              <a:gdLst/>
              <a:ahLst/>
              <a:cxnLst/>
              <a:rect l="l" t="t" r="r" b="b"/>
              <a:pathLst>
                <a:path w="51238" h="1302" extrusionOk="0">
                  <a:moveTo>
                    <a:pt x="634" y="0"/>
                  </a:moveTo>
                  <a:cubicBezTo>
                    <a:pt x="267" y="0"/>
                    <a:pt x="1" y="300"/>
                    <a:pt x="1" y="667"/>
                  </a:cubicBezTo>
                  <a:cubicBezTo>
                    <a:pt x="1" y="1001"/>
                    <a:pt x="267" y="1301"/>
                    <a:pt x="634" y="1301"/>
                  </a:cubicBezTo>
                  <a:lnTo>
                    <a:pt x="50570" y="1301"/>
                  </a:lnTo>
                  <a:cubicBezTo>
                    <a:pt x="50937" y="1301"/>
                    <a:pt x="51237" y="1001"/>
                    <a:pt x="51237" y="667"/>
                  </a:cubicBezTo>
                  <a:cubicBezTo>
                    <a:pt x="51237" y="300"/>
                    <a:pt x="50937" y="0"/>
                    <a:pt x="50570"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290;p26">
              <a:extLst>
                <a:ext uri="{FF2B5EF4-FFF2-40B4-BE49-F238E27FC236}">
                  <a16:creationId xmlns:a16="http://schemas.microsoft.com/office/drawing/2014/main" id="{382BC8CA-521C-F9DE-70AC-034A6BEAD952}"/>
                </a:ext>
              </a:extLst>
            </p:cNvPr>
            <p:cNvSpPr/>
            <p:nvPr/>
          </p:nvSpPr>
          <p:spPr>
            <a:xfrm>
              <a:off x="2597025" y="2669025"/>
              <a:ext cx="1280950" cy="32550"/>
            </a:xfrm>
            <a:custGeom>
              <a:avLst/>
              <a:gdLst/>
              <a:ahLst/>
              <a:cxnLst/>
              <a:rect l="l" t="t" r="r" b="b"/>
              <a:pathLst>
                <a:path w="51238" h="1302" extrusionOk="0">
                  <a:moveTo>
                    <a:pt x="634" y="0"/>
                  </a:moveTo>
                  <a:cubicBezTo>
                    <a:pt x="267" y="0"/>
                    <a:pt x="1" y="300"/>
                    <a:pt x="1" y="667"/>
                  </a:cubicBezTo>
                  <a:cubicBezTo>
                    <a:pt x="1" y="1001"/>
                    <a:pt x="267" y="1301"/>
                    <a:pt x="634" y="1301"/>
                  </a:cubicBezTo>
                  <a:lnTo>
                    <a:pt x="50570" y="1301"/>
                  </a:lnTo>
                  <a:cubicBezTo>
                    <a:pt x="50937" y="1301"/>
                    <a:pt x="51237" y="1001"/>
                    <a:pt x="51237" y="667"/>
                  </a:cubicBezTo>
                  <a:cubicBezTo>
                    <a:pt x="51237" y="300"/>
                    <a:pt x="50937" y="0"/>
                    <a:pt x="50570" y="0"/>
                  </a:cubicBezTo>
                  <a:close/>
                </a:path>
              </a:pathLst>
            </a:custGeom>
            <a:solidFill>
              <a:srgbClr val="2F9C8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291;p26">
              <a:extLst>
                <a:ext uri="{FF2B5EF4-FFF2-40B4-BE49-F238E27FC236}">
                  <a16:creationId xmlns:a16="http://schemas.microsoft.com/office/drawing/2014/main" id="{E8378027-ED80-A436-0F13-0E3A2AA773B3}"/>
                </a:ext>
              </a:extLst>
            </p:cNvPr>
            <p:cNvSpPr/>
            <p:nvPr/>
          </p:nvSpPr>
          <p:spPr>
            <a:xfrm>
              <a:off x="2495375" y="2086925"/>
              <a:ext cx="1060700" cy="598800"/>
            </a:xfrm>
            <a:custGeom>
              <a:avLst/>
              <a:gdLst/>
              <a:ahLst/>
              <a:cxnLst/>
              <a:rect l="l" t="t" r="r" b="b"/>
              <a:pathLst>
                <a:path w="42428" h="23952" extrusionOk="0">
                  <a:moveTo>
                    <a:pt x="1711" y="0"/>
                  </a:moveTo>
                  <a:cubicBezTo>
                    <a:pt x="737" y="0"/>
                    <a:pt x="1" y="886"/>
                    <a:pt x="197" y="1869"/>
                  </a:cubicBezTo>
                  <a:lnTo>
                    <a:pt x="3099" y="22083"/>
                  </a:lnTo>
                  <a:cubicBezTo>
                    <a:pt x="3266" y="23117"/>
                    <a:pt x="4167" y="23918"/>
                    <a:pt x="5234" y="23951"/>
                  </a:cubicBezTo>
                  <a:lnTo>
                    <a:pt x="40659" y="23951"/>
                  </a:lnTo>
                  <a:cubicBezTo>
                    <a:pt x="41660" y="23951"/>
                    <a:pt x="42427" y="23084"/>
                    <a:pt x="42260" y="22083"/>
                  </a:cubicBezTo>
                  <a:lnTo>
                    <a:pt x="39325" y="1869"/>
                  </a:lnTo>
                  <a:cubicBezTo>
                    <a:pt x="39158" y="802"/>
                    <a:pt x="38258" y="34"/>
                    <a:pt x="37224" y="1"/>
                  </a:cubicBezTo>
                  <a:lnTo>
                    <a:pt x="1765" y="1"/>
                  </a:lnTo>
                  <a:cubicBezTo>
                    <a:pt x="1747" y="0"/>
                    <a:pt x="1729" y="0"/>
                    <a:pt x="1711"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292;p26">
              <a:extLst>
                <a:ext uri="{FF2B5EF4-FFF2-40B4-BE49-F238E27FC236}">
                  <a16:creationId xmlns:a16="http://schemas.microsoft.com/office/drawing/2014/main" id="{E8FACE28-53BB-5AF2-25BE-D004DDBBA39D}"/>
                </a:ext>
              </a:extLst>
            </p:cNvPr>
            <p:cNvSpPr/>
            <p:nvPr/>
          </p:nvSpPr>
          <p:spPr>
            <a:xfrm>
              <a:off x="2495375" y="2086925"/>
              <a:ext cx="673750" cy="598800"/>
            </a:xfrm>
            <a:custGeom>
              <a:avLst/>
              <a:gdLst/>
              <a:ahLst/>
              <a:cxnLst/>
              <a:rect l="l" t="t" r="r" b="b"/>
              <a:pathLst>
                <a:path w="26950" h="23952" extrusionOk="0">
                  <a:moveTo>
                    <a:pt x="1711" y="0"/>
                  </a:moveTo>
                  <a:cubicBezTo>
                    <a:pt x="737" y="0"/>
                    <a:pt x="1" y="886"/>
                    <a:pt x="197" y="1869"/>
                  </a:cubicBezTo>
                  <a:lnTo>
                    <a:pt x="3099" y="22083"/>
                  </a:lnTo>
                  <a:cubicBezTo>
                    <a:pt x="3266" y="23117"/>
                    <a:pt x="4167" y="23918"/>
                    <a:pt x="5234" y="23951"/>
                  </a:cubicBezTo>
                  <a:lnTo>
                    <a:pt x="11805" y="23951"/>
                  </a:lnTo>
                  <a:cubicBezTo>
                    <a:pt x="13073" y="23951"/>
                    <a:pt x="14240" y="23284"/>
                    <a:pt x="14874" y="22183"/>
                  </a:cubicBezTo>
                  <a:lnTo>
                    <a:pt x="26216" y="2803"/>
                  </a:lnTo>
                  <a:cubicBezTo>
                    <a:pt x="26950" y="1569"/>
                    <a:pt x="26049" y="1"/>
                    <a:pt x="24615" y="1"/>
                  </a:cubicBezTo>
                  <a:lnTo>
                    <a:pt x="1765" y="1"/>
                  </a:lnTo>
                  <a:cubicBezTo>
                    <a:pt x="1747" y="0"/>
                    <a:pt x="1729" y="0"/>
                    <a:pt x="1711" y="0"/>
                  </a:cubicBezTo>
                  <a:close/>
                </a:path>
              </a:pathLst>
            </a:custGeom>
            <a:solidFill>
              <a:srgbClr val="61D5B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501927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889"/>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6D2C0C7-B3AC-1C85-26E6-6422BC694598}"/>
              </a:ext>
            </a:extLst>
          </p:cNvPr>
          <p:cNvGraphicFramePr>
            <a:graphicFrameLocks noChangeAspect="1"/>
          </p:cNvGraphicFramePr>
          <p:nvPr>
            <p:custDataLst>
              <p:tags r:id="rId1"/>
            </p:custDataLst>
            <p:extLst>
              <p:ext uri="{D42A27DB-BD31-4B8C-83A1-F6EECF244321}">
                <p14:modId xmlns:p14="http://schemas.microsoft.com/office/powerpoint/2010/main" val="4670396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7" imgW="425" imgH="424" progId="TCLayout.ActiveDocument.1">
                  <p:embed/>
                </p:oleObj>
              </mc:Choice>
              <mc:Fallback>
                <p:oleObj name="Diapositiva think-cell" r:id="rId7" imgW="425" imgH="424" progId="TCLayout.ActiveDocument.1">
                  <p:embed/>
                  <p:pic>
                    <p:nvPicPr>
                      <p:cNvPr id="8" name="think-cell data - do not delete" hidden="1">
                        <a:extLst>
                          <a:ext uri="{FF2B5EF4-FFF2-40B4-BE49-F238E27FC236}">
                            <a16:creationId xmlns:a16="http://schemas.microsoft.com/office/drawing/2014/main" id="{76D2C0C7-B3AC-1C85-26E6-6422BC69459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890" name="Google Shape;1890;p53"/>
          <p:cNvSpPr txBox="1">
            <a:spLocks noGrp="1"/>
          </p:cNvSpPr>
          <p:nvPr>
            <p:ph type="title"/>
          </p:nvPr>
        </p:nvSpPr>
        <p:spPr>
          <a:xfrm>
            <a:off x="685347" y="457200"/>
            <a:ext cx="7765321" cy="679451"/>
          </a:xfrm>
          <a:prstGeom prst="rect">
            <a:avLst/>
          </a:prstGeom>
          <a:noFill/>
        </p:spPr>
        <p:txBody>
          <a:bodyPr spcFirstLastPara="1" wrap="square" lIns="91425" tIns="91425" rIns="91425" bIns="91425" anchor="t" anchorCtr="0">
            <a:noAutofit/>
          </a:bodyPr>
          <a:lstStyle/>
          <a:p>
            <a:pPr marL="0" lvl="0" indent="0" algn="ctr" rtl="0">
              <a:spcBef>
                <a:spcPts val="0"/>
              </a:spcBef>
              <a:spcAft>
                <a:spcPts val="0"/>
              </a:spcAft>
              <a:buNone/>
            </a:pPr>
            <a:r>
              <a:rPr lang="en-US" sz="3000"/>
              <a:t>General Insights</a:t>
            </a:r>
          </a:p>
        </p:txBody>
      </p:sp>
      <p:graphicFrame>
        <p:nvGraphicFramePr>
          <p:cNvPr id="1865" name="Chart 3">
            <a:extLst>
              <a:ext uri="{FF2B5EF4-FFF2-40B4-BE49-F238E27FC236}">
                <a16:creationId xmlns:a16="http://schemas.microsoft.com/office/drawing/2014/main" id="{738FEF61-D5F6-CD55-FCBC-60473C8D1052}"/>
              </a:ext>
            </a:extLst>
          </p:cNvPr>
          <p:cNvGraphicFramePr/>
          <p:nvPr>
            <p:custDataLst>
              <p:tags r:id="rId2"/>
            </p:custDataLst>
            <p:extLst>
              <p:ext uri="{D42A27DB-BD31-4B8C-83A1-F6EECF244321}">
                <p14:modId xmlns:p14="http://schemas.microsoft.com/office/powerpoint/2010/main" val="3941355732"/>
              </p:ext>
            </p:extLst>
          </p:nvPr>
        </p:nvGraphicFramePr>
        <p:xfrm>
          <a:off x="214313" y="1177925"/>
          <a:ext cx="2736850" cy="3184525"/>
        </p:xfrm>
        <a:graphic>
          <a:graphicData uri="http://schemas.openxmlformats.org/drawingml/2006/chart">
            <c:chart xmlns:c="http://schemas.openxmlformats.org/drawingml/2006/chart" xmlns:r="http://schemas.openxmlformats.org/officeDocument/2006/relationships" r:id="rId9"/>
          </a:graphicData>
        </a:graphic>
      </p:graphicFrame>
      <p:sp>
        <p:nvSpPr>
          <p:cNvPr id="32" name="Text Placeholder 2">
            <a:extLst>
              <a:ext uri="{FF2B5EF4-FFF2-40B4-BE49-F238E27FC236}">
                <a16:creationId xmlns:a16="http://schemas.microsoft.com/office/drawing/2014/main" id="{0747526B-14B1-7E0B-EB6B-40827B1C8AB3}"/>
              </a:ext>
            </a:extLst>
          </p:cNvPr>
          <p:cNvSpPr>
            <a:spLocks noGrp="1"/>
          </p:cNvSpPr>
          <p:nvPr>
            <p:custDataLst>
              <p:tags r:id="rId3"/>
            </p:custDataLst>
          </p:nvPr>
        </p:nvSpPr>
        <p:spPr bwMode="auto">
          <a:xfrm>
            <a:off x="2720975" y="1898650"/>
            <a:ext cx="39687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71450" indent="-171450" algn="l" defTabSz="685800" rtl="0" eaLnBrk="1" latinLnBrk="0" hangingPunct="1">
              <a:lnSpc>
                <a:spcPct val="120000"/>
              </a:lnSpc>
              <a:spcBef>
                <a:spcPts val="750"/>
              </a:spcBef>
              <a:buFont typeface="Arial" panose="020B0604020202020204" pitchFamily="34" charset="0"/>
              <a:buChar char="•"/>
              <a:defRPr sz="1500" kern="1200">
                <a:solidFill>
                  <a:schemeClr val="tx1"/>
                </a:solidFill>
                <a:effectLst>
                  <a:outerShdw blurRad="50800" dist="38100" dir="2700000" algn="tl" rotWithShape="0">
                    <a:srgbClr val="000000">
                      <a:alpha val="48000"/>
                    </a:srgbClr>
                  </a:outerShdw>
                </a:effectLst>
                <a:latin typeface="+mn-lt"/>
                <a:ea typeface="+mn-ea"/>
                <a:cs typeface="+mn-cs"/>
              </a:defRPr>
            </a:lvl1pPr>
            <a:lvl2pPr marL="514350" indent="-171450" algn="l" defTabSz="685800" rtl="0" eaLnBrk="1" latinLnBrk="0" hangingPunct="1">
              <a:lnSpc>
                <a:spcPct val="120000"/>
              </a:lnSpc>
              <a:spcBef>
                <a:spcPts val="375"/>
              </a:spcBef>
              <a:buFont typeface="Arial" panose="020B0604020202020204" pitchFamily="34" charset="0"/>
              <a:buChar char="•"/>
              <a:defRPr sz="1350" kern="1200">
                <a:solidFill>
                  <a:schemeClr val="tx1"/>
                </a:solidFill>
                <a:effectLst>
                  <a:outerShdw blurRad="50800" dist="38100" dir="2700000" algn="tl" rotWithShape="0">
                    <a:srgbClr val="000000">
                      <a:alpha val="48000"/>
                    </a:srgbClr>
                  </a:outerShdw>
                </a:effectLst>
                <a:latin typeface="+mn-lt"/>
                <a:ea typeface="+mn-ea"/>
                <a:cs typeface="+mn-cs"/>
              </a:defRPr>
            </a:lvl2pPr>
            <a:lvl3pPr marL="857250" indent="-171450" algn="l" defTabSz="685800" rtl="0" eaLnBrk="1" latinLnBrk="0" hangingPunct="1">
              <a:lnSpc>
                <a:spcPct val="120000"/>
              </a:lnSpc>
              <a:spcBef>
                <a:spcPts val="375"/>
              </a:spcBef>
              <a:buFont typeface="Arial" panose="020B0604020202020204" pitchFamily="34" charset="0"/>
              <a:buChar char="•"/>
              <a:defRPr sz="1200" kern="1200">
                <a:solidFill>
                  <a:schemeClr val="tx1"/>
                </a:solidFill>
                <a:effectLst>
                  <a:outerShdw blurRad="50800" dist="38100" dir="2700000" algn="tl" rotWithShape="0">
                    <a:srgbClr val="000000">
                      <a:alpha val="48000"/>
                    </a:srgbClr>
                  </a:outerShdw>
                </a:effectLst>
                <a:latin typeface="+mn-lt"/>
                <a:ea typeface="+mn-ea"/>
                <a:cs typeface="+mn-cs"/>
              </a:defRPr>
            </a:lvl3pPr>
            <a:lvl4pPr marL="1200150" indent="-171450" algn="l" defTabSz="685800" rtl="0" eaLnBrk="1" latinLnBrk="0" hangingPunct="1">
              <a:lnSpc>
                <a:spcPct val="120000"/>
              </a:lnSpc>
              <a:spcBef>
                <a:spcPts val="375"/>
              </a:spcBef>
              <a:buFont typeface="Arial" panose="020B0604020202020204" pitchFamily="34" charset="0"/>
              <a:buChar char="•"/>
              <a:defRPr sz="1050" kern="1200">
                <a:solidFill>
                  <a:schemeClr val="tx1"/>
                </a:solidFill>
                <a:effectLst>
                  <a:outerShdw blurRad="50800" dist="38100" dir="2700000" algn="tl" rotWithShape="0">
                    <a:srgbClr val="000000">
                      <a:alpha val="48000"/>
                    </a:srgbClr>
                  </a:outerShdw>
                </a:effectLst>
                <a:latin typeface="+mn-lt"/>
                <a:ea typeface="+mn-ea"/>
                <a:cs typeface="+mn-cs"/>
              </a:defRPr>
            </a:lvl4pPr>
            <a:lvl5pPr marL="1543050" indent="-171450" algn="l" defTabSz="685800" rtl="0" eaLnBrk="1" latinLnBrk="0" hangingPunct="1">
              <a:lnSpc>
                <a:spcPct val="120000"/>
              </a:lnSpc>
              <a:spcBef>
                <a:spcPts val="375"/>
              </a:spcBef>
              <a:buFont typeface="Arial" panose="020B0604020202020204" pitchFamily="34" charset="0"/>
              <a:buChar char="•"/>
              <a:defRPr sz="900" kern="1200">
                <a:solidFill>
                  <a:schemeClr val="tx1"/>
                </a:solidFill>
                <a:effectLst>
                  <a:outerShdw blurRad="50800" dist="38100" dir="2700000" algn="tl" rotWithShape="0">
                    <a:srgbClr val="000000">
                      <a:alpha val="48000"/>
                    </a:srgbClr>
                  </a:outerShdw>
                </a:effectLst>
                <a:latin typeface="+mn-lt"/>
                <a:ea typeface="+mn-ea"/>
                <a:cs typeface="+mn-cs"/>
              </a:defRPr>
            </a:lvl5pPr>
            <a:lvl6pPr marL="1885950" indent="-171450" algn="l" defTabSz="685800" rtl="0" eaLnBrk="1" latinLnBrk="0" hangingPunct="1">
              <a:lnSpc>
                <a:spcPct val="120000"/>
              </a:lnSpc>
              <a:spcBef>
                <a:spcPts val="375"/>
              </a:spcBef>
              <a:buFont typeface="Arial" panose="020B0604020202020204" pitchFamily="34" charset="0"/>
              <a:buChar char="•"/>
              <a:defRPr sz="900" kern="1200">
                <a:solidFill>
                  <a:schemeClr val="tx1"/>
                </a:solidFill>
                <a:effectLst>
                  <a:outerShdw blurRad="50800" dist="38100" dir="2700000" algn="tl" rotWithShape="0">
                    <a:srgbClr val="000000">
                      <a:alpha val="48000"/>
                    </a:srgbClr>
                  </a:outerShdw>
                </a:effectLst>
                <a:latin typeface="+mn-lt"/>
                <a:ea typeface="+mn-ea"/>
                <a:cs typeface="+mn-cs"/>
              </a:defRPr>
            </a:lvl6pPr>
            <a:lvl7pPr marL="2228850" indent="-171450" algn="l" defTabSz="685800" rtl="0" eaLnBrk="1" latinLnBrk="0" hangingPunct="1">
              <a:lnSpc>
                <a:spcPct val="120000"/>
              </a:lnSpc>
              <a:spcBef>
                <a:spcPts val="375"/>
              </a:spcBef>
              <a:buFont typeface="Arial" panose="020B0604020202020204" pitchFamily="34" charset="0"/>
              <a:buChar char="•"/>
              <a:defRPr sz="900" kern="1200">
                <a:solidFill>
                  <a:schemeClr val="tx1"/>
                </a:solidFill>
                <a:effectLst>
                  <a:outerShdw blurRad="50800" dist="38100" dir="2700000" algn="tl" rotWithShape="0">
                    <a:srgbClr val="000000">
                      <a:alpha val="48000"/>
                    </a:srgbClr>
                  </a:outerShdw>
                </a:effectLst>
                <a:latin typeface="+mn-lt"/>
                <a:ea typeface="+mn-ea"/>
                <a:cs typeface="+mn-cs"/>
              </a:defRPr>
            </a:lvl7pPr>
            <a:lvl8pPr marL="2571750" indent="-171450" algn="l" defTabSz="685800" rtl="0" eaLnBrk="1" latinLnBrk="0" hangingPunct="1">
              <a:lnSpc>
                <a:spcPct val="120000"/>
              </a:lnSpc>
              <a:spcBef>
                <a:spcPts val="375"/>
              </a:spcBef>
              <a:buFont typeface="Arial" panose="020B0604020202020204" pitchFamily="34" charset="0"/>
              <a:buChar char="•"/>
              <a:defRPr sz="900" kern="1200">
                <a:solidFill>
                  <a:schemeClr val="tx1"/>
                </a:solidFill>
                <a:effectLst>
                  <a:outerShdw blurRad="50800" dist="38100" dir="2700000" algn="tl" rotWithShape="0">
                    <a:srgbClr val="000000">
                      <a:alpha val="48000"/>
                    </a:srgbClr>
                  </a:outerShdw>
                </a:effectLst>
                <a:latin typeface="+mn-lt"/>
                <a:ea typeface="+mn-ea"/>
                <a:cs typeface="+mn-cs"/>
              </a:defRPr>
            </a:lvl8pPr>
            <a:lvl9pPr marL="2914650" indent="-171450" algn="l" defTabSz="685800" rtl="0" eaLnBrk="1" latinLnBrk="0" hangingPunct="1">
              <a:lnSpc>
                <a:spcPct val="120000"/>
              </a:lnSpc>
              <a:spcBef>
                <a:spcPts val="375"/>
              </a:spcBef>
              <a:buFont typeface="Arial" panose="020B0604020202020204" pitchFamily="34" charset="0"/>
              <a:buChar char="•"/>
              <a:defRPr sz="900" kern="1200">
                <a:solidFill>
                  <a:schemeClr val="tx1"/>
                </a:solidFill>
                <a:effectLst>
                  <a:outerShdw blurRad="50800" dist="38100" dir="2700000" algn="tl" rotWithShape="0">
                    <a:srgbClr val="000000">
                      <a:alpha val="48000"/>
                    </a:srgbClr>
                  </a:outerShdw>
                </a:effectLst>
                <a:latin typeface="+mn-lt"/>
                <a:ea typeface="+mn-ea"/>
                <a:cs typeface="+mn-cs"/>
              </a:defRPr>
            </a:lvl9pPr>
          </a:lstStyle>
          <a:p>
            <a:pPr marL="0" lvl="0" indent="0">
              <a:spcBef>
                <a:spcPct val="0"/>
              </a:spcBef>
              <a:spcAft>
                <a:spcPct val="0"/>
              </a:spcAft>
              <a:buNone/>
            </a:pPr>
            <a:fld id="{886AD788-0ABB-464E-ACF7-85C7C3336F08}" type="datetime'''''''''''Y''''''''''''''''''''''''''''''''''es'''''">
              <a:rPr lang="it-IT" altLang="en-US" sz="2000" smtClean="0">
                <a:effectLst/>
              </a:rPr>
              <a:pPr marL="0" lvl="0" indent="0">
                <a:spcBef>
                  <a:spcPct val="0"/>
                </a:spcBef>
                <a:spcAft>
                  <a:spcPct val="0"/>
                </a:spcAft>
                <a:buNone/>
              </a:pPr>
              <a:t>Yes</a:t>
            </a:fld>
            <a:endParaRPr lang="it-IT" sz="1400"/>
          </a:p>
        </p:txBody>
      </p:sp>
      <p:sp>
        <p:nvSpPr>
          <p:cNvPr id="33" name="Text Placeholder 2">
            <a:extLst>
              <a:ext uri="{FF2B5EF4-FFF2-40B4-BE49-F238E27FC236}">
                <a16:creationId xmlns:a16="http://schemas.microsoft.com/office/drawing/2014/main" id="{237BE26E-475F-9010-2BAC-81D41DCE0124}"/>
              </a:ext>
            </a:extLst>
          </p:cNvPr>
          <p:cNvSpPr>
            <a:spLocks noGrp="1"/>
          </p:cNvSpPr>
          <p:nvPr>
            <p:custDataLst>
              <p:tags r:id="rId4"/>
            </p:custDataLst>
          </p:nvPr>
        </p:nvSpPr>
        <p:spPr bwMode="auto">
          <a:xfrm>
            <a:off x="371475" y="3635375"/>
            <a:ext cx="328613"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71450" indent="-171450" algn="l" defTabSz="685800" rtl="0" eaLnBrk="1" latinLnBrk="0" hangingPunct="1">
              <a:lnSpc>
                <a:spcPct val="120000"/>
              </a:lnSpc>
              <a:spcBef>
                <a:spcPts val="750"/>
              </a:spcBef>
              <a:buFont typeface="Arial" panose="020B0604020202020204" pitchFamily="34" charset="0"/>
              <a:buChar char="•"/>
              <a:defRPr sz="1500" kern="1200">
                <a:solidFill>
                  <a:schemeClr val="tx1"/>
                </a:solidFill>
                <a:effectLst>
                  <a:outerShdw blurRad="50800" dist="38100" dir="2700000" algn="tl" rotWithShape="0">
                    <a:srgbClr val="000000">
                      <a:alpha val="48000"/>
                    </a:srgbClr>
                  </a:outerShdw>
                </a:effectLst>
                <a:latin typeface="+mn-lt"/>
                <a:ea typeface="+mn-ea"/>
                <a:cs typeface="+mn-cs"/>
              </a:defRPr>
            </a:lvl1pPr>
            <a:lvl2pPr marL="514350" indent="-171450" algn="l" defTabSz="685800" rtl="0" eaLnBrk="1" latinLnBrk="0" hangingPunct="1">
              <a:lnSpc>
                <a:spcPct val="120000"/>
              </a:lnSpc>
              <a:spcBef>
                <a:spcPts val="375"/>
              </a:spcBef>
              <a:buFont typeface="Arial" panose="020B0604020202020204" pitchFamily="34" charset="0"/>
              <a:buChar char="•"/>
              <a:defRPr sz="1350" kern="1200">
                <a:solidFill>
                  <a:schemeClr val="tx1"/>
                </a:solidFill>
                <a:effectLst>
                  <a:outerShdw blurRad="50800" dist="38100" dir="2700000" algn="tl" rotWithShape="0">
                    <a:srgbClr val="000000">
                      <a:alpha val="48000"/>
                    </a:srgbClr>
                  </a:outerShdw>
                </a:effectLst>
                <a:latin typeface="+mn-lt"/>
                <a:ea typeface="+mn-ea"/>
                <a:cs typeface="+mn-cs"/>
              </a:defRPr>
            </a:lvl2pPr>
            <a:lvl3pPr marL="857250" indent="-171450" algn="l" defTabSz="685800" rtl="0" eaLnBrk="1" latinLnBrk="0" hangingPunct="1">
              <a:lnSpc>
                <a:spcPct val="120000"/>
              </a:lnSpc>
              <a:spcBef>
                <a:spcPts val="375"/>
              </a:spcBef>
              <a:buFont typeface="Arial" panose="020B0604020202020204" pitchFamily="34" charset="0"/>
              <a:buChar char="•"/>
              <a:defRPr sz="1200" kern="1200">
                <a:solidFill>
                  <a:schemeClr val="tx1"/>
                </a:solidFill>
                <a:effectLst>
                  <a:outerShdw blurRad="50800" dist="38100" dir="2700000" algn="tl" rotWithShape="0">
                    <a:srgbClr val="000000">
                      <a:alpha val="48000"/>
                    </a:srgbClr>
                  </a:outerShdw>
                </a:effectLst>
                <a:latin typeface="+mn-lt"/>
                <a:ea typeface="+mn-ea"/>
                <a:cs typeface="+mn-cs"/>
              </a:defRPr>
            </a:lvl3pPr>
            <a:lvl4pPr marL="1200150" indent="-171450" algn="l" defTabSz="685800" rtl="0" eaLnBrk="1" latinLnBrk="0" hangingPunct="1">
              <a:lnSpc>
                <a:spcPct val="120000"/>
              </a:lnSpc>
              <a:spcBef>
                <a:spcPts val="375"/>
              </a:spcBef>
              <a:buFont typeface="Arial" panose="020B0604020202020204" pitchFamily="34" charset="0"/>
              <a:buChar char="•"/>
              <a:defRPr sz="1050" kern="1200">
                <a:solidFill>
                  <a:schemeClr val="tx1"/>
                </a:solidFill>
                <a:effectLst>
                  <a:outerShdw blurRad="50800" dist="38100" dir="2700000" algn="tl" rotWithShape="0">
                    <a:srgbClr val="000000">
                      <a:alpha val="48000"/>
                    </a:srgbClr>
                  </a:outerShdw>
                </a:effectLst>
                <a:latin typeface="+mn-lt"/>
                <a:ea typeface="+mn-ea"/>
                <a:cs typeface="+mn-cs"/>
              </a:defRPr>
            </a:lvl4pPr>
            <a:lvl5pPr marL="1543050" indent="-171450" algn="l" defTabSz="685800" rtl="0" eaLnBrk="1" latinLnBrk="0" hangingPunct="1">
              <a:lnSpc>
                <a:spcPct val="120000"/>
              </a:lnSpc>
              <a:spcBef>
                <a:spcPts val="375"/>
              </a:spcBef>
              <a:buFont typeface="Arial" panose="020B0604020202020204" pitchFamily="34" charset="0"/>
              <a:buChar char="•"/>
              <a:defRPr sz="900" kern="1200">
                <a:solidFill>
                  <a:schemeClr val="tx1"/>
                </a:solidFill>
                <a:effectLst>
                  <a:outerShdw blurRad="50800" dist="38100" dir="2700000" algn="tl" rotWithShape="0">
                    <a:srgbClr val="000000">
                      <a:alpha val="48000"/>
                    </a:srgbClr>
                  </a:outerShdw>
                </a:effectLst>
                <a:latin typeface="+mn-lt"/>
                <a:ea typeface="+mn-ea"/>
                <a:cs typeface="+mn-cs"/>
              </a:defRPr>
            </a:lvl5pPr>
            <a:lvl6pPr marL="1885950" indent="-171450" algn="l" defTabSz="685800" rtl="0" eaLnBrk="1" latinLnBrk="0" hangingPunct="1">
              <a:lnSpc>
                <a:spcPct val="120000"/>
              </a:lnSpc>
              <a:spcBef>
                <a:spcPts val="375"/>
              </a:spcBef>
              <a:buFont typeface="Arial" panose="020B0604020202020204" pitchFamily="34" charset="0"/>
              <a:buChar char="•"/>
              <a:defRPr sz="900" kern="1200">
                <a:solidFill>
                  <a:schemeClr val="tx1"/>
                </a:solidFill>
                <a:effectLst>
                  <a:outerShdw blurRad="50800" dist="38100" dir="2700000" algn="tl" rotWithShape="0">
                    <a:srgbClr val="000000">
                      <a:alpha val="48000"/>
                    </a:srgbClr>
                  </a:outerShdw>
                </a:effectLst>
                <a:latin typeface="+mn-lt"/>
                <a:ea typeface="+mn-ea"/>
                <a:cs typeface="+mn-cs"/>
              </a:defRPr>
            </a:lvl6pPr>
            <a:lvl7pPr marL="2228850" indent="-171450" algn="l" defTabSz="685800" rtl="0" eaLnBrk="1" latinLnBrk="0" hangingPunct="1">
              <a:lnSpc>
                <a:spcPct val="120000"/>
              </a:lnSpc>
              <a:spcBef>
                <a:spcPts val="375"/>
              </a:spcBef>
              <a:buFont typeface="Arial" panose="020B0604020202020204" pitchFamily="34" charset="0"/>
              <a:buChar char="•"/>
              <a:defRPr sz="900" kern="1200">
                <a:solidFill>
                  <a:schemeClr val="tx1"/>
                </a:solidFill>
                <a:effectLst>
                  <a:outerShdw blurRad="50800" dist="38100" dir="2700000" algn="tl" rotWithShape="0">
                    <a:srgbClr val="000000">
                      <a:alpha val="48000"/>
                    </a:srgbClr>
                  </a:outerShdw>
                </a:effectLst>
                <a:latin typeface="+mn-lt"/>
                <a:ea typeface="+mn-ea"/>
                <a:cs typeface="+mn-cs"/>
              </a:defRPr>
            </a:lvl7pPr>
            <a:lvl8pPr marL="2571750" indent="-171450" algn="l" defTabSz="685800" rtl="0" eaLnBrk="1" latinLnBrk="0" hangingPunct="1">
              <a:lnSpc>
                <a:spcPct val="120000"/>
              </a:lnSpc>
              <a:spcBef>
                <a:spcPts val="375"/>
              </a:spcBef>
              <a:buFont typeface="Arial" panose="020B0604020202020204" pitchFamily="34" charset="0"/>
              <a:buChar char="•"/>
              <a:defRPr sz="900" kern="1200">
                <a:solidFill>
                  <a:schemeClr val="tx1"/>
                </a:solidFill>
                <a:effectLst>
                  <a:outerShdw blurRad="50800" dist="38100" dir="2700000" algn="tl" rotWithShape="0">
                    <a:srgbClr val="000000">
                      <a:alpha val="48000"/>
                    </a:srgbClr>
                  </a:outerShdw>
                </a:effectLst>
                <a:latin typeface="+mn-lt"/>
                <a:ea typeface="+mn-ea"/>
                <a:cs typeface="+mn-cs"/>
              </a:defRPr>
            </a:lvl8pPr>
            <a:lvl9pPr marL="2914650" indent="-171450" algn="l" defTabSz="685800" rtl="0" eaLnBrk="1" latinLnBrk="0" hangingPunct="1">
              <a:lnSpc>
                <a:spcPct val="120000"/>
              </a:lnSpc>
              <a:spcBef>
                <a:spcPts val="375"/>
              </a:spcBef>
              <a:buFont typeface="Arial" panose="020B0604020202020204" pitchFamily="34" charset="0"/>
              <a:buChar char="•"/>
              <a:defRPr sz="900" kern="1200">
                <a:solidFill>
                  <a:schemeClr val="tx1"/>
                </a:solidFill>
                <a:effectLst>
                  <a:outerShdw blurRad="50800" dist="38100" dir="2700000" algn="tl" rotWithShape="0">
                    <a:srgbClr val="000000">
                      <a:alpha val="48000"/>
                    </a:srgbClr>
                  </a:outerShdw>
                </a:effectLst>
                <a:latin typeface="+mn-lt"/>
                <a:ea typeface="+mn-ea"/>
                <a:cs typeface="+mn-cs"/>
              </a:defRPr>
            </a:lvl9pPr>
          </a:lstStyle>
          <a:p>
            <a:pPr marL="0" lvl="0" indent="0" algn="r">
              <a:spcBef>
                <a:spcPct val="0"/>
              </a:spcBef>
              <a:spcAft>
                <a:spcPct val="0"/>
              </a:spcAft>
              <a:buNone/>
            </a:pPr>
            <a:fld id="{885D7D0F-640C-4EA6-B732-91A4BE362B8A}" type="datetime'''''''''''N''''''''''''''o'''''''''''''''''''''''''''">
              <a:rPr lang="it-IT" altLang="en-US" sz="2000" smtClean="0">
                <a:effectLst/>
              </a:rPr>
              <a:pPr marL="0" lvl="0" indent="0" algn="r">
                <a:spcBef>
                  <a:spcPct val="0"/>
                </a:spcBef>
                <a:spcAft>
                  <a:spcPct val="0"/>
                </a:spcAft>
                <a:buNone/>
              </a:pPr>
              <a:t>No</a:t>
            </a:fld>
            <a:endParaRPr lang="it-IT" sz="1400"/>
          </a:p>
        </p:txBody>
      </p:sp>
      <p:grpSp>
        <p:nvGrpSpPr>
          <p:cNvPr id="1859" name="Google Shape;7503;p70">
            <a:extLst>
              <a:ext uri="{FF2B5EF4-FFF2-40B4-BE49-F238E27FC236}">
                <a16:creationId xmlns:a16="http://schemas.microsoft.com/office/drawing/2014/main" id="{C627169F-EE2D-CA5D-BF6B-948D82DE9B09}"/>
              </a:ext>
            </a:extLst>
          </p:cNvPr>
          <p:cNvGrpSpPr/>
          <p:nvPr/>
        </p:nvGrpSpPr>
        <p:grpSpPr>
          <a:xfrm>
            <a:off x="4046711" y="1412517"/>
            <a:ext cx="339255" cy="339245"/>
            <a:chOff x="5651375" y="3806450"/>
            <a:chExt cx="481825" cy="481825"/>
          </a:xfrm>
        </p:grpSpPr>
        <p:sp>
          <p:nvSpPr>
            <p:cNvPr id="1860" name="Google Shape;7504;p70">
              <a:extLst>
                <a:ext uri="{FF2B5EF4-FFF2-40B4-BE49-F238E27FC236}">
                  <a16:creationId xmlns:a16="http://schemas.microsoft.com/office/drawing/2014/main" id="{9B802117-D7FF-7A8F-D9AA-0F60F738B4D2}"/>
                </a:ext>
              </a:extLst>
            </p:cNvPr>
            <p:cNvSpPr/>
            <p:nvPr/>
          </p:nvSpPr>
          <p:spPr>
            <a:xfrm>
              <a:off x="5793425" y="3976800"/>
              <a:ext cx="28250" cy="28275"/>
            </a:xfrm>
            <a:custGeom>
              <a:avLst/>
              <a:gdLst/>
              <a:ahLst/>
              <a:cxnLst/>
              <a:rect l="l" t="t" r="r" b="b"/>
              <a:pathLst>
                <a:path w="1130" h="1131" extrusionOk="0">
                  <a:moveTo>
                    <a:pt x="567" y="1"/>
                  </a:moveTo>
                  <a:cubicBezTo>
                    <a:pt x="253" y="1"/>
                    <a:pt x="0" y="251"/>
                    <a:pt x="0" y="564"/>
                  </a:cubicBezTo>
                  <a:cubicBezTo>
                    <a:pt x="0" y="877"/>
                    <a:pt x="253" y="1130"/>
                    <a:pt x="567" y="1130"/>
                  </a:cubicBezTo>
                  <a:cubicBezTo>
                    <a:pt x="877" y="1130"/>
                    <a:pt x="1130" y="877"/>
                    <a:pt x="1130" y="564"/>
                  </a:cubicBezTo>
                  <a:cubicBezTo>
                    <a:pt x="1130" y="251"/>
                    <a:pt x="877" y="1"/>
                    <a:pt x="56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861" name="Google Shape;7505;p70">
              <a:extLst>
                <a:ext uri="{FF2B5EF4-FFF2-40B4-BE49-F238E27FC236}">
                  <a16:creationId xmlns:a16="http://schemas.microsoft.com/office/drawing/2014/main" id="{5A837A07-6B16-D682-D31E-05FE589AB8BD}"/>
                </a:ext>
              </a:extLst>
            </p:cNvPr>
            <p:cNvSpPr/>
            <p:nvPr/>
          </p:nvSpPr>
          <p:spPr>
            <a:xfrm>
              <a:off x="5794475" y="4089725"/>
              <a:ext cx="195600" cy="84725"/>
            </a:xfrm>
            <a:custGeom>
              <a:avLst/>
              <a:gdLst/>
              <a:ahLst/>
              <a:cxnLst/>
              <a:rect l="l" t="t" r="r" b="b"/>
              <a:pathLst>
                <a:path w="7824" h="3389" extrusionOk="0">
                  <a:moveTo>
                    <a:pt x="1" y="1"/>
                  </a:moveTo>
                  <a:cubicBezTo>
                    <a:pt x="284" y="1943"/>
                    <a:pt x="1949" y="3385"/>
                    <a:pt x="3912" y="3388"/>
                  </a:cubicBezTo>
                  <a:cubicBezTo>
                    <a:pt x="5875" y="3385"/>
                    <a:pt x="7541" y="1943"/>
                    <a:pt x="782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862" name="Google Shape;7506;p70">
              <a:extLst>
                <a:ext uri="{FF2B5EF4-FFF2-40B4-BE49-F238E27FC236}">
                  <a16:creationId xmlns:a16="http://schemas.microsoft.com/office/drawing/2014/main" id="{716ED4D8-FB02-3A94-6C22-D2B5526D65E5}"/>
                </a:ext>
              </a:extLst>
            </p:cNvPr>
            <p:cNvSpPr/>
            <p:nvPr/>
          </p:nvSpPr>
          <p:spPr>
            <a:xfrm>
              <a:off x="5651375" y="3806450"/>
              <a:ext cx="481825" cy="481825"/>
            </a:xfrm>
            <a:custGeom>
              <a:avLst/>
              <a:gdLst/>
              <a:ahLst/>
              <a:cxnLst/>
              <a:rect l="l" t="t" r="r" b="b"/>
              <a:pathLst>
                <a:path w="19273" h="19273" extrusionOk="0">
                  <a:moveTo>
                    <a:pt x="6249" y="5686"/>
                  </a:moveTo>
                  <a:cubicBezTo>
                    <a:pt x="6932" y="5686"/>
                    <a:pt x="7549" y="6098"/>
                    <a:pt x="7811" y="6730"/>
                  </a:cubicBezTo>
                  <a:cubicBezTo>
                    <a:pt x="8073" y="7363"/>
                    <a:pt x="7929" y="8092"/>
                    <a:pt x="7444" y="8576"/>
                  </a:cubicBezTo>
                  <a:cubicBezTo>
                    <a:pt x="7122" y="8901"/>
                    <a:pt x="6689" y="9073"/>
                    <a:pt x="6248" y="9073"/>
                  </a:cubicBezTo>
                  <a:cubicBezTo>
                    <a:pt x="6029" y="9073"/>
                    <a:pt x="5808" y="9031"/>
                    <a:pt x="5598" y="8944"/>
                  </a:cubicBezTo>
                  <a:cubicBezTo>
                    <a:pt x="4966" y="8682"/>
                    <a:pt x="4553" y="8064"/>
                    <a:pt x="4553" y="7378"/>
                  </a:cubicBezTo>
                  <a:cubicBezTo>
                    <a:pt x="4556" y="6441"/>
                    <a:pt x="5312" y="5686"/>
                    <a:pt x="6249" y="5686"/>
                  </a:cubicBezTo>
                  <a:close/>
                  <a:moveTo>
                    <a:pt x="13024" y="5683"/>
                  </a:moveTo>
                  <a:cubicBezTo>
                    <a:pt x="13242" y="5683"/>
                    <a:pt x="13462" y="5725"/>
                    <a:pt x="13671" y="5812"/>
                  </a:cubicBezTo>
                  <a:cubicBezTo>
                    <a:pt x="14304" y="6074"/>
                    <a:pt x="14716" y="6691"/>
                    <a:pt x="14716" y="7378"/>
                  </a:cubicBezTo>
                  <a:cubicBezTo>
                    <a:pt x="14716" y="8314"/>
                    <a:pt x="13957" y="9073"/>
                    <a:pt x="13024" y="9073"/>
                  </a:cubicBezTo>
                  <a:cubicBezTo>
                    <a:pt x="12337" y="9073"/>
                    <a:pt x="11720" y="8658"/>
                    <a:pt x="11458" y="8025"/>
                  </a:cubicBezTo>
                  <a:cubicBezTo>
                    <a:pt x="11196" y="7393"/>
                    <a:pt x="11341" y="6664"/>
                    <a:pt x="11825" y="6179"/>
                  </a:cubicBezTo>
                  <a:cubicBezTo>
                    <a:pt x="12150" y="5855"/>
                    <a:pt x="12583" y="5683"/>
                    <a:pt x="13024" y="5683"/>
                  </a:cubicBezTo>
                  <a:close/>
                  <a:moveTo>
                    <a:pt x="14153" y="10202"/>
                  </a:moveTo>
                  <a:cubicBezTo>
                    <a:pt x="14463" y="10202"/>
                    <a:pt x="14716" y="10452"/>
                    <a:pt x="14716" y="10766"/>
                  </a:cubicBezTo>
                  <a:cubicBezTo>
                    <a:pt x="14716" y="13566"/>
                    <a:pt x="12437" y="15849"/>
                    <a:pt x="9636" y="15849"/>
                  </a:cubicBezTo>
                  <a:cubicBezTo>
                    <a:pt x="6833" y="15849"/>
                    <a:pt x="4553" y="13566"/>
                    <a:pt x="4553" y="10766"/>
                  </a:cubicBezTo>
                  <a:cubicBezTo>
                    <a:pt x="4553" y="10452"/>
                    <a:pt x="4806" y="10202"/>
                    <a:pt x="5119" y="10202"/>
                  </a:cubicBezTo>
                  <a:close/>
                  <a:moveTo>
                    <a:pt x="9636" y="0"/>
                  </a:moveTo>
                  <a:cubicBezTo>
                    <a:pt x="4342" y="0"/>
                    <a:pt x="0" y="4343"/>
                    <a:pt x="0" y="9636"/>
                  </a:cubicBezTo>
                  <a:cubicBezTo>
                    <a:pt x="0" y="14930"/>
                    <a:pt x="4342" y="19272"/>
                    <a:pt x="9636" y="19272"/>
                  </a:cubicBezTo>
                  <a:cubicBezTo>
                    <a:pt x="14927" y="19272"/>
                    <a:pt x="19272" y="14930"/>
                    <a:pt x="19272" y="9636"/>
                  </a:cubicBezTo>
                  <a:cubicBezTo>
                    <a:pt x="19272" y="4343"/>
                    <a:pt x="14930" y="0"/>
                    <a:pt x="9636" y="0"/>
                  </a:cubicBez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863" name="Google Shape;7507;p70">
              <a:extLst>
                <a:ext uri="{FF2B5EF4-FFF2-40B4-BE49-F238E27FC236}">
                  <a16:creationId xmlns:a16="http://schemas.microsoft.com/office/drawing/2014/main" id="{0997A63F-DD93-15B5-974D-8603162C01CD}"/>
                </a:ext>
              </a:extLst>
            </p:cNvPr>
            <p:cNvSpPr/>
            <p:nvPr/>
          </p:nvSpPr>
          <p:spPr>
            <a:xfrm>
              <a:off x="5962800" y="3976800"/>
              <a:ext cx="28250" cy="28275"/>
            </a:xfrm>
            <a:custGeom>
              <a:avLst/>
              <a:gdLst/>
              <a:ahLst/>
              <a:cxnLst/>
              <a:rect l="l" t="t" r="r" b="b"/>
              <a:pathLst>
                <a:path w="1130" h="1131" extrusionOk="0">
                  <a:moveTo>
                    <a:pt x="567" y="1"/>
                  </a:moveTo>
                  <a:cubicBezTo>
                    <a:pt x="254" y="1"/>
                    <a:pt x="1" y="251"/>
                    <a:pt x="1" y="564"/>
                  </a:cubicBezTo>
                  <a:cubicBezTo>
                    <a:pt x="1" y="877"/>
                    <a:pt x="254" y="1130"/>
                    <a:pt x="567" y="1130"/>
                  </a:cubicBezTo>
                  <a:cubicBezTo>
                    <a:pt x="877" y="1130"/>
                    <a:pt x="1130" y="877"/>
                    <a:pt x="1130" y="564"/>
                  </a:cubicBezTo>
                  <a:cubicBezTo>
                    <a:pt x="1130" y="251"/>
                    <a:pt x="877" y="1"/>
                    <a:pt x="56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1873" name="Google Shape;7499;p70">
            <a:extLst>
              <a:ext uri="{FF2B5EF4-FFF2-40B4-BE49-F238E27FC236}">
                <a16:creationId xmlns:a16="http://schemas.microsoft.com/office/drawing/2014/main" id="{1AC6DFE2-66E1-3F62-4CBF-CA4123CA29DC}"/>
              </a:ext>
            </a:extLst>
          </p:cNvPr>
          <p:cNvGrpSpPr/>
          <p:nvPr/>
        </p:nvGrpSpPr>
        <p:grpSpPr>
          <a:xfrm>
            <a:off x="4046718" y="4000445"/>
            <a:ext cx="339256" cy="339246"/>
            <a:chOff x="5049725" y="3806450"/>
            <a:chExt cx="481825" cy="481825"/>
          </a:xfrm>
        </p:grpSpPr>
        <p:sp>
          <p:nvSpPr>
            <p:cNvPr id="1874" name="Google Shape;7500;p70">
              <a:extLst>
                <a:ext uri="{FF2B5EF4-FFF2-40B4-BE49-F238E27FC236}">
                  <a16:creationId xmlns:a16="http://schemas.microsoft.com/office/drawing/2014/main" id="{E38E00DF-F9F1-831E-F796-86D89EB2C5AA}"/>
                </a:ext>
              </a:extLst>
            </p:cNvPr>
            <p:cNvSpPr/>
            <p:nvPr/>
          </p:nvSpPr>
          <p:spPr>
            <a:xfrm>
              <a:off x="5361150" y="3976800"/>
              <a:ext cx="28250" cy="28275"/>
            </a:xfrm>
            <a:custGeom>
              <a:avLst/>
              <a:gdLst/>
              <a:ahLst/>
              <a:cxnLst/>
              <a:rect l="l" t="t" r="r" b="b"/>
              <a:pathLst>
                <a:path w="1130" h="1131" extrusionOk="0">
                  <a:moveTo>
                    <a:pt x="567" y="1"/>
                  </a:moveTo>
                  <a:cubicBezTo>
                    <a:pt x="254" y="1"/>
                    <a:pt x="1" y="251"/>
                    <a:pt x="1" y="564"/>
                  </a:cubicBezTo>
                  <a:cubicBezTo>
                    <a:pt x="1" y="877"/>
                    <a:pt x="254" y="1130"/>
                    <a:pt x="567" y="1130"/>
                  </a:cubicBezTo>
                  <a:cubicBezTo>
                    <a:pt x="877" y="1130"/>
                    <a:pt x="1130" y="877"/>
                    <a:pt x="1130" y="564"/>
                  </a:cubicBezTo>
                  <a:cubicBezTo>
                    <a:pt x="1130" y="251"/>
                    <a:pt x="877" y="1"/>
                    <a:pt x="56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875" name="Google Shape;7501;p70">
              <a:extLst>
                <a:ext uri="{FF2B5EF4-FFF2-40B4-BE49-F238E27FC236}">
                  <a16:creationId xmlns:a16="http://schemas.microsoft.com/office/drawing/2014/main" id="{D1058A1A-3304-56EE-BC15-8F4C70EF4437}"/>
                </a:ext>
              </a:extLst>
            </p:cNvPr>
            <p:cNvSpPr/>
            <p:nvPr/>
          </p:nvSpPr>
          <p:spPr>
            <a:xfrm>
              <a:off x="5191775" y="3976800"/>
              <a:ext cx="28250" cy="28275"/>
            </a:xfrm>
            <a:custGeom>
              <a:avLst/>
              <a:gdLst/>
              <a:ahLst/>
              <a:cxnLst/>
              <a:rect l="l" t="t" r="r" b="b"/>
              <a:pathLst>
                <a:path w="1130" h="1131" extrusionOk="0">
                  <a:moveTo>
                    <a:pt x="567" y="1"/>
                  </a:moveTo>
                  <a:cubicBezTo>
                    <a:pt x="253" y="1"/>
                    <a:pt x="0" y="251"/>
                    <a:pt x="0" y="564"/>
                  </a:cubicBezTo>
                  <a:cubicBezTo>
                    <a:pt x="0" y="877"/>
                    <a:pt x="253" y="1130"/>
                    <a:pt x="567" y="1130"/>
                  </a:cubicBezTo>
                  <a:cubicBezTo>
                    <a:pt x="877" y="1130"/>
                    <a:pt x="1130" y="877"/>
                    <a:pt x="1130" y="564"/>
                  </a:cubicBezTo>
                  <a:cubicBezTo>
                    <a:pt x="1130" y="251"/>
                    <a:pt x="877" y="1"/>
                    <a:pt x="56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876" name="Google Shape;7502;p70">
              <a:extLst>
                <a:ext uri="{FF2B5EF4-FFF2-40B4-BE49-F238E27FC236}">
                  <a16:creationId xmlns:a16="http://schemas.microsoft.com/office/drawing/2014/main" id="{35A76C5B-C91A-A925-F967-08866D20FA4C}"/>
                </a:ext>
              </a:extLst>
            </p:cNvPr>
            <p:cNvSpPr/>
            <p:nvPr/>
          </p:nvSpPr>
          <p:spPr>
            <a:xfrm>
              <a:off x="5049725" y="3806450"/>
              <a:ext cx="481825" cy="481825"/>
            </a:xfrm>
            <a:custGeom>
              <a:avLst/>
              <a:gdLst/>
              <a:ahLst/>
              <a:cxnLst/>
              <a:rect l="l" t="t" r="r" b="b"/>
              <a:pathLst>
                <a:path w="19273" h="19273" extrusionOk="0">
                  <a:moveTo>
                    <a:pt x="6249" y="5686"/>
                  </a:moveTo>
                  <a:cubicBezTo>
                    <a:pt x="6932" y="5686"/>
                    <a:pt x="7549" y="6098"/>
                    <a:pt x="7811" y="6730"/>
                  </a:cubicBezTo>
                  <a:cubicBezTo>
                    <a:pt x="8073" y="7363"/>
                    <a:pt x="7929" y="8092"/>
                    <a:pt x="7444" y="8576"/>
                  </a:cubicBezTo>
                  <a:cubicBezTo>
                    <a:pt x="7120" y="8901"/>
                    <a:pt x="6686" y="9073"/>
                    <a:pt x="6246" y="9073"/>
                  </a:cubicBezTo>
                  <a:cubicBezTo>
                    <a:pt x="6028" y="9073"/>
                    <a:pt x="5808" y="9031"/>
                    <a:pt x="5598" y="8944"/>
                  </a:cubicBezTo>
                  <a:cubicBezTo>
                    <a:pt x="4966" y="8682"/>
                    <a:pt x="4553" y="8064"/>
                    <a:pt x="4553" y="7378"/>
                  </a:cubicBezTo>
                  <a:cubicBezTo>
                    <a:pt x="4553" y="6441"/>
                    <a:pt x="5312" y="5686"/>
                    <a:pt x="6249" y="5686"/>
                  </a:cubicBezTo>
                  <a:close/>
                  <a:moveTo>
                    <a:pt x="13024" y="5683"/>
                  </a:moveTo>
                  <a:cubicBezTo>
                    <a:pt x="13242" y="5683"/>
                    <a:pt x="13462" y="5725"/>
                    <a:pt x="13671" y="5812"/>
                  </a:cubicBezTo>
                  <a:cubicBezTo>
                    <a:pt x="14304" y="6074"/>
                    <a:pt x="14716" y="6691"/>
                    <a:pt x="14716" y="7378"/>
                  </a:cubicBezTo>
                  <a:cubicBezTo>
                    <a:pt x="14716" y="8314"/>
                    <a:pt x="13957" y="9070"/>
                    <a:pt x="13024" y="9073"/>
                  </a:cubicBezTo>
                  <a:cubicBezTo>
                    <a:pt x="12337" y="9073"/>
                    <a:pt x="11720" y="8658"/>
                    <a:pt x="11458" y="8025"/>
                  </a:cubicBezTo>
                  <a:cubicBezTo>
                    <a:pt x="11196" y="7393"/>
                    <a:pt x="11341" y="6664"/>
                    <a:pt x="11825" y="6179"/>
                  </a:cubicBezTo>
                  <a:cubicBezTo>
                    <a:pt x="12150" y="5855"/>
                    <a:pt x="12583" y="5683"/>
                    <a:pt x="13024" y="5683"/>
                  </a:cubicBezTo>
                  <a:close/>
                  <a:moveTo>
                    <a:pt x="9636" y="10196"/>
                  </a:moveTo>
                  <a:cubicBezTo>
                    <a:pt x="11955" y="10196"/>
                    <a:pt x="13981" y="11765"/>
                    <a:pt x="14557" y="14012"/>
                  </a:cubicBezTo>
                  <a:cubicBezTo>
                    <a:pt x="14635" y="14316"/>
                    <a:pt x="14454" y="14623"/>
                    <a:pt x="14153" y="14701"/>
                  </a:cubicBezTo>
                  <a:cubicBezTo>
                    <a:pt x="14107" y="14713"/>
                    <a:pt x="14060" y="14718"/>
                    <a:pt x="14014" y="14718"/>
                  </a:cubicBezTo>
                  <a:cubicBezTo>
                    <a:pt x="13760" y="14718"/>
                    <a:pt x="13530" y="14550"/>
                    <a:pt x="13464" y="14295"/>
                  </a:cubicBezTo>
                  <a:cubicBezTo>
                    <a:pt x="13015" y="12548"/>
                    <a:pt x="11440" y="11326"/>
                    <a:pt x="9636" y="11326"/>
                  </a:cubicBezTo>
                  <a:cubicBezTo>
                    <a:pt x="7833" y="11326"/>
                    <a:pt x="6258" y="12548"/>
                    <a:pt x="5809" y="14295"/>
                  </a:cubicBezTo>
                  <a:cubicBezTo>
                    <a:pt x="5743" y="14550"/>
                    <a:pt x="5512" y="14718"/>
                    <a:pt x="5260" y="14718"/>
                  </a:cubicBezTo>
                  <a:cubicBezTo>
                    <a:pt x="5215" y="14718"/>
                    <a:pt x="5169" y="14713"/>
                    <a:pt x="5122" y="14701"/>
                  </a:cubicBezTo>
                  <a:cubicBezTo>
                    <a:pt x="4818" y="14623"/>
                    <a:pt x="4638" y="14316"/>
                    <a:pt x="4716" y="14012"/>
                  </a:cubicBezTo>
                  <a:cubicBezTo>
                    <a:pt x="5291" y="11765"/>
                    <a:pt x="7318" y="10196"/>
                    <a:pt x="9636" y="10196"/>
                  </a:cubicBezTo>
                  <a:close/>
                  <a:moveTo>
                    <a:pt x="9636" y="0"/>
                  </a:moveTo>
                  <a:cubicBezTo>
                    <a:pt x="4342" y="0"/>
                    <a:pt x="0" y="4343"/>
                    <a:pt x="0" y="9636"/>
                  </a:cubicBezTo>
                  <a:cubicBezTo>
                    <a:pt x="0" y="14930"/>
                    <a:pt x="4342" y="19272"/>
                    <a:pt x="9636" y="19272"/>
                  </a:cubicBezTo>
                  <a:cubicBezTo>
                    <a:pt x="14927" y="19272"/>
                    <a:pt x="19272" y="14930"/>
                    <a:pt x="19272" y="9636"/>
                  </a:cubicBezTo>
                  <a:cubicBezTo>
                    <a:pt x="19272" y="4343"/>
                    <a:pt x="14927" y="0"/>
                    <a:pt x="9636" y="0"/>
                  </a:cubicBez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
        <p:nvSpPr>
          <p:cNvPr id="1877" name="Google Shape;1881;p52">
            <a:extLst>
              <a:ext uri="{FF2B5EF4-FFF2-40B4-BE49-F238E27FC236}">
                <a16:creationId xmlns:a16="http://schemas.microsoft.com/office/drawing/2014/main" id="{41F7CBD6-3E54-106F-1E46-12D84C6C2B56}"/>
              </a:ext>
            </a:extLst>
          </p:cNvPr>
          <p:cNvSpPr txBox="1"/>
          <p:nvPr/>
        </p:nvSpPr>
        <p:spPr>
          <a:xfrm>
            <a:off x="4485306" y="1222185"/>
            <a:ext cx="3516934" cy="1093724"/>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US" sz="1600">
                <a:solidFill>
                  <a:schemeClr val="lt1"/>
                </a:solidFill>
                <a:latin typeface="Hammersmith One"/>
              </a:rPr>
              <a:t>Highly Influential Factors:</a:t>
            </a:r>
            <a:endParaRPr lang="en-CA" sz="1200">
              <a:solidFill>
                <a:schemeClr val="lt1"/>
              </a:solidFill>
              <a:latin typeface="Hammersmith One"/>
              <a:sym typeface="Hammersmith One"/>
            </a:endParaRPr>
          </a:p>
          <a:p>
            <a:pPr marL="285750" lvl="0" indent="-285750" algn="l" rtl="0">
              <a:spcBef>
                <a:spcPts val="0"/>
              </a:spcBef>
              <a:spcAft>
                <a:spcPts val="0"/>
              </a:spcAft>
              <a:buFont typeface="Arial" panose="020B0604020202020204" pitchFamily="34" charset="0"/>
              <a:buChar char="•"/>
            </a:pPr>
            <a:r>
              <a:rPr lang="en-CA" sz="1400">
                <a:solidFill>
                  <a:schemeClr val="lt1"/>
                </a:solidFill>
                <a:latin typeface="Hammersmith One"/>
                <a:sym typeface="Hammersmith One"/>
              </a:rPr>
              <a:t>Page Values</a:t>
            </a:r>
          </a:p>
          <a:p>
            <a:pPr marL="285750" lvl="0" indent="-285750" algn="l" rtl="0">
              <a:spcBef>
                <a:spcPts val="0"/>
              </a:spcBef>
              <a:spcAft>
                <a:spcPts val="0"/>
              </a:spcAft>
              <a:buFont typeface="Arial" panose="020B0604020202020204" pitchFamily="34" charset="0"/>
              <a:buChar char="•"/>
            </a:pPr>
            <a:r>
              <a:rPr lang="en-CA" sz="1400">
                <a:solidFill>
                  <a:schemeClr val="lt1"/>
                </a:solidFill>
                <a:latin typeface="Hammersmith One"/>
                <a:sym typeface="Hammersmith One"/>
              </a:rPr>
              <a:t>Product Related Interaction</a:t>
            </a:r>
          </a:p>
          <a:p>
            <a:pPr marL="285750" lvl="0" indent="-285750" algn="l" rtl="0">
              <a:spcBef>
                <a:spcPts val="0"/>
              </a:spcBef>
              <a:spcAft>
                <a:spcPts val="0"/>
              </a:spcAft>
              <a:buFont typeface="Arial" panose="020B0604020202020204" pitchFamily="34" charset="0"/>
              <a:buChar char="•"/>
            </a:pPr>
            <a:r>
              <a:rPr lang="en-CA" sz="1400">
                <a:solidFill>
                  <a:schemeClr val="lt1"/>
                </a:solidFill>
                <a:latin typeface="Hammersmith One"/>
                <a:sym typeface="Hammersmith One"/>
              </a:rPr>
              <a:t>Exit Rates &amp; Bounce Rates</a:t>
            </a:r>
          </a:p>
        </p:txBody>
      </p:sp>
      <p:sp>
        <p:nvSpPr>
          <p:cNvPr id="1878" name="Google Shape;1881;p52">
            <a:extLst>
              <a:ext uri="{FF2B5EF4-FFF2-40B4-BE49-F238E27FC236}">
                <a16:creationId xmlns:a16="http://schemas.microsoft.com/office/drawing/2014/main" id="{19F8465D-42A5-5CE2-8A2F-B65D963035DD}"/>
              </a:ext>
            </a:extLst>
          </p:cNvPr>
          <p:cNvSpPr txBox="1"/>
          <p:nvPr/>
        </p:nvSpPr>
        <p:spPr>
          <a:xfrm>
            <a:off x="4484162" y="3921315"/>
            <a:ext cx="3056121" cy="764985"/>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US" sz="1600">
                <a:solidFill>
                  <a:schemeClr val="lt1"/>
                </a:solidFill>
                <a:latin typeface="Hammersmith One"/>
              </a:rPr>
              <a:t>Not Influential Factors:</a:t>
            </a:r>
            <a:endParaRPr lang="en-CA" sz="1200">
              <a:solidFill>
                <a:schemeClr val="lt1"/>
              </a:solidFill>
              <a:latin typeface="Hammersmith One"/>
              <a:sym typeface="Hammersmith One"/>
            </a:endParaRPr>
          </a:p>
          <a:p>
            <a:pPr marL="285750" lvl="0" indent="-285750" algn="l" rtl="0">
              <a:spcBef>
                <a:spcPts val="0"/>
              </a:spcBef>
              <a:spcAft>
                <a:spcPts val="0"/>
              </a:spcAft>
              <a:buFont typeface="Arial" panose="020B0604020202020204" pitchFamily="34" charset="0"/>
              <a:buChar char="•"/>
            </a:pPr>
            <a:r>
              <a:rPr lang="en-US" sz="1400">
                <a:solidFill>
                  <a:schemeClr val="lt1"/>
                </a:solidFill>
                <a:latin typeface="Hammersmith One"/>
                <a:sym typeface="Hammersmith One"/>
              </a:rPr>
              <a:t>Special</a:t>
            </a:r>
            <a:r>
              <a:rPr lang="en-US" sz="1200">
                <a:solidFill>
                  <a:schemeClr val="lt1"/>
                </a:solidFill>
                <a:latin typeface="Hammersmith One"/>
                <a:sym typeface="Hammersmith One"/>
              </a:rPr>
              <a:t> Days</a:t>
            </a:r>
            <a:endParaRPr lang="en-CA" sz="1200">
              <a:solidFill>
                <a:schemeClr val="lt1"/>
              </a:solidFill>
              <a:latin typeface="Hammersmith One"/>
              <a:sym typeface="Hammersmith One"/>
            </a:endParaRPr>
          </a:p>
          <a:p>
            <a:pPr marL="285750" lvl="0" indent="-285750" algn="l" rtl="0">
              <a:spcBef>
                <a:spcPts val="0"/>
              </a:spcBef>
              <a:spcAft>
                <a:spcPts val="0"/>
              </a:spcAft>
              <a:buFont typeface="Arial" panose="020B0604020202020204" pitchFamily="34" charset="0"/>
              <a:buChar char="•"/>
            </a:pPr>
            <a:r>
              <a:rPr lang="en-CA" sz="1400">
                <a:solidFill>
                  <a:schemeClr val="lt1"/>
                </a:solidFill>
                <a:latin typeface="Hammersmith One"/>
                <a:sym typeface="Hammersmith One"/>
              </a:rPr>
              <a:t>Weekends</a:t>
            </a:r>
            <a:endParaRPr lang="en-US" sz="1200">
              <a:solidFill>
                <a:schemeClr val="lt1"/>
              </a:solidFill>
              <a:latin typeface="Hammersmith One"/>
              <a:sym typeface="Hammersmith One"/>
            </a:endParaRPr>
          </a:p>
        </p:txBody>
      </p:sp>
      <p:cxnSp>
        <p:nvCxnSpPr>
          <p:cNvPr id="1882" name="Connettore diritto 1881">
            <a:extLst>
              <a:ext uri="{FF2B5EF4-FFF2-40B4-BE49-F238E27FC236}">
                <a16:creationId xmlns:a16="http://schemas.microsoft.com/office/drawing/2014/main" id="{FE02EF00-AC17-0663-4EAA-7EC5B25554BF}"/>
              </a:ext>
            </a:extLst>
          </p:cNvPr>
          <p:cNvCxnSpPr>
            <a:cxnSpLocks/>
          </p:cNvCxnSpPr>
          <p:nvPr/>
        </p:nvCxnSpPr>
        <p:spPr>
          <a:xfrm flipV="1">
            <a:off x="3170472" y="1641792"/>
            <a:ext cx="785300" cy="30960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85" name="Connettore diritto 1884">
            <a:extLst>
              <a:ext uri="{FF2B5EF4-FFF2-40B4-BE49-F238E27FC236}">
                <a16:creationId xmlns:a16="http://schemas.microsoft.com/office/drawing/2014/main" id="{A671F1E2-6377-87BC-BCBE-E70507D6FDCE}"/>
              </a:ext>
            </a:extLst>
          </p:cNvPr>
          <p:cNvCxnSpPr>
            <a:cxnSpLocks/>
          </p:cNvCxnSpPr>
          <p:nvPr/>
        </p:nvCxnSpPr>
        <p:spPr>
          <a:xfrm>
            <a:off x="3085025" y="2315909"/>
            <a:ext cx="870747" cy="160540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86" name="Connettore diritto 1885">
            <a:extLst>
              <a:ext uri="{FF2B5EF4-FFF2-40B4-BE49-F238E27FC236}">
                <a16:creationId xmlns:a16="http://schemas.microsoft.com/office/drawing/2014/main" id="{79517EA7-99B5-3023-B2E8-82BB4365B2B7}"/>
              </a:ext>
            </a:extLst>
          </p:cNvPr>
          <p:cNvCxnSpPr>
            <a:cxnSpLocks/>
          </p:cNvCxnSpPr>
          <p:nvPr/>
        </p:nvCxnSpPr>
        <p:spPr>
          <a:xfrm>
            <a:off x="3217216" y="2206729"/>
            <a:ext cx="677393" cy="49426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97" name="Google Shape;1881;p52">
            <a:extLst>
              <a:ext uri="{FF2B5EF4-FFF2-40B4-BE49-F238E27FC236}">
                <a16:creationId xmlns:a16="http://schemas.microsoft.com/office/drawing/2014/main" id="{617A0A33-C809-8ABD-E047-B91EAA27A49D}"/>
              </a:ext>
            </a:extLst>
          </p:cNvPr>
          <p:cNvSpPr txBox="1"/>
          <p:nvPr/>
        </p:nvSpPr>
        <p:spPr>
          <a:xfrm>
            <a:off x="4484162" y="2571750"/>
            <a:ext cx="3434233" cy="764985"/>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US" sz="1600">
                <a:solidFill>
                  <a:schemeClr val="lt1"/>
                </a:solidFill>
                <a:latin typeface="Hammersmith One"/>
              </a:rPr>
              <a:t>Factors with Moderate Influence:</a:t>
            </a:r>
          </a:p>
          <a:p>
            <a:pPr marL="285750" lvl="0" indent="-285750" algn="l" rtl="0">
              <a:spcBef>
                <a:spcPts val="0"/>
              </a:spcBef>
              <a:spcAft>
                <a:spcPts val="0"/>
              </a:spcAft>
              <a:buFont typeface="Arial" panose="020B0604020202020204" pitchFamily="34" charset="0"/>
              <a:buChar char="•"/>
            </a:pPr>
            <a:r>
              <a:rPr lang="en-CA" sz="1400">
                <a:solidFill>
                  <a:schemeClr val="lt1"/>
                </a:solidFill>
                <a:latin typeface="Hammersmith One"/>
                <a:sym typeface="Hammersmith One"/>
              </a:rPr>
              <a:t>Information Pages Interaction</a:t>
            </a:r>
          </a:p>
          <a:p>
            <a:pPr marL="285750" indent="-285750">
              <a:buFont typeface="Arial" panose="020B0604020202020204" pitchFamily="34" charset="0"/>
              <a:buChar char="•"/>
            </a:pPr>
            <a:r>
              <a:rPr lang="en-CA" sz="1400">
                <a:solidFill>
                  <a:schemeClr val="lt1"/>
                </a:solidFill>
                <a:latin typeface="Hammersmith One"/>
                <a:sym typeface="Hammersmith One"/>
              </a:rPr>
              <a:t>Administrative Pages Interaction</a:t>
            </a:r>
          </a:p>
          <a:p>
            <a:pPr marL="285750" indent="-285750">
              <a:buFont typeface="Arial" panose="020B0604020202020204" pitchFamily="34" charset="0"/>
              <a:buChar char="•"/>
            </a:pPr>
            <a:r>
              <a:rPr lang="en-CA" sz="1400">
                <a:solidFill>
                  <a:schemeClr val="lt1"/>
                </a:solidFill>
                <a:latin typeface="Hammersmith One"/>
                <a:sym typeface="Hammersmith One"/>
              </a:rPr>
              <a:t>Visitor Type</a:t>
            </a:r>
          </a:p>
        </p:txBody>
      </p:sp>
      <p:pic>
        <p:nvPicPr>
          <p:cNvPr id="16" name="Immagine 15">
            <a:extLst>
              <a:ext uri="{FF2B5EF4-FFF2-40B4-BE49-F238E27FC236}">
                <a16:creationId xmlns:a16="http://schemas.microsoft.com/office/drawing/2014/main" id="{6472A320-E67C-5683-84F0-27E1639F2823}"/>
              </a:ext>
            </a:extLst>
          </p:cNvPr>
          <p:cNvPicPr>
            <a:picLocks noChangeAspect="1"/>
          </p:cNvPicPr>
          <p:nvPr/>
        </p:nvPicPr>
        <p:blipFill>
          <a:blip r:embed="rId10"/>
          <a:stretch>
            <a:fillRect/>
          </a:stretch>
        </p:blipFill>
        <p:spPr>
          <a:xfrm>
            <a:off x="3947447" y="1394924"/>
            <a:ext cx="475552" cy="2944767"/>
          </a:xfrm>
          <a:prstGeom prst="rect">
            <a:avLst/>
          </a:prstGeom>
        </p:spPr>
      </p:pic>
    </p:spTree>
    <p:extLst>
      <p:ext uri="{BB962C8B-B14F-4D97-AF65-F5344CB8AC3E}">
        <p14:creationId xmlns:p14="http://schemas.microsoft.com/office/powerpoint/2010/main" val="27972624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858"/>
        <p:cNvGrpSpPr/>
        <p:nvPr/>
      </p:nvGrpSpPr>
      <p:grpSpPr>
        <a:xfrm>
          <a:off x="0" y="0"/>
          <a:ext cx="0" cy="0"/>
          <a:chOff x="0" y="0"/>
          <a:chExt cx="0" cy="0"/>
        </a:xfrm>
      </p:grpSpPr>
      <p:sp>
        <p:nvSpPr>
          <p:cNvPr id="981" name="Google Shape;981;p39"/>
          <p:cNvSpPr txBox="1">
            <a:spLocks noGrp="1"/>
          </p:cNvSpPr>
          <p:nvPr>
            <p:ph type="ctrTitle"/>
          </p:nvPr>
        </p:nvSpPr>
        <p:spPr>
          <a:xfrm>
            <a:off x="4958279" y="2304869"/>
            <a:ext cx="3393962" cy="9066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IN" sz="3600"/>
              <a:t>Modelling Customers</a:t>
            </a:r>
          </a:p>
        </p:txBody>
      </p:sp>
      <p:sp>
        <p:nvSpPr>
          <p:cNvPr id="983" name="Google Shape;983;p39"/>
          <p:cNvSpPr txBox="1">
            <a:spLocks noGrp="1"/>
          </p:cNvSpPr>
          <p:nvPr>
            <p:ph type="title" idx="2"/>
          </p:nvPr>
        </p:nvSpPr>
        <p:spPr>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04</a:t>
            </a:r>
            <a:endParaRPr/>
          </a:p>
        </p:txBody>
      </p:sp>
      <p:sp>
        <p:nvSpPr>
          <p:cNvPr id="984" name="Google Shape;984;p39"/>
          <p:cNvSpPr/>
          <p:nvPr/>
        </p:nvSpPr>
        <p:spPr>
          <a:xfrm rot="-5422515" flipH="1">
            <a:off x="7897160" y="3514267"/>
            <a:ext cx="328545" cy="328306"/>
          </a:xfrm>
          <a:custGeom>
            <a:avLst/>
            <a:gdLst/>
            <a:ahLst/>
            <a:cxnLst/>
            <a:rect l="l" t="t" r="r" b="b"/>
            <a:pathLst>
              <a:path w="45300" h="45267" extrusionOk="0">
                <a:moveTo>
                  <a:pt x="22629" y="6872"/>
                </a:moveTo>
                <a:cubicBezTo>
                  <a:pt x="26731" y="6872"/>
                  <a:pt x="30760" y="8466"/>
                  <a:pt x="33792" y="11476"/>
                </a:cubicBezTo>
                <a:cubicBezTo>
                  <a:pt x="38295" y="16012"/>
                  <a:pt x="39629" y="22784"/>
                  <a:pt x="37194" y="28688"/>
                </a:cubicBezTo>
                <a:cubicBezTo>
                  <a:pt x="34759" y="34559"/>
                  <a:pt x="29021" y="38428"/>
                  <a:pt x="22617" y="38428"/>
                </a:cubicBezTo>
                <a:lnTo>
                  <a:pt x="22617" y="38395"/>
                </a:lnTo>
                <a:cubicBezTo>
                  <a:pt x="13911" y="38395"/>
                  <a:pt x="6872" y="31356"/>
                  <a:pt x="6872" y="22650"/>
                </a:cubicBezTo>
                <a:cubicBezTo>
                  <a:pt x="6839" y="16279"/>
                  <a:pt x="10708" y="10508"/>
                  <a:pt x="16579" y="8073"/>
                </a:cubicBezTo>
                <a:cubicBezTo>
                  <a:pt x="18538" y="7265"/>
                  <a:pt x="20592" y="6872"/>
                  <a:pt x="22629" y="6872"/>
                </a:cubicBezTo>
                <a:close/>
                <a:moveTo>
                  <a:pt x="20916" y="1"/>
                </a:moveTo>
                <a:lnTo>
                  <a:pt x="20315" y="2102"/>
                </a:lnTo>
                <a:cubicBezTo>
                  <a:pt x="19148" y="2236"/>
                  <a:pt x="18014" y="2469"/>
                  <a:pt x="16913" y="2769"/>
                </a:cubicBezTo>
                <a:lnTo>
                  <a:pt x="15545" y="1068"/>
                </a:lnTo>
                <a:lnTo>
                  <a:pt x="12376" y="2369"/>
                </a:lnTo>
                <a:lnTo>
                  <a:pt x="12643" y="4571"/>
                </a:lnTo>
                <a:cubicBezTo>
                  <a:pt x="11609" y="5104"/>
                  <a:pt x="10642" y="5771"/>
                  <a:pt x="9741" y="6472"/>
                </a:cubicBezTo>
                <a:lnTo>
                  <a:pt x="7806" y="5405"/>
                </a:lnTo>
                <a:lnTo>
                  <a:pt x="5405" y="7840"/>
                </a:lnTo>
                <a:lnTo>
                  <a:pt x="6472" y="9774"/>
                </a:lnTo>
                <a:cubicBezTo>
                  <a:pt x="5772" y="10675"/>
                  <a:pt x="5104" y="11642"/>
                  <a:pt x="4537" y="12643"/>
                </a:cubicBezTo>
                <a:lnTo>
                  <a:pt x="2369" y="12410"/>
                </a:lnTo>
                <a:lnTo>
                  <a:pt x="1068" y="15545"/>
                </a:lnTo>
                <a:lnTo>
                  <a:pt x="2769" y="16913"/>
                </a:lnTo>
                <a:cubicBezTo>
                  <a:pt x="2436" y="18047"/>
                  <a:pt x="2236" y="19181"/>
                  <a:pt x="2102" y="20315"/>
                </a:cubicBezTo>
                <a:lnTo>
                  <a:pt x="1" y="20916"/>
                </a:lnTo>
                <a:lnTo>
                  <a:pt x="1" y="24351"/>
                </a:lnTo>
                <a:lnTo>
                  <a:pt x="2102" y="24952"/>
                </a:lnTo>
                <a:cubicBezTo>
                  <a:pt x="2236" y="26086"/>
                  <a:pt x="2469" y="27220"/>
                  <a:pt x="2769" y="28354"/>
                </a:cubicBezTo>
                <a:lnTo>
                  <a:pt x="1068" y="29722"/>
                </a:lnTo>
                <a:lnTo>
                  <a:pt x="2369" y="32857"/>
                </a:lnTo>
                <a:lnTo>
                  <a:pt x="4537" y="32624"/>
                </a:lnTo>
                <a:cubicBezTo>
                  <a:pt x="5104" y="33625"/>
                  <a:pt x="5772" y="34592"/>
                  <a:pt x="6472" y="35493"/>
                </a:cubicBezTo>
                <a:lnTo>
                  <a:pt x="5405" y="37427"/>
                </a:lnTo>
                <a:lnTo>
                  <a:pt x="7840" y="39863"/>
                </a:lnTo>
                <a:lnTo>
                  <a:pt x="9774" y="38795"/>
                </a:lnTo>
                <a:cubicBezTo>
                  <a:pt x="10675" y="39496"/>
                  <a:pt x="11642" y="40163"/>
                  <a:pt x="12643" y="40730"/>
                </a:cubicBezTo>
                <a:lnTo>
                  <a:pt x="12410" y="42898"/>
                </a:lnTo>
                <a:lnTo>
                  <a:pt x="15545" y="44199"/>
                </a:lnTo>
                <a:lnTo>
                  <a:pt x="16913" y="42498"/>
                </a:lnTo>
                <a:cubicBezTo>
                  <a:pt x="18047" y="42798"/>
                  <a:pt x="19181" y="43031"/>
                  <a:pt x="20349" y="43165"/>
                </a:cubicBezTo>
                <a:lnTo>
                  <a:pt x="20916" y="45266"/>
                </a:lnTo>
                <a:lnTo>
                  <a:pt x="24318" y="45266"/>
                </a:lnTo>
                <a:lnTo>
                  <a:pt x="24952" y="43165"/>
                </a:lnTo>
                <a:cubicBezTo>
                  <a:pt x="26086" y="43031"/>
                  <a:pt x="27220" y="42798"/>
                  <a:pt x="28354" y="42498"/>
                </a:cubicBezTo>
                <a:lnTo>
                  <a:pt x="29722" y="44199"/>
                </a:lnTo>
                <a:lnTo>
                  <a:pt x="32858" y="42898"/>
                </a:lnTo>
                <a:lnTo>
                  <a:pt x="32624" y="40730"/>
                </a:lnTo>
                <a:cubicBezTo>
                  <a:pt x="33625" y="40163"/>
                  <a:pt x="34592" y="39496"/>
                  <a:pt x="35493" y="38795"/>
                </a:cubicBezTo>
                <a:lnTo>
                  <a:pt x="37427" y="39863"/>
                </a:lnTo>
                <a:lnTo>
                  <a:pt x="39863" y="37461"/>
                </a:lnTo>
                <a:lnTo>
                  <a:pt x="38795" y="35526"/>
                </a:lnTo>
                <a:cubicBezTo>
                  <a:pt x="39496" y="34625"/>
                  <a:pt x="40163" y="33658"/>
                  <a:pt x="40730" y="32657"/>
                </a:cubicBezTo>
                <a:lnTo>
                  <a:pt x="42898" y="32891"/>
                </a:lnTo>
                <a:lnTo>
                  <a:pt x="44199" y="29722"/>
                </a:lnTo>
                <a:lnTo>
                  <a:pt x="42498" y="28354"/>
                </a:lnTo>
                <a:cubicBezTo>
                  <a:pt x="42798" y="27253"/>
                  <a:pt x="43031" y="26119"/>
                  <a:pt x="43165" y="24952"/>
                </a:cubicBezTo>
                <a:lnTo>
                  <a:pt x="45300" y="24351"/>
                </a:lnTo>
                <a:lnTo>
                  <a:pt x="45300" y="20916"/>
                </a:lnTo>
                <a:lnTo>
                  <a:pt x="43165" y="20315"/>
                </a:lnTo>
                <a:cubicBezTo>
                  <a:pt x="43031" y="19181"/>
                  <a:pt x="42798" y="18047"/>
                  <a:pt x="42498" y="16913"/>
                </a:cubicBezTo>
                <a:lnTo>
                  <a:pt x="44199" y="15545"/>
                </a:lnTo>
                <a:lnTo>
                  <a:pt x="42898" y="12376"/>
                </a:lnTo>
                <a:lnTo>
                  <a:pt x="40730" y="12643"/>
                </a:lnTo>
                <a:cubicBezTo>
                  <a:pt x="40163" y="11642"/>
                  <a:pt x="39496" y="10675"/>
                  <a:pt x="38795" y="9774"/>
                </a:cubicBezTo>
                <a:lnTo>
                  <a:pt x="39863" y="7840"/>
                </a:lnTo>
                <a:lnTo>
                  <a:pt x="37427" y="5405"/>
                </a:lnTo>
                <a:lnTo>
                  <a:pt x="35493" y="6472"/>
                </a:lnTo>
                <a:cubicBezTo>
                  <a:pt x="34592" y="5771"/>
                  <a:pt x="33658" y="5104"/>
                  <a:pt x="32624" y="4571"/>
                </a:cubicBezTo>
                <a:lnTo>
                  <a:pt x="32891" y="2369"/>
                </a:lnTo>
                <a:lnTo>
                  <a:pt x="29722" y="1068"/>
                </a:lnTo>
                <a:lnTo>
                  <a:pt x="28354" y="2769"/>
                </a:lnTo>
                <a:cubicBezTo>
                  <a:pt x="27220" y="2469"/>
                  <a:pt x="26086" y="2236"/>
                  <a:pt x="24952" y="2102"/>
                </a:cubicBezTo>
                <a:lnTo>
                  <a:pt x="24318" y="1"/>
                </a:lnTo>
                <a:close/>
              </a:path>
            </a:pathLst>
          </a:custGeom>
          <a:solidFill>
            <a:srgbClr val="C3FF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 name="Google Shape;985;p39"/>
          <p:cNvSpPr/>
          <p:nvPr/>
        </p:nvSpPr>
        <p:spPr>
          <a:xfrm rot="-5421983" flipH="1">
            <a:off x="8199077" y="3813219"/>
            <a:ext cx="513599" cy="513225"/>
          </a:xfrm>
          <a:custGeom>
            <a:avLst/>
            <a:gdLst/>
            <a:ahLst/>
            <a:cxnLst/>
            <a:rect l="l" t="t" r="r" b="b"/>
            <a:pathLst>
              <a:path w="45300" h="45267" extrusionOk="0">
                <a:moveTo>
                  <a:pt x="22629" y="6872"/>
                </a:moveTo>
                <a:cubicBezTo>
                  <a:pt x="26731" y="6872"/>
                  <a:pt x="30760" y="8466"/>
                  <a:pt x="33792" y="11476"/>
                </a:cubicBezTo>
                <a:cubicBezTo>
                  <a:pt x="38295" y="16012"/>
                  <a:pt x="39629" y="22784"/>
                  <a:pt x="37194" y="28688"/>
                </a:cubicBezTo>
                <a:cubicBezTo>
                  <a:pt x="34759" y="34559"/>
                  <a:pt x="29021" y="38428"/>
                  <a:pt x="22617" y="38428"/>
                </a:cubicBezTo>
                <a:lnTo>
                  <a:pt x="22617" y="38395"/>
                </a:lnTo>
                <a:cubicBezTo>
                  <a:pt x="13911" y="38395"/>
                  <a:pt x="6872" y="31356"/>
                  <a:pt x="6872" y="22650"/>
                </a:cubicBezTo>
                <a:cubicBezTo>
                  <a:pt x="6839" y="16279"/>
                  <a:pt x="10708" y="10508"/>
                  <a:pt x="16579" y="8073"/>
                </a:cubicBezTo>
                <a:cubicBezTo>
                  <a:pt x="18538" y="7265"/>
                  <a:pt x="20592" y="6872"/>
                  <a:pt x="22629" y="6872"/>
                </a:cubicBezTo>
                <a:close/>
                <a:moveTo>
                  <a:pt x="20916" y="1"/>
                </a:moveTo>
                <a:lnTo>
                  <a:pt x="20315" y="2102"/>
                </a:lnTo>
                <a:cubicBezTo>
                  <a:pt x="19148" y="2236"/>
                  <a:pt x="18014" y="2469"/>
                  <a:pt x="16913" y="2769"/>
                </a:cubicBezTo>
                <a:lnTo>
                  <a:pt x="15545" y="1068"/>
                </a:lnTo>
                <a:lnTo>
                  <a:pt x="12376" y="2369"/>
                </a:lnTo>
                <a:lnTo>
                  <a:pt x="12643" y="4571"/>
                </a:lnTo>
                <a:cubicBezTo>
                  <a:pt x="11609" y="5104"/>
                  <a:pt x="10642" y="5771"/>
                  <a:pt x="9741" y="6472"/>
                </a:cubicBezTo>
                <a:lnTo>
                  <a:pt x="7806" y="5405"/>
                </a:lnTo>
                <a:lnTo>
                  <a:pt x="5405" y="7840"/>
                </a:lnTo>
                <a:lnTo>
                  <a:pt x="6472" y="9774"/>
                </a:lnTo>
                <a:cubicBezTo>
                  <a:pt x="5772" y="10675"/>
                  <a:pt x="5104" y="11642"/>
                  <a:pt x="4537" y="12643"/>
                </a:cubicBezTo>
                <a:lnTo>
                  <a:pt x="2369" y="12410"/>
                </a:lnTo>
                <a:lnTo>
                  <a:pt x="1068" y="15545"/>
                </a:lnTo>
                <a:lnTo>
                  <a:pt x="2769" y="16913"/>
                </a:lnTo>
                <a:cubicBezTo>
                  <a:pt x="2436" y="18047"/>
                  <a:pt x="2236" y="19181"/>
                  <a:pt x="2102" y="20315"/>
                </a:cubicBezTo>
                <a:lnTo>
                  <a:pt x="1" y="20916"/>
                </a:lnTo>
                <a:lnTo>
                  <a:pt x="1" y="24351"/>
                </a:lnTo>
                <a:lnTo>
                  <a:pt x="2102" y="24952"/>
                </a:lnTo>
                <a:cubicBezTo>
                  <a:pt x="2236" y="26086"/>
                  <a:pt x="2469" y="27220"/>
                  <a:pt x="2769" y="28354"/>
                </a:cubicBezTo>
                <a:lnTo>
                  <a:pt x="1068" y="29722"/>
                </a:lnTo>
                <a:lnTo>
                  <a:pt x="2369" y="32857"/>
                </a:lnTo>
                <a:lnTo>
                  <a:pt x="4537" y="32624"/>
                </a:lnTo>
                <a:cubicBezTo>
                  <a:pt x="5104" y="33625"/>
                  <a:pt x="5772" y="34592"/>
                  <a:pt x="6472" y="35493"/>
                </a:cubicBezTo>
                <a:lnTo>
                  <a:pt x="5405" y="37427"/>
                </a:lnTo>
                <a:lnTo>
                  <a:pt x="7840" y="39863"/>
                </a:lnTo>
                <a:lnTo>
                  <a:pt x="9774" y="38795"/>
                </a:lnTo>
                <a:cubicBezTo>
                  <a:pt x="10675" y="39496"/>
                  <a:pt x="11642" y="40163"/>
                  <a:pt x="12643" y="40730"/>
                </a:cubicBezTo>
                <a:lnTo>
                  <a:pt x="12410" y="42898"/>
                </a:lnTo>
                <a:lnTo>
                  <a:pt x="15545" y="44199"/>
                </a:lnTo>
                <a:lnTo>
                  <a:pt x="16913" y="42498"/>
                </a:lnTo>
                <a:cubicBezTo>
                  <a:pt x="18047" y="42798"/>
                  <a:pt x="19181" y="43031"/>
                  <a:pt x="20349" y="43165"/>
                </a:cubicBezTo>
                <a:lnTo>
                  <a:pt x="20916" y="45266"/>
                </a:lnTo>
                <a:lnTo>
                  <a:pt x="24318" y="45266"/>
                </a:lnTo>
                <a:lnTo>
                  <a:pt x="24952" y="43165"/>
                </a:lnTo>
                <a:cubicBezTo>
                  <a:pt x="26086" y="43031"/>
                  <a:pt x="27220" y="42798"/>
                  <a:pt x="28354" y="42498"/>
                </a:cubicBezTo>
                <a:lnTo>
                  <a:pt x="29722" y="44199"/>
                </a:lnTo>
                <a:lnTo>
                  <a:pt x="32858" y="42898"/>
                </a:lnTo>
                <a:lnTo>
                  <a:pt x="32624" y="40730"/>
                </a:lnTo>
                <a:cubicBezTo>
                  <a:pt x="33625" y="40163"/>
                  <a:pt x="34592" y="39496"/>
                  <a:pt x="35493" y="38795"/>
                </a:cubicBezTo>
                <a:lnTo>
                  <a:pt x="37427" y="39863"/>
                </a:lnTo>
                <a:lnTo>
                  <a:pt x="39863" y="37461"/>
                </a:lnTo>
                <a:lnTo>
                  <a:pt x="38795" y="35526"/>
                </a:lnTo>
                <a:cubicBezTo>
                  <a:pt x="39496" y="34625"/>
                  <a:pt x="40163" y="33658"/>
                  <a:pt x="40730" y="32657"/>
                </a:cubicBezTo>
                <a:lnTo>
                  <a:pt x="42898" y="32891"/>
                </a:lnTo>
                <a:lnTo>
                  <a:pt x="44199" y="29722"/>
                </a:lnTo>
                <a:lnTo>
                  <a:pt x="42498" y="28354"/>
                </a:lnTo>
                <a:cubicBezTo>
                  <a:pt x="42798" y="27253"/>
                  <a:pt x="43031" y="26119"/>
                  <a:pt x="43165" y="24952"/>
                </a:cubicBezTo>
                <a:lnTo>
                  <a:pt x="45300" y="24351"/>
                </a:lnTo>
                <a:lnTo>
                  <a:pt x="45300" y="20916"/>
                </a:lnTo>
                <a:lnTo>
                  <a:pt x="43165" y="20315"/>
                </a:lnTo>
                <a:cubicBezTo>
                  <a:pt x="43031" y="19181"/>
                  <a:pt x="42798" y="18047"/>
                  <a:pt x="42498" y="16913"/>
                </a:cubicBezTo>
                <a:lnTo>
                  <a:pt x="44199" y="15545"/>
                </a:lnTo>
                <a:lnTo>
                  <a:pt x="42898" y="12376"/>
                </a:lnTo>
                <a:lnTo>
                  <a:pt x="40730" y="12643"/>
                </a:lnTo>
                <a:cubicBezTo>
                  <a:pt x="40163" y="11642"/>
                  <a:pt x="39496" y="10675"/>
                  <a:pt x="38795" y="9774"/>
                </a:cubicBezTo>
                <a:lnTo>
                  <a:pt x="39863" y="7840"/>
                </a:lnTo>
                <a:lnTo>
                  <a:pt x="37427" y="5405"/>
                </a:lnTo>
                <a:lnTo>
                  <a:pt x="35493" y="6472"/>
                </a:lnTo>
                <a:cubicBezTo>
                  <a:pt x="34592" y="5771"/>
                  <a:pt x="33658" y="5104"/>
                  <a:pt x="32624" y="4571"/>
                </a:cubicBezTo>
                <a:lnTo>
                  <a:pt x="32891" y="2369"/>
                </a:lnTo>
                <a:lnTo>
                  <a:pt x="29722" y="1068"/>
                </a:lnTo>
                <a:lnTo>
                  <a:pt x="28354" y="2769"/>
                </a:lnTo>
                <a:cubicBezTo>
                  <a:pt x="27220" y="2469"/>
                  <a:pt x="26086" y="2236"/>
                  <a:pt x="24952" y="2102"/>
                </a:cubicBezTo>
                <a:lnTo>
                  <a:pt x="24318"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49" name="Google Shape;1656;p51">
            <a:extLst>
              <a:ext uri="{FF2B5EF4-FFF2-40B4-BE49-F238E27FC236}">
                <a16:creationId xmlns:a16="http://schemas.microsoft.com/office/drawing/2014/main" id="{31F62480-A3CE-554C-A2E6-1B007F030513}"/>
              </a:ext>
            </a:extLst>
          </p:cNvPr>
          <p:cNvGrpSpPr/>
          <p:nvPr/>
        </p:nvGrpSpPr>
        <p:grpSpPr>
          <a:xfrm>
            <a:off x="228805" y="1239544"/>
            <a:ext cx="5212075" cy="3703500"/>
            <a:chOff x="361525" y="1111300"/>
            <a:chExt cx="5212075" cy="3703500"/>
          </a:xfrm>
        </p:grpSpPr>
        <p:sp>
          <p:nvSpPr>
            <p:cNvPr id="850" name="Google Shape;1657;p51">
              <a:extLst>
                <a:ext uri="{FF2B5EF4-FFF2-40B4-BE49-F238E27FC236}">
                  <a16:creationId xmlns:a16="http://schemas.microsoft.com/office/drawing/2014/main" id="{3D8C3DC0-FBF6-7068-5D53-C9D98D753BAF}"/>
                </a:ext>
              </a:extLst>
            </p:cNvPr>
            <p:cNvSpPr/>
            <p:nvPr/>
          </p:nvSpPr>
          <p:spPr>
            <a:xfrm>
              <a:off x="361525" y="4344450"/>
              <a:ext cx="5212075" cy="2525"/>
            </a:xfrm>
            <a:custGeom>
              <a:avLst/>
              <a:gdLst/>
              <a:ahLst/>
              <a:cxnLst/>
              <a:rect l="l" t="t" r="r" b="b"/>
              <a:pathLst>
                <a:path w="208483" h="101" extrusionOk="0">
                  <a:moveTo>
                    <a:pt x="0" y="0"/>
                  </a:moveTo>
                  <a:lnTo>
                    <a:pt x="0" y="101"/>
                  </a:lnTo>
                  <a:lnTo>
                    <a:pt x="208482" y="101"/>
                  </a:lnTo>
                  <a:lnTo>
                    <a:pt x="208482" y="0"/>
                  </a:lnTo>
                  <a:close/>
                </a:path>
              </a:pathLst>
            </a:custGeom>
            <a:solidFill>
              <a:srgbClr val="EBEBEB"/>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1" name="Google Shape;1658;p51">
              <a:extLst>
                <a:ext uri="{FF2B5EF4-FFF2-40B4-BE49-F238E27FC236}">
                  <a16:creationId xmlns:a16="http://schemas.microsoft.com/office/drawing/2014/main" id="{1151B053-1A05-D386-8C20-F40A67C86DD3}"/>
                </a:ext>
              </a:extLst>
            </p:cNvPr>
            <p:cNvSpPr/>
            <p:nvPr/>
          </p:nvSpPr>
          <p:spPr>
            <a:xfrm>
              <a:off x="4706275" y="4512075"/>
              <a:ext cx="345275" cy="2525"/>
            </a:xfrm>
            <a:custGeom>
              <a:avLst/>
              <a:gdLst/>
              <a:ahLst/>
              <a:cxnLst/>
              <a:rect l="l" t="t" r="r" b="b"/>
              <a:pathLst>
                <a:path w="13811" h="101" extrusionOk="0">
                  <a:moveTo>
                    <a:pt x="1" y="0"/>
                  </a:moveTo>
                  <a:lnTo>
                    <a:pt x="1" y="100"/>
                  </a:lnTo>
                  <a:lnTo>
                    <a:pt x="13811" y="100"/>
                  </a:lnTo>
                  <a:lnTo>
                    <a:pt x="13811" y="0"/>
                  </a:lnTo>
                  <a:close/>
                </a:path>
              </a:pathLst>
            </a:custGeom>
            <a:solidFill>
              <a:srgbClr val="EBEBEB"/>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 name="Google Shape;1659;p51">
              <a:extLst>
                <a:ext uri="{FF2B5EF4-FFF2-40B4-BE49-F238E27FC236}">
                  <a16:creationId xmlns:a16="http://schemas.microsoft.com/office/drawing/2014/main" id="{70A081B3-0326-909A-6638-D1EC1C50BE69}"/>
                </a:ext>
              </a:extLst>
            </p:cNvPr>
            <p:cNvSpPr/>
            <p:nvPr/>
          </p:nvSpPr>
          <p:spPr>
            <a:xfrm>
              <a:off x="3723925" y="4540425"/>
              <a:ext cx="90075" cy="2525"/>
            </a:xfrm>
            <a:custGeom>
              <a:avLst/>
              <a:gdLst/>
              <a:ahLst/>
              <a:cxnLst/>
              <a:rect l="l" t="t" r="r" b="b"/>
              <a:pathLst>
                <a:path w="3603" h="101" extrusionOk="0">
                  <a:moveTo>
                    <a:pt x="0" y="0"/>
                  </a:moveTo>
                  <a:lnTo>
                    <a:pt x="0" y="100"/>
                  </a:lnTo>
                  <a:lnTo>
                    <a:pt x="3603" y="100"/>
                  </a:lnTo>
                  <a:lnTo>
                    <a:pt x="3603" y="0"/>
                  </a:lnTo>
                  <a:close/>
                </a:path>
              </a:pathLst>
            </a:custGeom>
            <a:solidFill>
              <a:srgbClr val="EBEBE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 name="Google Shape;1660;p51">
              <a:extLst>
                <a:ext uri="{FF2B5EF4-FFF2-40B4-BE49-F238E27FC236}">
                  <a16:creationId xmlns:a16="http://schemas.microsoft.com/office/drawing/2014/main" id="{9E2E40E0-B186-01B9-68DF-2DC375399DF1}"/>
                </a:ext>
              </a:extLst>
            </p:cNvPr>
            <p:cNvSpPr/>
            <p:nvPr/>
          </p:nvSpPr>
          <p:spPr>
            <a:xfrm>
              <a:off x="4495300" y="4415325"/>
              <a:ext cx="200175" cy="2525"/>
            </a:xfrm>
            <a:custGeom>
              <a:avLst/>
              <a:gdLst/>
              <a:ahLst/>
              <a:cxnLst/>
              <a:rect l="l" t="t" r="r" b="b"/>
              <a:pathLst>
                <a:path w="8007" h="101" extrusionOk="0">
                  <a:moveTo>
                    <a:pt x="0" y="1"/>
                  </a:moveTo>
                  <a:lnTo>
                    <a:pt x="0" y="101"/>
                  </a:lnTo>
                  <a:lnTo>
                    <a:pt x="8006" y="101"/>
                  </a:lnTo>
                  <a:lnTo>
                    <a:pt x="8006" y="1"/>
                  </a:lnTo>
                  <a:close/>
                </a:path>
              </a:pathLst>
            </a:custGeom>
            <a:solidFill>
              <a:srgbClr val="EBEBEB"/>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 name="Google Shape;1661;p51">
              <a:extLst>
                <a:ext uri="{FF2B5EF4-FFF2-40B4-BE49-F238E27FC236}">
                  <a16:creationId xmlns:a16="http://schemas.microsoft.com/office/drawing/2014/main" id="{A2353840-F9E5-D780-3775-C7A930539163}"/>
                </a:ext>
              </a:extLst>
            </p:cNvPr>
            <p:cNvSpPr/>
            <p:nvPr/>
          </p:nvSpPr>
          <p:spPr>
            <a:xfrm>
              <a:off x="908575" y="4432850"/>
              <a:ext cx="450350" cy="2525"/>
            </a:xfrm>
            <a:custGeom>
              <a:avLst/>
              <a:gdLst/>
              <a:ahLst/>
              <a:cxnLst/>
              <a:rect l="l" t="t" r="r" b="b"/>
              <a:pathLst>
                <a:path w="18014" h="101" extrusionOk="0">
                  <a:moveTo>
                    <a:pt x="0" y="0"/>
                  </a:moveTo>
                  <a:lnTo>
                    <a:pt x="0" y="100"/>
                  </a:lnTo>
                  <a:lnTo>
                    <a:pt x="18013" y="100"/>
                  </a:lnTo>
                  <a:lnTo>
                    <a:pt x="18013" y="0"/>
                  </a:lnTo>
                  <a:close/>
                </a:path>
              </a:pathLst>
            </a:custGeom>
            <a:solidFill>
              <a:srgbClr val="EBEBEB"/>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 name="Google Shape;1662;p51">
              <a:extLst>
                <a:ext uri="{FF2B5EF4-FFF2-40B4-BE49-F238E27FC236}">
                  <a16:creationId xmlns:a16="http://schemas.microsoft.com/office/drawing/2014/main" id="{AA5CAB1B-1746-C869-8BAF-BCC12C10E114}"/>
                </a:ext>
              </a:extLst>
            </p:cNvPr>
            <p:cNvSpPr/>
            <p:nvPr/>
          </p:nvSpPr>
          <p:spPr>
            <a:xfrm>
              <a:off x="1451450" y="4432850"/>
              <a:ext cx="65925" cy="2525"/>
            </a:xfrm>
            <a:custGeom>
              <a:avLst/>
              <a:gdLst/>
              <a:ahLst/>
              <a:cxnLst/>
              <a:rect l="l" t="t" r="r" b="b"/>
              <a:pathLst>
                <a:path w="2637" h="101" extrusionOk="0">
                  <a:moveTo>
                    <a:pt x="1" y="0"/>
                  </a:moveTo>
                  <a:lnTo>
                    <a:pt x="1" y="100"/>
                  </a:lnTo>
                  <a:lnTo>
                    <a:pt x="2636" y="100"/>
                  </a:lnTo>
                  <a:lnTo>
                    <a:pt x="2636" y="0"/>
                  </a:lnTo>
                  <a:close/>
                </a:path>
              </a:pathLst>
            </a:custGeom>
            <a:solidFill>
              <a:srgbClr val="EBEBE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 name="Google Shape;1663;p51">
              <a:extLst>
                <a:ext uri="{FF2B5EF4-FFF2-40B4-BE49-F238E27FC236}">
                  <a16:creationId xmlns:a16="http://schemas.microsoft.com/office/drawing/2014/main" id="{6AD22752-41CF-7534-9E4F-A79EC27B9B08}"/>
                </a:ext>
              </a:extLst>
            </p:cNvPr>
            <p:cNvSpPr/>
            <p:nvPr/>
          </p:nvSpPr>
          <p:spPr>
            <a:xfrm>
              <a:off x="1731650" y="4477050"/>
              <a:ext cx="976575" cy="2525"/>
            </a:xfrm>
            <a:custGeom>
              <a:avLst/>
              <a:gdLst/>
              <a:ahLst/>
              <a:cxnLst/>
              <a:rect l="l" t="t" r="r" b="b"/>
              <a:pathLst>
                <a:path w="39063" h="101" extrusionOk="0">
                  <a:moveTo>
                    <a:pt x="1" y="0"/>
                  </a:moveTo>
                  <a:lnTo>
                    <a:pt x="1" y="100"/>
                  </a:lnTo>
                  <a:lnTo>
                    <a:pt x="39062" y="100"/>
                  </a:lnTo>
                  <a:lnTo>
                    <a:pt x="39062" y="0"/>
                  </a:lnTo>
                  <a:close/>
                </a:path>
              </a:pathLst>
            </a:custGeom>
            <a:solidFill>
              <a:srgbClr val="EBEBEB"/>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7" name="Google Shape;1664;p51">
              <a:extLst>
                <a:ext uri="{FF2B5EF4-FFF2-40B4-BE49-F238E27FC236}">
                  <a16:creationId xmlns:a16="http://schemas.microsoft.com/office/drawing/2014/main" id="{98FB861C-AEB1-F158-DA7F-53F331410927}"/>
                </a:ext>
              </a:extLst>
            </p:cNvPr>
            <p:cNvSpPr/>
            <p:nvPr/>
          </p:nvSpPr>
          <p:spPr>
            <a:xfrm>
              <a:off x="2638150" y="1111300"/>
              <a:ext cx="2022300" cy="1567825"/>
            </a:xfrm>
            <a:custGeom>
              <a:avLst/>
              <a:gdLst/>
              <a:ahLst/>
              <a:cxnLst/>
              <a:rect l="l" t="t" r="r" b="b"/>
              <a:pathLst>
                <a:path w="80892" h="62713" extrusionOk="0">
                  <a:moveTo>
                    <a:pt x="0" y="1"/>
                  </a:moveTo>
                  <a:lnTo>
                    <a:pt x="0" y="62712"/>
                  </a:lnTo>
                  <a:lnTo>
                    <a:pt x="80891" y="62712"/>
                  </a:lnTo>
                  <a:lnTo>
                    <a:pt x="80891" y="1"/>
                  </a:lnTo>
                  <a:close/>
                </a:path>
              </a:pathLst>
            </a:custGeom>
            <a:solidFill>
              <a:srgbClr val="E6E6E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8" name="Google Shape;1665;p51">
              <a:extLst>
                <a:ext uri="{FF2B5EF4-FFF2-40B4-BE49-F238E27FC236}">
                  <a16:creationId xmlns:a16="http://schemas.microsoft.com/office/drawing/2014/main" id="{D57992C6-A626-EE21-D15A-85BCA99CCC75}"/>
                </a:ext>
              </a:extLst>
            </p:cNvPr>
            <p:cNvSpPr/>
            <p:nvPr/>
          </p:nvSpPr>
          <p:spPr>
            <a:xfrm>
              <a:off x="2596450" y="1111300"/>
              <a:ext cx="2022300" cy="1567825"/>
            </a:xfrm>
            <a:custGeom>
              <a:avLst/>
              <a:gdLst/>
              <a:ahLst/>
              <a:cxnLst/>
              <a:rect l="l" t="t" r="r" b="b"/>
              <a:pathLst>
                <a:path w="80892" h="62713" extrusionOk="0">
                  <a:moveTo>
                    <a:pt x="0" y="1"/>
                  </a:moveTo>
                  <a:lnTo>
                    <a:pt x="0" y="62712"/>
                  </a:lnTo>
                  <a:lnTo>
                    <a:pt x="80891" y="62712"/>
                  </a:lnTo>
                  <a:lnTo>
                    <a:pt x="80891" y="1"/>
                  </a:lnTo>
                  <a:close/>
                </a:path>
              </a:pathLst>
            </a:custGeom>
            <a:solidFill>
              <a:srgbClr val="F5F5F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 name="Google Shape;1666;p51">
              <a:extLst>
                <a:ext uri="{FF2B5EF4-FFF2-40B4-BE49-F238E27FC236}">
                  <a16:creationId xmlns:a16="http://schemas.microsoft.com/office/drawing/2014/main" id="{29C66D3A-62B2-28D5-2842-7358AF55DC2A}"/>
                </a:ext>
              </a:extLst>
            </p:cNvPr>
            <p:cNvSpPr/>
            <p:nvPr/>
          </p:nvSpPr>
          <p:spPr>
            <a:xfrm>
              <a:off x="2498875" y="2679100"/>
              <a:ext cx="2161575" cy="90075"/>
            </a:xfrm>
            <a:custGeom>
              <a:avLst/>
              <a:gdLst/>
              <a:ahLst/>
              <a:cxnLst/>
              <a:rect l="l" t="t" r="r" b="b"/>
              <a:pathLst>
                <a:path w="86463" h="3603" extrusionOk="0">
                  <a:moveTo>
                    <a:pt x="0" y="0"/>
                  </a:moveTo>
                  <a:lnTo>
                    <a:pt x="0" y="3603"/>
                  </a:lnTo>
                  <a:lnTo>
                    <a:pt x="86462" y="3603"/>
                  </a:lnTo>
                  <a:lnTo>
                    <a:pt x="86462" y="0"/>
                  </a:lnTo>
                  <a:close/>
                </a:path>
              </a:pathLst>
            </a:custGeom>
            <a:solidFill>
              <a:srgbClr val="E6E6E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 name="Google Shape;1667;p51">
              <a:extLst>
                <a:ext uri="{FF2B5EF4-FFF2-40B4-BE49-F238E27FC236}">
                  <a16:creationId xmlns:a16="http://schemas.microsoft.com/office/drawing/2014/main" id="{E1DA0E9B-A07F-C1CA-DB16-46998E7AFCB1}"/>
                </a:ext>
              </a:extLst>
            </p:cNvPr>
            <p:cNvSpPr/>
            <p:nvPr/>
          </p:nvSpPr>
          <p:spPr>
            <a:xfrm>
              <a:off x="2451350" y="2679100"/>
              <a:ext cx="2068150" cy="90075"/>
            </a:xfrm>
            <a:custGeom>
              <a:avLst/>
              <a:gdLst/>
              <a:ahLst/>
              <a:cxnLst/>
              <a:rect l="l" t="t" r="r" b="b"/>
              <a:pathLst>
                <a:path w="82726" h="3603" extrusionOk="0">
                  <a:moveTo>
                    <a:pt x="0" y="0"/>
                  </a:moveTo>
                  <a:lnTo>
                    <a:pt x="0" y="3603"/>
                  </a:lnTo>
                  <a:lnTo>
                    <a:pt x="82726" y="3603"/>
                  </a:lnTo>
                  <a:lnTo>
                    <a:pt x="82726" y="0"/>
                  </a:lnTo>
                  <a:close/>
                </a:path>
              </a:pathLst>
            </a:custGeom>
            <a:solidFill>
              <a:srgbClr val="F5F5F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 name="Google Shape;1668;p51">
              <a:extLst>
                <a:ext uri="{FF2B5EF4-FFF2-40B4-BE49-F238E27FC236}">
                  <a16:creationId xmlns:a16="http://schemas.microsoft.com/office/drawing/2014/main" id="{13B8EDE5-5544-5FAF-81BF-0C18E187B82A}"/>
                </a:ext>
              </a:extLst>
            </p:cNvPr>
            <p:cNvSpPr/>
            <p:nvPr/>
          </p:nvSpPr>
          <p:spPr>
            <a:xfrm>
              <a:off x="2671500" y="1193025"/>
              <a:ext cx="1871350" cy="1404375"/>
            </a:xfrm>
            <a:custGeom>
              <a:avLst/>
              <a:gdLst/>
              <a:ahLst/>
              <a:cxnLst/>
              <a:rect l="l" t="t" r="r" b="b"/>
              <a:pathLst>
                <a:path w="74854" h="56175" extrusionOk="0">
                  <a:moveTo>
                    <a:pt x="0" y="1"/>
                  </a:moveTo>
                  <a:lnTo>
                    <a:pt x="0" y="56174"/>
                  </a:lnTo>
                  <a:lnTo>
                    <a:pt x="74854" y="56174"/>
                  </a:lnTo>
                  <a:lnTo>
                    <a:pt x="74854" y="1"/>
                  </a:lnTo>
                  <a:close/>
                </a:path>
              </a:pathLst>
            </a:custGeom>
            <a:solidFill>
              <a:srgbClr val="FAFAF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 name="Google Shape;1669;p51">
              <a:extLst>
                <a:ext uri="{FF2B5EF4-FFF2-40B4-BE49-F238E27FC236}">
                  <a16:creationId xmlns:a16="http://schemas.microsoft.com/office/drawing/2014/main" id="{D98151E3-0DB1-235B-1AF8-AACE3C04C0D7}"/>
                </a:ext>
              </a:extLst>
            </p:cNvPr>
            <p:cNvSpPr/>
            <p:nvPr/>
          </p:nvSpPr>
          <p:spPr>
            <a:xfrm>
              <a:off x="2832450" y="1193025"/>
              <a:ext cx="1058275" cy="1404375"/>
            </a:xfrm>
            <a:custGeom>
              <a:avLst/>
              <a:gdLst/>
              <a:ahLst/>
              <a:cxnLst/>
              <a:rect l="l" t="t" r="r" b="b"/>
              <a:pathLst>
                <a:path w="42331" h="56175" extrusionOk="0">
                  <a:moveTo>
                    <a:pt x="20982" y="1"/>
                  </a:moveTo>
                  <a:lnTo>
                    <a:pt x="0" y="56174"/>
                  </a:lnTo>
                  <a:lnTo>
                    <a:pt x="21382" y="56174"/>
                  </a:lnTo>
                  <a:lnTo>
                    <a:pt x="42330"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 name="Google Shape;1670;p51">
              <a:extLst>
                <a:ext uri="{FF2B5EF4-FFF2-40B4-BE49-F238E27FC236}">
                  <a16:creationId xmlns:a16="http://schemas.microsoft.com/office/drawing/2014/main" id="{534C0B4F-39A1-17F5-A3E5-FF633EBDE6F3}"/>
                </a:ext>
              </a:extLst>
            </p:cNvPr>
            <p:cNvSpPr/>
            <p:nvPr/>
          </p:nvSpPr>
          <p:spPr>
            <a:xfrm>
              <a:off x="3458725" y="1193025"/>
              <a:ext cx="818100" cy="1404375"/>
            </a:xfrm>
            <a:custGeom>
              <a:avLst/>
              <a:gdLst/>
              <a:ahLst/>
              <a:cxnLst/>
              <a:rect l="l" t="t" r="r" b="b"/>
              <a:pathLst>
                <a:path w="32724" h="56175" extrusionOk="0">
                  <a:moveTo>
                    <a:pt x="20949" y="1"/>
                  </a:moveTo>
                  <a:lnTo>
                    <a:pt x="0" y="56174"/>
                  </a:lnTo>
                  <a:lnTo>
                    <a:pt x="11776" y="56174"/>
                  </a:lnTo>
                  <a:lnTo>
                    <a:pt x="32724"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 name="Google Shape;1671;p51">
              <a:extLst>
                <a:ext uri="{FF2B5EF4-FFF2-40B4-BE49-F238E27FC236}">
                  <a16:creationId xmlns:a16="http://schemas.microsoft.com/office/drawing/2014/main" id="{4CCD2818-5685-B9A3-0C8E-2267BB455A74}"/>
                </a:ext>
              </a:extLst>
            </p:cNvPr>
            <p:cNvSpPr/>
            <p:nvPr/>
          </p:nvSpPr>
          <p:spPr>
            <a:xfrm>
              <a:off x="3565475" y="1193025"/>
              <a:ext cx="84250" cy="1404375"/>
            </a:xfrm>
            <a:custGeom>
              <a:avLst/>
              <a:gdLst/>
              <a:ahLst/>
              <a:cxnLst/>
              <a:rect l="l" t="t" r="r" b="b"/>
              <a:pathLst>
                <a:path w="3370" h="56175" extrusionOk="0">
                  <a:moveTo>
                    <a:pt x="0" y="1"/>
                  </a:moveTo>
                  <a:lnTo>
                    <a:pt x="0" y="56174"/>
                  </a:lnTo>
                  <a:lnTo>
                    <a:pt x="3369" y="56174"/>
                  </a:lnTo>
                  <a:lnTo>
                    <a:pt x="3369" y="1"/>
                  </a:lnTo>
                  <a:close/>
                </a:path>
              </a:pathLst>
            </a:custGeom>
            <a:solidFill>
              <a:srgbClr val="F5F5F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 name="Google Shape;1672;p51">
              <a:extLst>
                <a:ext uri="{FF2B5EF4-FFF2-40B4-BE49-F238E27FC236}">
                  <a16:creationId xmlns:a16="http://schemas.microsoft.com/office/drawing/2014/main" id="{1E3347D5-DBA7-3BED-8E0E-D3FFEEDEF850}"/>
                </a:ext>
              </a:extLst>
            </p:cNvPr>
            <p:cNvSpPr/>
            <p:nvPr/>
          </p:nvSpPr>
          <p:spPr>
            <a:xfrm>
              <a:off x="2671500" y="1193025"/>
              <a:ext cx="31700" cy="1404375"/>
            </a:xfrm>
            <a:custGeom>
              <a:avLst/>
              <a:gdLst/>
              <a:ahLst/>
              <a:cxnLst/>
              <a:rect l="l" t="t" r="r" b="b"/>
              <a:pathLst>
                <a:path w="1268" h="56175" extrusionOk="0">
                  <a:moveTo>
                    <a:pt x="0" y="1"/>
                  </a:moveTo>
                  <a:lnTo>
                    <a:pt x="0" y="56174"/>
                  </a:lnTo>
                  <a:lnTo>
                    <a:pt x="1268" y="56174"/>
                  </a:lnTo>
                  <a:lnTo>
                    <a:pt x="1268" y="1"/>
                  </a:lnTo>
                  <a:close/>
                </a:path>
              </a:pathLst>
            </a:custGeom>
            <a:solidFill>
              <a:srgbClr val="E6E6E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 name="Google Shape;1673;p51">
              <a:extLst>
                <a:ext uri="{FF2B5EF4-FFF2-40B4-BE49-F238E27FC236}">
                  <a16:creationId xmlns:a16="http://schemas.microsoft.com/office/drawing/2014/main" id="{0728602D-D821-9274-DD7C-07213F70C482}"/>
                </a:ext>
              </a:extLst>
            </p:cNvPr>
            <p:cNvSpPr/>
            <p:nvPr/>
          </p:nvSpPr>
          <p:spPr>
            <a:xfrm>
              <a:off x="3649700" y="1193025"/>
              <a:ext cx="31700" cy="1404375"/>
            </a:xfrm>
            <a:custGeom>
              <a:avLst/>
              <a:gdLst/>
              <a:ahLst/>
              <a:cxnLst/>
              <a:rect l="l" t="t" r="r" b="b"/>
              <a:pathLst>
                <a:path w="1268" h="56175" extrusionOk="0">
                  <a:moveTo>
                    <a:pt x="0" y="1"/>
                  </a:moveTo>
                  <a:lnTo>
                    <a:pt x="0" y="56174"/>
                  </a:lnTo>
                  <a:lnTo>
                    <a:pt x="1268" y="56174"/>
                  </a:lnTo>
                  <a:lnTo>
                    <a:pt x="1268" y="1"/>
                  </a:lnTo>
                  <a:close/>
                </a:path>
              </a:pathLst>
            </a:custGeom>
            <a:solidFill>
              <a:srgbClr val="E6E6E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 name="Google Shape;1674;p51">
              <a:extLst>
                <a:ext uri="{FF2B5EF4-FFF2-40B4-BE49-F238E27FC236}">
                  <a16:creationId xmlns:a16="http://schemas.microsoft.com/office/drawing/2014/main" id="{16E053DD-66D0-8CD3-D63B-B3E10EFE3580}"/>
                </a:ext>
              </a:extLst>
            </p:cNvPr>
            <p:cNvSpPr/>
            <p:nvPr/>
          </p:nvSpPr>
          <p:spPr>
            <a:xfrm>
              <a:off x="1302175" y="1111300"/>
              <a:ext cx="791425" cy="1627025"/>
            </a:xfrm>
            <a:custGeom>
              <a:avLst/>
              <a:gdLst/>
              <a:ahLst/>
              <a:cxnLst/>
              <a:rect l="l" t="t" r="r" b="b"/>
              <a:pathLst>
                <a:path w="31657" h="65081" extrusionOk="0">
                  <a:moveTo>
                    <a:pt x="1" y="1"/>
                  </a:moveTo>
                  <a:lnTo>
                    <a:pt x="1" y="65080"/>
                  </a:lnTo>
                  <a:lnTo>
                    <a:pt x="31657" y="65080"/>
                  </a:lnTo>
                  <a:lnTo>
                    <a:pt x="31657" y="1"/>
                  </a:lnTo>
                  <a:close/>
                </a:path>
              </a:pathLst>
            </a:custGeom>
            <a:solidFill>
              <a:srgbClr val="E6E6E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 name="Google Shape;1675;p51">
              <a:extLst>
                <a:ext uri="{FF2B5EF4-FFF2-40B4-BE49-F238E27FC236}">
                  <a16:creationId xmlns:a16="http://schemas.microsoft.com/office/drawing/2014/main" id="{34364C69-769E-4436-EFAF-1AA2F9681627}"/>
                </a:ext>
              </a:extLst>
            </p:cNvPr>
            <p:cNvSpPr/>
            <p:nvPr/>
          </p:nvSpPr>
          <p:spPr>
            <a:xfrm>
              <a:off x="1190450" y="1111300"/>
              <a:ext cx="873975" cy="1627025"/>
            </a:xfrm>
            <a:custGeom>
              <a:avLst/>
              <a:gdLst/>
              <a:ahLst/>
              <a:cxnLst/>
              <a:rect l="l" t="t" r="r" b="b"/>
              <a:pathLst>
                <a:path w="34959" h="65081" extrusionOk="0">
                  <a:moveTo>
                    <a:pt x="0" y="1"/>
                  </a:moveTo>
                  <a:lnTo>
                    <a:pt x="0" y="65080"/>
                  </a:lnTo>
                  <a:lnTo>
                    <a:pt x="34958" y="65080"/>
                  </a:lnTo>
                  <a:lnTo>
                    <a:pt x="3495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 name="Google Shape;1676;p51">
              <a:extLst>
                <a:ext uri="{FF2B5EF4-FFF2-40B4-BE49-F238E27FC236}">
                  <a16:creationId xmlns:a16="http://schemas.microsoft.com/office/drawing/2014/main" id="{A8194369-915A-203B-2D3F-060AD964572C}"/>
                </a:ext>
              </a:extLst>
            </p:cNvPr>
            <p:cNvSpPr/>
            <p:nvPr/>
          </p:nvSpPr>
          <p:spPr>
            <a:xfrm>
              <a:off x="1332200" y="1253075"/>
              <a:ext cx="590450" cy="1343475"/>
            </a:xfrm>
            <a:custGeom>
              <a:avLst/>
              <a:gdLst/>
              <a:ahLst/>
              <a:cxnLst/>
              <a:rect l="l" t="t" r="r" b="b"/>
              <a:pathLst>
                <a:path w="23618" h="53739" extrusionOk="0">
                  <a:moveTo>
                    <a:pt x="1" y="0"/>
                  </a:moveTo>
                  <a:lnTo>
                    <a:pt x="1" y="53739"/>
                  </a:lnTo>
                  <a:lnTo>
                    <a:pt x="23618" y="53739"/>
                  </a:lnTo>
                  <a:lnTo>
                    <a:pt x="23618"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 name="Google Shape;1677;p51">
              <a:extLst>
                <a:ext uri="{FF2B5EF4-FFF2-40B4-BE49-F238E27FC236}">
                  <a16:creationId xmlns:a16="http://schemas.microsoft.com/office/drawing/2014/main" id="{7C0E3D99-AA23-FAAE-983F-C1B2C03335A6}"/>
                </a:ext>
              </a:extLst>
            </p:cNvPr>
            <p:cNvSpPr/>
            <p:nvPr/>
          </p:nvSpPr>
          <p:spPr>
            <a:xfrm>
              <a:off x="1468975" y="1564950"/>
              <a:ext cx="316075" cy="719725"/>
            </a:xfrm>
            <a:custGeom>
              <a:avLst/>
              <a:gdLst/>
              <a:ahLst/>
              <a:cxnLst/>
              <a:rect l="l" t="t" r="r" b="b"/>
              <a:pathLst>
                <a:path w="12643" h="28789" extrusionOk="0">
                  <a:moveTo>
                    <a:pt x="2269" y="1"/>
                  </a:moveTo>
                  <a:cubicBezTo>
                    <a:pt x="1001" y="1"/>
                    <a:pt x="0" y="1002"/>
                    <a:pt x="0" y="2269"/>
                  </a:cubicBezTo>
                  <a:lnTo>
                    <a:pt x="0" y="26553"/>
                  </a:lnTo>
                  <a:cubicBezTo>
                    <a:pt x="0" y="27787"/>
                    <a:pt x="1001" y="28788"/>
                    <a:pt x="2269" y="28788"/>
                  </a:cubicBezTo>
                  <a:lnTo>
                    <a:pt x="10408" y="28788"/>
                  </a:lnTo>
                  <a:cubicBezTo>
                    <a:pt x="11642" y="28788"/>
                    <a:pt x="12643" y="27787"/>
                    <a:pt x="12643" y="26553"/>
                  </a:cubicBezTo>
                  <a:lnTo>
                    <a:pt x="12643" y="2269"/>
                  </a:lnTo>
                  <a:cubicBezTo>
                    <a:pt x="12643" y="1002"/>
                    <a:pt x="11642" y="1"/>
                    <a:pt x="10408" y="1"/>
                  </a:cubicBezTo>
                  <a:close/>
                </a:path>
              </a:pathLst>
            </a:custGeom>
            <a:solidFill>
              <a:srgbClr val="F5F5F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 name="Google Shape;1678;p51">
              <a:extLst>
                <a:ext uri="{FF2B5EF4-FFF2-40B4-BE49-F238E27FC236}">
                  <a16:creationId xmlns:a16="http://schemas.microsoft.com/office/drawing/2014/main" id="{23858FC6-3C2B-84E3-B32A-4025129446D7}"/>
                </a:ext>
              </a:extLst>
            </p:cNvPr>
            <p:cNvSpPr/>
            <p:nvPr/>
          </p:nvSpPr>
          <p:spPr>
            <a:xfrm>
              <a:off x="1006150" y="3056850"/>
              <a:ext cx="316900" cy="1110000"/>
            </a:xfrm>
            <a:custGeom>
              <a:avLst/>
              <a:gdLst/>
              <a:ahLst/>
              <a:cxnLst/>
              <a:rect l="l" t="t" r="r" b="b"/>
              <a:pathLst>
                <a:path w="12676" h="44400" extrusionOk="0">
                  <a:moveTo>
                    <a:pt x="5004" y="1"/>
                  </a:moveTo>
                  <a:cubicBezTo>
                    <a:pt x="2235" y="1"/>
                    <a:pt x="0" y="2236"/>
                    <a:pt x="0" y="5005"/>
                  </a:cubicBezTo>
                  <a:lnTo>
                    <a:pt x="0" y="39396"/>
                  </a:lnTo>
                  <a:cubicBezTo>
                    <a:pt x="0" y="42164"/>
                    <a:pt x="2235" y="44399"/>
                    <a:pt x="5004" y="44399"/>
                  </a:cubicBezTo>
                  <a:lnTo>
                    <a:pt x="7672" y="44399"/>
                  </a:lnTo>
                  <a:cubicBezTo>
                    <a:pt x="10474" y="44399"/>
                    <a:pt x="12676" y="42164"/>
                    <a:pt x="12676" y="39396"/>
                  </a:cubicBezTo>
                  <a:lnTo>
                    <a:pt x="12676" y="5005"/>
                  </a:lnTo>
                  <a:cubicBezTo>
                    <a:pt x="12676" y="2236"/>
                    <a:pt x="10474" y="1"/>
                    <a:pt x="7672" y="1"/>
                  </a:cubicBezTo>
                  <a:close/>
                </a:path>
              </a:pathLst>
            </a:custGeom>
            <a:solidFill>
              <a:srgbClr val="F5F5F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 name="Google Shape;1679;p51">
              <a:extLst>
                <a:ext uri="{FF2B5EF4-FFF2-40B4-BE49-F238E27FC236}">
                  <a16:creationId xmlns:a16="http://schemas.microsoft.com/office/drawing/2014/main" id="{A38CA622-FC34-A747-469C-D74477471C74}"/>
                </a:ext>
              </a:extLst>
            </p:cNvPr>
            <p:cNvSpPr/>
            <p:nvPr/>
          </p:nvSpPr>
          <p:spPr>
            <a:xfrm>
              <a:off x="1148750" y="3094400"/>
              <a:ext cx="214325" cy="1034925"/>
            </a:xfrm>
            <a:custGeom>
              <a:avLst/>
              <a:gdLst/>
              <a:ahLst/>
              <a:cxnLst/>
              <a:rect l="l" t="t" r="r" b="b"/>
              <a:pathLst>
                <a:path w="8573" h="41397" extrusionOk="0">
                  <a:moveTo>
                    <a:pt x="3870" y="0"/>
                  </a:moveTo>
                  <a:cubicBezTo>
                    <a:pt x="1735" y="0"/>
                    <a:pt x="0" y="1701"/>
                    <a:pt x="0" y="3869"/>
                  </a:cubicBezTo>
                  <a:lnTo>
                    <a:pt x="0" y="37527"/>
                  </a:lnTo>
                  <a:cubicBezTo>
                    <a:pt x="0" y="39662"/>
                    <a:pt x="1735" y="41396"/>
                    <a:pt x="3870" y="41396"/>
                  </a:cubicBezTo>
                  <a:lnTo>
                    <a:pt x="4704" y="41396"/>
                  </a:lnTo>
                  <a:cubicBezTo>
                    <a:pt x="6838" y="41396"/>
                    <a:pt x="8573" y="39662"/>
                    <a:pt x="8573" y="37527"/>
                  </a:cubicBezTo>
                  <a:lnTo>
                    <a:pt x="8573" y="3869"/>
                  </a:lnTo>
                  <a:cubicBezTo>
                    <a:pt x="8573" y="1701"/>
                    <a:pt x="6838" y="0"/>
                    <a:pt x="4704" y="0"/>
                  </a:cubicBezTo>
                  <a:close/>
                </a:path>
              </a:pathLst>
            </a:custGeom>
            <a:solidFill>
              <a:srgbClr val="EBEBE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 name="Google Shape;1680;p51">
              <a:extLst>
                <a:ext uri="{FF2B5EF4-FFF2-40B4-BE49-F238E27FC236}">
                  <a16:creationId xmlns:a16="http://schemas.microsoft.com/office/drawing/2014/main" id="{79E4C804-48F3-E6BB-60D1-10B06B984529}"/>
                </a:ext>
              </a:extLst>
            </p:cNvPr>
            <p:cNvSpPr/>
            <p:nvPr/>
          </p:nvSpPr>
          <p:spPr>
            <a:xfrm>
              <a:off x="1236300" y="3056850"/>
              <a:ext cx="317750" cy="1110000"/>
            </a:xfrm>
            <a:custGeom>
              <a:avLst/>
              <a:gdLst/>
              <a:ahLst/>
              <a:cxnLst/>
              <a:rect l="l" t="t" r="r" b="b"/>
              <a:pathLst>
                <a:path w="12710" h="44400" extrusionOk="0">
                  <a:moveTo>
                    <a:pt x="5004" y="1"/>
                  </a:moveTo>
                  <a:cubicBezTo>
                    <a:pt x="2236" y="1"/>
                    <a:pt x="1" y="2236"/>
                    <a:pt x="1" y="5005"/>
                  </a:cubicBezTo>
                  <a:lnTo>
                    <a:pt x="1" y="39396"/>
                  </a:lnTo>
                  <a:cubicBezTo>
                    <a:pt x="1" y="42164"/>
                    <a:pt x="2236" y="44399"/>
                    <a:pt x="5004" y="44399"/>
                  </a:cubicBezTo>
                  <a:lnTo>
                    <a:pt x="7706" y="44399"/>
                  </a:lnTo>
                  <a:cubicBezTo>
                    <a:pt x="10475" y="44399"/>
                    <a:pt x="12710" y="42164"/>
                    <a:pt x="12710" y="39396"/>
                  </a:cubicBezTo>
                  <a:lnTo>
                    <a:pt x="12710" y="5005"/>
                  </a:lnTo>
                  <a:cubicBezTo>
                    <a:pt x="12710" y="2236"/>
                    <a:pt x="10475" y="1"/>
                    <a:pt x="7706" y="1"/>
                  </a:cubicBezTo>
                  <a:close/>
                </a:path>
              </a:pathLst>
            </a:custGeom>
            <a:solidFill>
              <a:srgbClr val="F5F5F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 name="Google Shape;1681;p51">
              <a:extLst>
                <a:ext uri="{FF2B5EF4-FFF2-40B4-BE49-F238E27FC236}">
                  <a16:creationId xmlns:a16="http://schemas.microsoft.com/office/drawing/2014/main" id="{D805FA48-3355-277E-E69A-6613DEEF168E}"/>
                </a:ext>
              </a:extLst>
            </p:cNvPr>
            <p:cNvSpPr/>
            <p:nvPr/>
          </p:nvSpPr>
          <p:spPr>
            <a:xfrm>
              <a:off x="1378900" y="3094400"/>
              <a:ext cx="214350" cy="1034925"/>
            </a:xfrm>
            <a:custGeom>
              <a:avLst/>
              <a:gdLst/>
              <a:ahLst/>
              <a:cxnLst/>
              <a:rect l="l" t="t" r="r" b="b"/>
              <a:pathLst>
                <a:path w="8574" h="41397" extrusionOk="0">
                  <a:moveTo>
                    <a:pt x="3870" y="0"/>
                  </a:moveTo>
                  <a:cubicBezTo>
                    <a:pt x="1735" y="0"/>
                    <a:pt x="1" y="1701"/>
                    <a:pt x="1" y="3869"/>
                  </a:cubicBezTo>
                  <a:lnTo>
                    <a:pt x="1" y="37527"/>
                  </a:lnTo>
                  <a:cubicBezTo>
                    <a:pt x="1" y="39662"/>
                    <a:pt x="1735" y="41396"/>
                    <a:pt x="3870" y="41396"/>
                  </a:cubicBezTo>
                  <a:lnTo>
                    <a:pt x="4704" y="41396"/>
                  </a:lnTo>
                  <a:cubicBezTo>
                    <a:pt x="6839" y="41396"/>
                    <a:pt x="8574" y="39662"/>
                    <a:pt x="8574" y="37527"/>
                  </a:cubicBezTo>
                  <a:lnTo>
                    <a:pt x="8574" y="3869"/>
                  </a:lnTo>
                  <a:cubicBezTo>
                    <a:pt x="8574" y="1701"/>
                    <a:pt x="6839" y="0"/>
                    <a:pt x="4704" y="0"/>
                  </a:cubicBezTo>
                  <a:close/>
                </a:path>
              </a:pathLst>
            </a:custGeom>
            <a:solidFill>
              <a:srgbClr val="EBEBE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 name="Google Shape;1682;p51">
              <a:extLst>
                <a:ext uri="{FF2B5EF4-FFF2-40B4-BE49-F238E27FC236}">
                  <a16:creationId xmlns:a16="http://schemas.microsoft.com/office/drawing/2014/main" id="{EA13CFDA-09A2-740C-EF70-396E13E689CB}"/>
                </a:ext>
              </a:extLst>
            </p:cNvPr>
            <p:cNvSpPr/>
            <p:nvPr/>
          </p:nvSpPr>
          <p:spPr>
            <a:xfrm>
              <a:off x="1467300" y="3056850"/>
              <a:ext cx="316925" cy="1110000"/>
            </a:xfrm>
            <a:custGeom>
              <a:avLst/>
              <a:gdLst/>
              <a:ahLst/>
              <a:cxnLst/>
              <a:rect l="l" t="t" r="r" b="b"/>
              <a:pathLst>
                <a:path w="12677" h="44400" extrusionOk="0">
                  <a:moveTo>
                    <a:pt x="5004" y="1"/>
                  </a:moveTo>
                  <a:cubicBezTo>
                    <a:pt x="2236" y="1"/>
                    <a:pt x="1" y="2236"/>
                    <a:pt x="1" y="5005"/>
                  </a:cubicBezTo>
                  <a:lnTo>
                    <a:pt x="1" y="39396"/>
                  </a:lnTo>
                  <a:cubicBezTo>
                    <a:pt x="1" y="42164"/>
                    <a:pt x="2236" y="44399"/>
                    <a:pt x="5004" y="44399"/>
                  </a:cubicBezTo>
                  <a:lnTo>
                    <a:pt x="7673" y="44399"/>
                  </a:lnTo>
                  <a:cubicBezTo>
                    <a:pt x="10441" y="44399"/>
                    <a:pt x="12676" y="42164"/>
                    <a:pt x="12676" y="39396"/>
                  </a:cubicBezTo>
                  <a:lnTo>
                    <a:pt x="12676" y="5005"/>
                  </a:lnTo>
                  <a:cubicBezTo>
                    <a:pt x="12676" y="2236"/>
                    <a:pt x="10441" y="1"/>
                    <a:pt x="7673" y="1"/>
                  </a:cubicBezTo>
                  <a:close/>
                </a:path>
              </a:pathLst>
            </a:custGeom>
            <a:solidFill>
              <a:srgbClr val="F5F5F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 name="Google Shape;1683;p51">
              <a:extLst>
                <a:ext uri="{FF2B5EF4-FFF2-40B4-BE49-F238E27FC236}">
                  <a16:creationId xmlns:a16="http://schemas.microsoft.com/office/drawing/2014/main" id="{E2353928-21DE-5AD4-DBB4-143417A58195}"/>
                </a:ext>
              </a:extLst>
            </p:cNvPr>
            <p:cNvSpPr/>
            <p:nvPr/>
          </p:nvSpPr>
          <p:spPr>
            <a:xfrm>
              <a:off x="1609075" y="3094400"/>
              <a:ext cx="214350" cy="1034925"/>
            </a:xfrm>
            <a:custGeom>
              <a:avLst/>
              <a:gdLst/>
              <a:ahLst/>
              <a:cxnLst/>
              <a:rect l="l" t="t" r="r" b="b"/>
              <a:pathLst>
                <a:path w="8574" h="41397" extrusionOk="0">
                  <a:moveTo>
                    <a:pt x="3870" y="0"/>
                  </a:moveTo>
                  <a:cubicBezTo>
                    <a:pt x="1735" y="0"/>
                    <a:pt x="0" y="1701"/>
                    <a:pt x="0" y="3869"/>
                  </a:cubicBezTo>
                  <a:lnTo>
                    <a:pt x="0" y="37527"/>
                  </a:lnTo>
                  <a:cubicBezTo>
                    <a:pt x="0" y="39662"/>
                    <a:pt x="1735" y="41396"/>
                    <a:pt x="3870" y="41396"/>
                  </a:cubicBezTo>
                  <a:lnTo>
                    <a:pt x="4704" y="41396"/>
                  </a:lnTo>
                  <a:cubicBezTo>
                    <a:pt x="6872" y="41396"/>
                    <a:pt x="8573" y="39662"/>
                    <a:pt x="8573" y="37527"/>
                  </a:cubicBezTo>
                  <a:lnTo>
                    <a:pt x="8573" y="3869"/>
                  </a:lnTo>
                  <a:cubicBezTo>
                    <a:pt x="8573" y="1701"/>
                    <a:pt x="6872" y="0"/>
                    <a:pt x="4704" y="0"/>
                  </a:cubicBezTo>
                  <a:close/>
                </a:path>
              </a:pathLst>
            </a:custGeom>
            <a:solidFill>
              <a:srgbClr val="EBEBE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 name="Google Shape;1684;p51">
              <a:extLst>
                <a:ext uri="{FF2B5EF4-FFF2-40B4-BE49-F238E27FC236}">
                  <a16:creationId xmlns:a16="http://schemas.microsoft.com/office/drawing/2014/main" id="{07833D15-104E-9511-307E-2CA93464843D}"/>
                </a:ext>
              </a:extLst>
            </p:cNvPr>
            <p:cNvSpPr/>
            <p:nvPr/>
          </p:nvSpPr>
          <p:spPr>
            <a:xfrm>
              <a:off x="1697475" y="3056850"/>
              <a:ext cx="316900" cy="1110000"/>
            </a:xfrm>
            <a:custGeom>
              <a:avLst/>
              <a:gdLst/>
              <a:ahLst/>
              <a:cxnLst/>
              <a:rect l="l" t="t" r="r" b="b"/>
              <a:pathLst>
                <a:path w="12676" h="44400" extrusionOk="0">
                  <a:moveTo>
                    <a:pt x="5004" y="1"/>
                  </a:moveTo>
                  <a:cubicBezTo>
                    <a:pt x="2235" y="1"/>
                    <a:pt x="0" y="2236"/>
                    <a:pt x="0" y="5005"/>
                  </a:cubicBezTo>
                  <a:lnTo>
                    <a:pt x="0" y="39396"/>
                  </a:lnTo>
                  <a:cubicBezTo>
                    <a:pt x="0" y="42164"/>
                    <a:pt x="2235" y="44399"/>
                    <a:pt x="5004" y="44399"/>
                  </a:cubicBezTo>
                  <a:lnTo>
                    <a:pt x="7672" y="44399"/>
                  </a:lnTo>
                  <a:cubicBezTo>
                    <a:pt x="10441" y="44399"/>
                    <a:pt x="12676" y="42164"/>
                    <a:pt x="12676" y="39396"/>
                  </a:cubicBezTo>
                  <a:lnTo>
                    <a:pt x="12676" y="5005"/>
                  </a:lnTo>
                  <a:cubicBezTo>
                    <a:pt x="12676" y="2236"/>
                    <a:pt x="10441" y="1"/>
                    <a:pt x="7672" y="1"/>
                  </a:cubicBezTo>
                  <a:close/>
                </a:path>
              </a:pathLst>
            </a:custGeom>
            <a:solidFill>
              <a:srgbClr val="F5F5F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 name="Google Shape;1685;p51">
              <a:extLst>
                <a:ext uri="{FF2B5EF4-FFF2-40B4-BE49-F238E27FC236}">
                  <a16:creationId xmlns:a16="http://schemas.microsoft.com/office/drawing/2014/main" id="{C576A09D-42B0-02C4-AACC-826FB6FF1FFE}"/>
                </a:ext>
              </a:extLst>
            </p:cNvPr>
            <p:cNvSpPr/>
            <p:nvPr/>
          </p:nvSpPr>
          <p:spPr>
            <a:xfrm>
              <a:off x="1840075" y="3094400"/>
              <a:ext cx="214350" cy="1034925"/>
            </a:xfrm>
            <a:custGeom>
              <a:avLst/>
              <a:gdLst/>
              <a:ahLst/>
              <a:cxnLst/>
              <a:rect l="l" t="t" r="r" b="b"/>
              <a:pathLst>
                <a:path w="8574" h="41397" extrusionOk="0">
                  <a:moveTo>
                    <a:pt x="3870" y="0"/>
                  </a:moveTo>
                  <a:cubicBezTo>
                    <a:pt x="1701" y="0"/>
                    <a:pt x="0" y="1701"/>
                    <a:pt x="0" y="3869"/>
                  </a:cubicBezTo>
                  <a:lnTo>
                    <a:pt x="0" y="37527"/>
                  </a:lnTo>
                  <a:cubicBezTo>
                    <a:pt x="0" y="39662"/>
                    <a:pt x="1701" y="41396"/>
                    <a:pt x="3870" y="41396"/>
                  </a:cubicBezTo>
                  <a:lnTo>
                    <a:pt x="4704" y="41396"/>
                  </a:lnTo>
                  <a:cubicBezTo>
                    <a:pt x="6838" y="41396"/>
                    <a:pt x="8573" y="39662"/>
                    <a:pt x="8573" y="37527"/>
                  </a:cubicBezTo>
                  <a:lnTo>
                    <a:pt x="8573" y="3869"/>
                  </a:lnTo>
                  <a:cubicBezTo>
                    <a:pt x="8573" y="1701"/>
                    <a:pt x="6838" y="0"/>
                    <a:pt x="4704" y="0"/>
                  </a:cubicBezTo>
                  <a:close/>
                </a:path>
              </a:pathLst>
            </a:custGeom>
            <a:solidFill>
              <a:srgbClr val="EBEBE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 name="Google Shape;1686;p51">
              <a:extLst>
                <a:ext uri="{FF2B5EF4-FFF2-40B4-BE49-F238E27FC236}">
                  <a16:creationId xmlns:a16="http://schemas.microsoft.com/office/drawing/2014/main" id="{77FCC58D-DDEB-8498-65AB-EAACEEDE1852}"/>
                </a:ext>
              </a:extLst>
            </p:cNvPr>
            <p:cNvSpPr/>
            <p:nvPr/>
          </p:nvSpPr>
          <p:spPr>
            <a:xfrm>
              <a:off x="1927625" y="3056850"/>
              <a:ext cx="317750" cy="1110000"/>
            </a:xfrm>
            <a:custGeom>
              <a:avLst/>
              <a:gdLst/>
              <a:ahLst/>
              <a:cxnLst/>
              <a:rect l="l" t="t" r="r" b="b"/>
              <a:pathLst>
                <a:path w="12710" h="44400" extrusionOk="0">
                  <a:moveTo>
                    <a:pt x="5004" y="1"/>
                  </a:moveTo>
                  <a:cubicBezTo>
                    <a:pt x="2236" y="1"/>
                    <a:pt x="1" y="2236"/>
                    <a:pt x="1" y="5005"/>
                  </a:cubicBezTo>
                  <a:lnTo>
                    <a:pt x="1" y="39396"/>
                  </a:lnTo>
                  <a:cubicBezTo>
                    <a:pt x="1" y="42164"/>
                    <a:pt x="2236" y="44399"/>
                    <a:pt x="5004" y="44399"/>
                  </a:cubicBezTo>
                  <a:lnTo>
                    <a:pt x="7706" y="44399"/>
                  </a:lnTo>
                  <a:cubicBezTo>
                    <a:pt x="10475" y="44399"/>
                    <a:pt x="12710" y="42164"/>
                    <a:pt x="12710" y="39396"/>
                  </a:cubicBezTo>
                  <a:lnTo>
                    <a:pt x="12710" y="5005"/>
                  </a:lnTo>
                  <a:cubicBezTo>
                    <a:pt x="12710" y="2236"/>
                    <a:pt x="10475" y="1"/>
                    <a:pt x="7706" y="1"/>
                  </a:cubicBezTo>
                  <a:close/>
                </a:path>
              </a:pathLst>
            </a:custGeom>
            <a:solidFill>
              <a:srgbClr val="F5F5F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 name="Google Shape;1687;p51">
              <a:extLst>
                <a:ext uri="{FF2B5EF4-FFF2-40B4-BE49-F238E27FC236}">
                  <a16:creationId xmlns:a16="http://schemas.microsoft.com/office/drawing/2014/main" id="{16218A90-8FBB-A7D8-E61E-3AD4817B378D}"/>
                </a:ext>
              </a:extLst>
            </p:cNvPr>
            <p:cNvSpPr/>
            <p:nvPr/>
          </p:nvSpPr>
          <p:spPr>
            <a:xfrm>
              <a:off x="2070225" y="3094400"/>
              <a:ext cx="214350" cy="1034925"/>
            </a:xfrm>
            <a:custGeom>
              <a:avLst/>
              <a:gdLst/>
              <a:ahLst/>
              <a:cxnLst/>
              <a:rect l="l" t="t" r="r" b="b"/>
              <a:pathLst>
                <a:path w="8574" h="41397" extrusionOk="0">
                  <a:moveTo>
                    <a:pt x="3870" y="0"/>
                  </a:moveTo>
                  <a:cubicBezTo>
                    <a:pt x="1735" y="0"/>
                    <a:pt x="1" y="1701"/>
                    <a:pt x="1" y="3869"/>
                  </a:cubicBezTo>
                  <a:lnTo>
                    <a:pt x="1" y="37527"/>
                  </a:lnTo>
                  <a:cubicBezTo>
                    <a:pt x="1" y="39662"/>
                    <a:pt x="1735" y="41396"/>
                    <a:pt x="3870" y="41396"/>
                  </a:cubicBezTo>
                  <a:lnTo>
                    <a:pt x="4704" y="41396"/>
                  </a:lnTo>
                  <a:cubicBezTo>
                    <a:pt x="6839" y="41396"/>
                    <a:pt x="8574" y="39662"/>
                    <a:pt x="8574" y="37527"/>
                  </a:cubicBezTo>
                  <a:lnTo>
                    <a:pt x="8574" y="3869"/>
                  </a:lnTo>
                  <a:cubicBezTo>
                    <a:pt x="8574" y="1701"/>
                    <a:pt x="6839" y="0"/>
                    <a:pt x="4704" y="0"/>
                  </a:cubicBezTo>
                  <a:close/>
                </a:path>
              </a:pathLst>
            </a:custGeom>
            <a:solidFill>
              <a:srgbClr val="EBEBE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 name="Google Shape;1688;p51">
              <a:extLst>
                <a:ext uri="{FF2B5EF4-FFF2-40B4-BE49-F238E27FC236}">
                  <a16:creationId xmlns:a16="http://schemas.microsoft.com/office/drawing/2014/main" id="{8EC921F0-56C6-B1C3-3291-E5D180F2B933}"/>
                </a:ext>
              </a:extLst>
            </p:cNvPr>
            <p:cNvSpPr/>
            <p:nvPr/>
          </p:nvSpPr>
          <p:spPr>
            <a:xfrm>
              <a:off x="2158625" y="3056850"/>
              <a:ext cx="316925" cy="1110000"/>
            </a:xfrm>
            <a:custGeom>
              <a:avLst/>
              <a:gdLst/>
              <a:ahLst/>
              <a:cxnLst/>
              <a:rect l="l" t="t" r="r" b="b"/>
              <a:pathLst>
                <a:path w="12677" h="44400" extrusionOk="0">
                  <a:moveTo>
                    <a:pt x="5004" y="1"/>
                  </a:moveTo>
                  <a:cubicBezTo>
                    <a:pt x="2236" y="1"/>
                    <a:pt x="1" y="2236"/>
                    <a:pt x="1" y="5005"/>
                  </a:cubicBezTo>
                  <a:lnTo>
                    <a:pt x="1" y="39396"/>
                  </a:lnTo>
                  <a:cubicBezTo>
                    <a:pt x="1" y="42164"/>
                    <a:pt x="2236" y="44399"/>
                    <a:pt x="5004" y="44399"/>
                  </a:cubicBezTo>
                  <a:lnTo>
                    <a:pt x="7673" y="44399"/>
                  </a:lnTo>
                  <a:cubicBezTo>
                    <a:pt x="10441" y="44399"/>
                    <a:pt x="12676" y="42164"/>
                    <a:pt x="12676" y="39396"/>
                  </a:cubicBezTo>
                  <a:lnTo>
                    <a:pt x="12676" y="5005"/>
                  </a:lnTo>
                  <a:cubicBezTo>
                    <a:pt x="12676" y="2236"/>
                    <a:pt x="10441" y="1"/>
                    <a:pt x="7673" y="1"/>
                  </a:cubicBezTo>
                  <a:close/>
                </a:path>
              </a:pathLst>
            </a:custGeom>
            <a:solidFill>
              <a:srgbClr val="F5F5F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 name="Google Shape;1689;p51">
              <a:extLst>
                <a:ext uri="{FF2B5EF4-FFF2-40B4-BE49-F238E27FC236}">
                  <a16:creationId xmlns:a16="http://schemas.microsoft.com/office/drawing/2014/main" id="{BCA7AE51-2BF6-520D-1247-019585687F0C}"/>
                </a:ext>
              </a:extLst>
            </p:cNvPr>
            <p:cNvSpPr/>
            <p:nvPr/>
          </p:nvSpPr>
          <p:spPr>
            <a:xfrm>
              <a:off x="2300400" y="3094400"/>
              <a:ext cx="214350" cy="1034925"/>
            </a:xfrm>
            <a:custGeom>
              <a:avLst/>
              <a:gdLst/>
              <a:ahLst/>
              <a:cxnLst/>
              <a:rect l="l" t="t" r="r" b="b"/>
              <a:pathLst>
                <a:path w="8574" h="41397" extrusionOk="0">
                  <a:moveTo>
                    <a:pt x="3870" y="0"/>
                  </a:moveTo>
                  <a:cubicBezTo>
                    <a:pt x="1735" y="0"/>
                    <a:pt x="0" y="1701"/>
                    <a:pt x="0" y="3869"/>
                  </a:cubicBezTo>
                  <a:lnTo>
                    <a:pt x="0" y="37527"/>
                  </a:lnTo>
                  <a:cubicBezTo>
                    <a:pt x="0" y="39662"/>
                    <a:pt x="1735" y="41396"/>
                    <a:pt x="3870" y="41396"/>
                  </a:cubicBezTo>
                  <a:lnTo>
                    <a:pt x="4704" y="41396"/>
                  </a:lnTo>
                  <a:cubicBezTo>
                    <a:pt x="6839" y="41396"/>
                    <a:pt x="8573" y="39662"/>
                    <a:pt x="8573" y="37527"/>
                  </a:cubicBezTo>
                  <a:lnTo>
                    <a:pt x="8573" y="3869"/>
                  </a:lnTo>
                  <a:cubicBezTo>
                    <a:pt x="8573" y="1701"/>
                    <a:pt x="6839" y="0"/>
                    <a:pt x="4704" y="0"/>
                  </a:cubicBezTo>
                  <a:close/>
                </a:path>
              </a:pathLst>
            </a:custGeom>
            <a:solidFill>
              <a:srgbClr val="EBEBE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 name="Google Shape;1690;p51">
              <a:extLst>
                <a:ext uri="{FF2B5EF4-FFF2-40B4-BE49-F238E27FC236}">
                  <a16:creationId xmlns:a16="http://schemas.microsoft.com/office/drawing/2014/main" id="{66AC4BAC-0021-DF2D-D22C-FAF084BF787E}"/>
                </a:ext>
              </a:extLst>
            </p:cNvPr>
            <p:cNvSpPr/>
            <p:nvPr/>
          </p:nvSpPr>
          <p:spPr>
            <a:xfrm>
              <a:off x="2388800" y="3056850"/>
              <a:ext cx="316900" cy="1110000"/>
            </a:xfrm>
            <a:custGeom>
              <a:avLst/>
              <a:gdLst/>
              <a:ahLst/>
              <a:cxnLst/>
              <a:rect l="l" t="t" r="r" b="b"/>
              <a:pathLst>
                <a:path w="12676" h="44400" extrusionOk="0">
                  <a:moveTo>
                    <a:pt x="5004" y="1"/>
                  </a:moveTo>
                  <a:cubicBezTo>
                    <a:pt x="2235" y="1"/>
                    <a:pt x="0" y="2236"/>
                    <a:pt x="0" y="5005"/>
                  </a:cubicBezTo>
                  <a:lnTo>
                    <a:pt x="0" y="39396"/>
                  </a:lnTo>
                  <a:cubicBezTo>
                    <a:pt x="0" y="42164"/>
                    <a:pt x="2235" y="44399"/>
                    <a:pt x="5004" y="44399"/>
                  </a:cubicBezTo>
                  <a:lnTo>
                    <a:pt x="7672" y="44399"/>
                  </a:lnTo>
                  <a:cubicBezTo>
                    <a:pt x="10441" y="44399"/>
                    <a:pt x="12676" y="42164"/>
                    <a:pt x="12676" y="39396"/>
                  </a:cubicBezTo>
                  <a:lnTo>
                    <a:pt x="12676" y="5005"/>
                  </a:lnTo>
                  <a:cubicBezTo>
                    <a:pt x="12676" y="2236"/>
                    <a:pt x="10441" y="1"/>
                    <a:pt x="7672" y="1"/>
                  </a:cubicBezTo>
                  <a:close/>
                </a:path>
              </a:pathLst>
            </a:custGeom>
            <a:solidFill>
              <a:srgbClr val="F5F5F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 name="Google Shape;1691;p51">
              <a:extLst>
                <a:ext uri="{FF2B5EF4-FFF2-40B4-BE49-F238E27FC236}">
                  <a16:creationId xmlns:a16="http://schemas.microsoft.com/office/drawing/2014/main" id="{CCAE790E-5141-76A3-A66A-2C57DD674698}"/>
                </a:ext>
              </a:extLst>
            </p:cNvPr>
            <p:cNvSpPr/>
            <p:nvPr/>
          </p:nvSpPr>
          <p:spPr>
            <a:xfrm>
              <a:off x="2430500" y="4001700"/>
              <a:ext cx="317750" cy="41725"/>
            </a:xfrm>
            <a:custGeom>
              <a:avLst/>
              <a:gdLst/>
              <a:ahLst/>
              <a:cxnLst/>
              <a:rect l="l" t="t" r="r" b="b"/>
              <a:pathLst>
                <a:path w="12710" h="1669" extrusionOk="0">
                  <a:moveTo>
                    <a:pt x="834" y="1"/>
                  </a:moveTo>
                  <a:cubicBezTo>
                    <a:pt x="367" y="1"/>
                    <a:pt x="0" y="368"/>
                    <a:pt x="0" y="835"/>
                  </a:cubicBezTo>
                  <a:cubicBezTo>
                    <a:pt x="0" y="1302"/>
                    <a:pt x="367" y="1669"/>
                    <a:pt x="834" y="1669"/>
                  </a:cubicBezTo>
                  <a:lnTo>
                    <a:pt x="11875" y="1669"/>
                  </a:lnTo>
                  <a:cubicBezTo>
                    <a:pt x="12342" y="1669"/>
                    <a:pt x="12709" y="1302"/>
                    <a:pt x="12709" y="835"/>
                  </a:cubicBezTo>
                  <a:cubicBezTo>
                    <a:pt x="12709" y="368"/>
                    <a:pt x="12342" y="1"/>
                    <a:pt x="11875" y="1"/>
                  </a:cubicBezTo>
                  <a:close/>
                </a:path>
              </a:pathLst>
            </a:custGeom>
            <a:solidFill>
              <a:srgbClr val="F5F5F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 name="Google Shape;1692;p51">
              <a:extLst>
                <a:ext uri="{FF2B5EF4-FFF2-40B4-BE49-F238E27FC236}">
                  <a16:creationId xmlns:a16="http://schemas.microsoft.com/office/drawing/2014/main" id="{369BCF68-26DE-0BFC-F027-A3DBA953946F}"/>
                </a:ext>
              </a:extLst>
            </p:cNvPr>
            <p:cNvSpPr/>
            <p:nvPr/>
          </p:nvSpPr>
          <p:spPr>
            <a:xfrm>
              <a:off x="2430500" y="3207800"/>
              <a:ext cx="317750" cy="41725"/>
            </a:xfrm>
            <a:custGeom>
              <a:avLst/>
              <a:gdLst/>
              <a:ahLst/>
              <a:cxnLst/>
              <a:rect l="l" t="t" r="r" b="b"/>
              <a:pathLst>
                <a:path w="12710" h="1669" extrusionOk="0">
                  <a:moveTo>
                    <a:pt x="834" y="1"/>
                  </a:moveTo>
                  <a:cubicBezTo>
                    <a:pt x="367" y="1"/>
                    <a:pt x="0" y="368"/>
                    <a:pt x="0" y="835"/>
                  </a:cubicBezTo>
                  <a:cubicBezTo>
                    <a:pt x="0" y="1268"/>
                    <a:pt x="367" y="1668"/>
                    <a:pt x="834" y="1668"/>
                  </a:cubicBezTo>
                  <a:lnTo>
                    <a:pt x="11875" y="1668"/>
                  </a:lnTo>
                  <a:cubicBezTo>
                    <a:pt x="12342" y="1668"/>
                    <a:pt x="12709" y="1268"/>
                    <a:pt x="12709" y="835"/>
                  </a:cubicBezTo>
                  <a:cubicBezTo>
                    <a:pt x="12709" y="368"/>
                    <a:pt x="12342" y="1"/>
                    <a:pt x="11875" y="1"/>
                  </a:cubicBezTo>
                  <a:close/>
                </a:path>
              </a:pathLst>
            </a:custGeom>
            <a:solidFill>
              <a:srgbClr val="F5F5F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 name="Google Shape;1693;p51">
              <a:extLst>
                <a:ext uri="{FF2B5EF4-FFF2-40B4-BE49-F238E27FC236}">
                  <a16:creationId xmlns:a16="http://schemas.microsoft.com/office/drawing/2014/main" id="{0FDD079B-7C44-9285-F5FD-3788CC2D68F0}"/>
                </a:ext>
              </a:extLst>
            </p:cNvPr>
            <p:cNvSpPr/>
            <p:nvPr/>
          </p:nvSpPr>
          <p:spPr>
            <a:xfrm>
              <a:off x="3406175" y="3304550"/>
              <a:ext cx="923200" cy="150125"/>
            </a:xfrm>
            <a:custGeom>
              <a:avLst/>
              <a:gdLst/>
              <a:ahLst/>
              <a:cxnLst/>
              <a:rect l="l" t="t" r="r" b="b"/>
              <a:pathLst>
                <a:path w="36928" h="6005" extrusionOk="0">
                  <a:moveTo>
                    <a:pt x="3036" y="0"/>
                  </a:moveTo>
                  <a:cubicBezTo>
                    <a:pt x="1369" y="0"/>
                    <a:pt x="1" y="1334"/>
                    <a:pt x="1" y="3002"/>
                  </a:cubicBezTo>
                  <a:cubicBezTo>
                    <a:pt x="1" y="4670"/>
                    <a:pt x="1369" y="6004"/>
                    <a:pt x="3036" y="6004"/>
                  </a:cubicBezTo>
                  <a:lnTo>
                    <a:pt x="33925" y="6004"/>
                  </a:lnTo>
                  <a:cubicBezTo>
                    <a:pt x="35593" y="6004"/>
                    <a:pt x="36927" y="4670"/>
                    <a:pt x="36927" y="3002"/>
                  </a:cubicBezTo>
                  <a:cubicBezTo>
                    <a:pt x="36927" y="1334"/>
                    <a:pt x="35593" y="0"/>
                    <a:pt x="33925" y="0"/>
                  </a:cubicBezTo>
                  <a:close/>
                </a:path>
              </a:pathLst>
            </a:custGeom>
            <a:solidFill>
              <a:srgbClr val="EBEBE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 name="Google Shape;1694;p51">
              <a:extLst>
                <a:ext uri="{FF2B5EF4-FFF2-40B4-BE49-F238E27FC236}">
                  <a16:creationId xmlns:a16="http://schemas.microsoft.com/office/drawing/2014/main" id="{63949A95-A608-3323-897A-991E38DAE8A7}"/>
                </a:ext>
              </a:extLst>
            </p:cNvPr>
            <p:cNvSpPr/>
            <p:nvPr/>
          </p:nvSpPr>
          <p:spPr>
            <a:xfrm>
              <a:off x="3787300" y="2306450"/>
              <a:ext cx="349425" cy="744475"/>
            </a:xfrm>
            <a:custGeom>
              <a:avLst/>
              <a:gdLst/>
              <a:ahLst/>
              <a:cxnLst/>
              <a:rect l="l" t="t" r="r" b="b"/>
              <a:pathLst>
                <a:path w="13977" h="29779" extrusionOk="0">
                  <a:moveTo>
                    <a:pt x="9172" y="1"/>
                  </a:moveTo>
                  <a:cubicBezTo>
                    <a:pt x="7139" y="1"/>
                    <a:pt x="5307" y="1432"/>
                    <a:pt x="4870" y="3498"/>
                  </a:cubicBezTo>
                  <a:lnTo>
                    <a:pt x="501" y="24480"/>
                  </a:lnTo>
                  <a:cubicBezTo>
                    <a:pt x="0" y="26848"/>
                    <a:pt x="1535" y="29183"/>
                    <a:pt x="3903" y="29683"/>
                  </a:cubicBezTo>
                  <a:cubicBezTo>
                    <a:pt x="4206" y="29747"/>
                    <a:pt x="4508" y="29778"/>
                    <a:pt x="4805" y="29778"/>
                  </a:cubicBezTo>
                  <a:cubicBezTo>
                    <a:pt x="6838" y="29778"/>
                    <a:pt x="8670" y="28347"/>
                    <a:pt x="9107" y="26281"/>
                  </a:cubicBezTo>
                  <a:lnTo>
                    <a:pt x="13510" y="5299"/>
                  </a:lnTo>
                  <a:cubicBezTo>
                    <a:pt x="13977" y="2931"/>
                    <a:pt x="12476" y="596"/>
                    <a:pt x="10074" y="96"/>
                  </a:cubicBezTo>
                  <a:cubicBezTo>
                    <a:pt x="9771" y="32"/>
                    <a:pt x="9469" y="1"/>
                    <a:pt x="9172" y="1"/>
                  </a:cubicBezTo>
                  <a:close/>
                </a:path>
              </a:pathLst>
            </a:custGeom>
            <a:solidFill>
              <a:srgbClr val="E0E0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 name="Google Shape;1695;p51">
              <a:extLst>
                <a:ext uri="{FF2B5EF4-FFF2-40B4-BE49-F238E27FC236}">
                  <a16:creationId xmlns:a16="http://schemas.microsoft.com/office/drawing/2014/main" id="{6F04AB64-A322-94B9-E805-A717000C5479}"/>
                </a:ext>
              </a:extLst>
            </p:cNvPr>
            <p:cNvSpPr/>
            <p:nvPr/>
          </p:nvSpPr>
          <p:spPr>
            <a:xfrm>
              <a:off x="3635525" y="2397050"/>
              <a:ext cx="269375" cy="641675"/>
            </a:xfrm>
            <a:custGeom>
              <a:avLst/>
              <a:gdLst/>
              <a:ahLst/>
              <a:cxnLst/>
              <a:rect l="l" t="t" r="r" b="b"/>
              <a:pathLst>
                <a:path w="10775" h="25667" extrusionOk="0">
                  <a:moveTo>
                    <a:pt x="4020" y="0"/>
                  </a:moveTo>
                  <a:cubicBezTo>
                    <a:pt x="3838" y="0"/>
                    <a:pt x="3654" y="14"/>
                    <a:pt x="3469" y="41"/>
                  </a:cubicBezTo>
                  <a:cubicBezTo>
                    <a:pt x="1401" y="374"/>
                    <a:pt x="0" y="2276"/>
                    <a:pt x="300" y="4344"/>
                  </a:cubicBezTo>
                  <a:lnTo>
                    <a:pt x="3036" y="22457"/>
                  </a:lnTo>
                  <a:cubicBezTo>
                    <a:pt x="3309" y="24337"/>
                    <a:pt x="4933" y="25666"/>
                    <a:pt x="6780" y="25666"/>
                  </a:cubicBezTo>
                  <a:cubicBezTo>
                    <a:pt x="6965" y="25666"/>
                    <a:pt x="7151" y="25653"/>
                    <a:pt x="7339" y="25626"/>
                  </a:cubicBezTo>
                  <a:cubicBezTo>
                    <a:pt x="9374" y="25292"/>
                    <a:pt x="10775" y="23391"/>
                    <a:pt x="10474" y="21323"/>
                  </a:cubicBezTo>
                  <a:lnTo>
                    <a:pt x="7739" y="3210"/>
                  </a:lnTo>
                  <a:cubicBezTo>
                    <a:pt x="7466" y="1329"/>
                    <a:pt x="5842" y="0"/>
                    <a:pt x="4020" y="0"/>
                  </a:cubicBezTo>
                  <a:close/>
                </a:path>
              </a:pathLst>
            </a:custGeom>
            <a:solidFill>
              <a:srgbClr val="E0E0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 name="Google Shape;1696;p51">
              <a:extLst>
                <a:ext uri="{FF2B5EF4-FFF2-40B4-BE49-F238E27FC236}">
                  <a16:creationId xmlns:a16="http://schemas.microsoft.com/office/drawing/2014/main" id="{4E528A03-6338-1B85-BF59-8D4800197876}"/>
                </a:ext>
              </a:extLst>
            </p:cNvPr>
            <p:cNvSpPr/>
            <p:nvPr/>
          </p:nvSpPr>
          <p:spPr>
            <a:xfrm>
              <a:off x="3842325" y="2336275"/>
              <a:ext cx="131800" cy="199475"/>
            </a:xfrm>
            <a:custGeom>
              <a:avLst/>
              <a:gdLst/>
              <a:ahLst/>
              <a:cxnLst/>
              <a:rect l="l" t="t" r="r" b="b"/>
              <a:pathLst>
                <a:path w="5272" h="7979" extrusionOk="0">
                  <a:moveTo>
                    <a:pt x="1402" y="1"/>
                  </a:moveTo>
                  <a:cubicBezTo>
                    <a:pt x="1236" y="1"/>
                    <a:pt x="1067" y="34"/>
                    <a:pt x="901" y="103"/>
                  </a:cubicBezTo>
                  <a:cubicBezTo>
                    <a:pt x="268" y="370"/>
                    <a:pt x="1" y="1104"/>
                    <a:pt x="268" y="1738"/>
                  </a:cubicBezTo>
                  <a:lnTo>
                    <a:pt x="2736" y="7242"/>
                  </a:lnTo>
                  <a:cubicBezTo>
                    <a:pt x="2958" y="7710"/>
                    <a:pt x="3417" y="7978"/>
                    <a:pt x="3884" y="7978"/>
                  </a:cubicBezTo>
                  <a:cubicBezTo>
                    <a:pt x="4049" y="7978"/>
                    <a:pt x="4214" y="7945"/>
                    <a:pt x="4371" y="7876"/>
                  </a:cubicBezTo>
                  <a:cubicBezTo>
                    <a:pt x="5004" y="7575"/>
                    <a:pt x="5271" y="6875"/>
                    <a:pt x="5004" y="6241"/>
                  </a:cubicBezTo>
                  <a:lnTo>
                    <a:pt x="2536" y="737"/>
                  </a:lnTo>
                  <a:cubicBezTo>
                    <a:pt x="2314" y="269"/>
                    <a:pt x="1873" y="1"/>
                    <a:pt x="1402" y="1"/>
                  </a:cubicBezTo>
                  <a:close/>
                </a:path>
              </a:pathLst>
            </a:custGeom>
            <a:solidFill>
              <a:srgbClr val="E0E0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 name="Google Shape;1697;p51">
              <a:extLst>
                <a:ext uri="{FF2B5EF4-FFF2-40B4-BE49-F238E27FC236}">
                  <a16:creationId xmlns:a16="http://schemas.microsoft.com/office/drawing/2014/main" id="{40DBE0FB-3597-D8E6-4019-C6E596CE1B56}"/>
                </a:ext>
              </a:extLst>
            </p:cNvPr>
            <p:cNvSpPr/>
            <p:nvPr/>
          </p:nvSpPr>
          <p:spPr>
            <a:xfrm>
              <a:off x="3963250" y="2535200"/>
              <a:ext cx="186000" cy="157700"/>
            </a:xfrm>
            <a:custGeom>
              <a:avLst/>
              <a:gdLst/>
              <a:ahLst/>
              <a:cxnLst/>
              <a:rect l="l" t="t" r="r" b="b"/>
              <a:pathLst>
                <a:path w="7440" h="6308" extrusionOk="0">
                  <a:moveTo>
                    <a:pt x="6062" y="1"/>
                  </a:moveTo>
                  <a:cubicBezTo>
                    <a:pt x="5786" y="1"/>
                    <a:pt x="5506" y="95"/>
                    <a:pt x="5271" y="286"/>
                  </a:cubicBezTo>
                  <a:lnTo>
                    <a:pt x="601" y="4122"/>
                  </a:lnTo>
                  <a:cubicBezTo>
                    <a:pt x="101" y="4555"/>
                    <a:pt x="1" y="5322"/>
                    <a:pt x="434" y="5856"/>
                  </a:cubicBezTo>
                  <a:cubicBezTo>
                    <a:pt x="677" y="6155"/>
                    <a:pt x="1025" y="6308"/>
                    <a:pt x="1377" y="6308"/>
                  </a:cubicBezTo>
                  <a:cubicBezTo>
                    <a:pt x="1654" y="6308"/>
                    <a:pt x="1934" y="6214"/>
                    <a:pt x="2169" y="6023"/>
                  </a:cubicBezTo>
                  <a:lnTo>
                    <a:pt x="6839" y="2187"/>
                  </a:lnTo>
                  <a:cubicBezTo>
                    <a:pt x="7372" y="1753"/>
                    <a:pt x="7439" y="986"/>
                    <a:pt x="7006" y="452"/>
                  </a:cubicBezTo>
                  <a:cubicBezTo>
                    <a:pt x="6763" y="153"/>
                    <a:pt x="6415" y="1"/>
                    <a:pt x="6062" y="1"/>
                  </a:cubicBezTo>
                  <a:close/>
                </a:path>
              </a:pathLst>
            </a:custGeom>
            <a:solidFill>
              <a:srgbClr val="E0E0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 name="Google Shape;1698;p51">
              <a:extLst>
                <a:ext uri="{FF2B5EF4-FFF2-40B4-BE49-F238E27FC236}">
                  <a16:creationId xmlns:a16="http://schemas.microsoft.com/office/drawing/2014/main" id="{186551FC-C804-7F55-87EC-E8B4F0743C22}"/>
                </a:ext>
              </a:extLst>
            </p:cNvPr>
            <p:cNvSpPr/>
            <p:nvPr/>
          </p:nvSpPr>
          <p:spPr>
            <a:xfrm>
              <a:off x="3742250" y="2378925"/>
              <a:ext cx="75100" cy="114550"/>
            </a:xfrm>
            <a:custGeom>
              <a:avLst/>
              <a:gdLst/>
              <a:ahLst/>
              <a:cxnLst/>
              <a:rect l="l" t="t" r="r" b="b"/>
              <a:pathLst>
                <a:path w="3004" h="4582" extrusionOk="0">
                  <a:moveTo>
                    <a:pt x="2191" y="0"/>
                  </a:moveTo>
                  <a:cubicBezTo>
                    <a:pt x="1925" y="0"/>
                    <a:pt x="1658" y="162"/>
                    <a:pt x="1535" y="432"/>
                  </a:cubicBezTo>
                  <a:lnTo>
                    <a:pt x="168" y="3601"/>
                  </a:lnTo>
                  <a:cubicBezTo>
                    <a:pt x="1" y="3935"/>
                    <a:pt x="168" y="4368"/>
                    <a:pt x="535" y="4535"/>
                  </a:cubicBezTo>
                  <a:cubicBezTo>
                    <a:pt x="613" y="4566"/>
                    <a:pt x="697" y="4581"/>
                    <a:pt x="781" y="4581"/>
                  </a:cubicBezTo>
                  <a:cubicBezTo>
                    <a:pt x="1057" y="4581"/>
                    <a:pt x="1341" y="4424"/>
                    <a:pt x="1469" y="4168"/>
                  </a:cubicBezTo>
                  <a:lnTo>
                    <a:pt x="2836" y="999"/>
                  </a:lnTo>
                  <a:cubicBezTo>
                    <a:pt x="3003" y="632"/>
                    <a:pt x="2836" y="232"/>
                    <a:pt x="2469" y="65"/>
                  </a:cubicBezTo>
                  <a:cubicBezTo>
                    <a:pt x="2381" y="21"/>
                    <a:pt x="2286" y="0"/>
                    <a:pt x="2191" y="0"/>
                  </a:cubicBezTo>
                  <a:close/>
                </a:path>
              </a:pathLst>
            </a:custGeom>
            <a:solidFill>
              <a:srgbClr val="E0E0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 name="Google Shape;1699;p51">
              <a:extLst>
                <a:ext uri="{FF2B5EF4-FFF2-40B4-BE49-F238E27FC236}">
                  <a16:creationId xmlns:a16="http://schemas.microsoft.com/office/drawing/2014/main" id="{1783797D-8E63-49B9-5A7A-170598D49C88}"/>
                </a:ext>
              </a:extLst>
            </p:cNvPr>
            <p:cNvSpPr/>
            <p:nvPr/>
          </p:nvSpPr>
          <p:spPr>
            <a:xfrm>
              <a:off x="3611325" y="2534925"/>
              <a:ext cx="98425" cy="97925"/>
            </a:xfrm>
            <a:custGeom>
              <a:avLst/>
              <a:gdLst/>
              <a:ahLst/>
              <a:cxnLst/>
              <a:rect l="l" t="t" r="r" b="b"/>
              <a:pathLst>
                <a:path w="3937" h="3917" extrusionOk="0">
                  <a:moveTo>
                    <a:pt x="769" y="0"/>
                  </a:moveTo>
                  <a:cubicBezTo>
                    <a:pt x="599" y="0"/>
                    <a:pt x="431" y="67"/>
                    <a:pt x="301" y="196"/>
                  </a:cubicBezTo>
                  <a:cubicBezTo>
                    <a:pt x="1" y="463"/>
                    <a:pt x="1" y="897"/>
                    <a:pt x="268" y="1197"/>
                  </a:cubicBezTo>
                  <a:lnTo>
                    <a:pt x="2636" y="3699"/>
                  </a:lnTo>
                  <a:cubicBezTo>
                    <a:pt x="2778" y="3841"/>
                    <a:pt x="2967" y="3917"/>
                    <a:pt x="3157" y="3917"/>
                  </a:cubicBezTo>
                  <a:cubicBezTo>
                    <a:pt x="3326" y="3917"/>
                    <a:pt x="3496" y="3857"/>
                    <a:pt x="3637" y="3732"/>
                  </a:cubicBezTo>
                  <a:cubicBezTo>
                    <a:pt x="3904" y="3432"/>
                    <a:pt x="3937" y="2998"/>
                    <a:pt x="3670" y="2732"/>
                  </a:cubicBezTo>
                  <a:lnTo>
                    <a:pt x="1268" y="230"/>
                  </a:lnTo>
                  <a:cubicBezTo>
                    <a:pt x="1131" y="75"/>
                    <a:pt x="950" y="0"/>
                    <a:pt x="769" y="0"/>
                  </a:cubicBezTo>
                  <a:close/>
                </a:path>
              </a:pathLst>
            </a:custGeom>
            <a:solidFill>
              <a:srgbClr val="E0E0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 name="Google Shape;1700;p51">
              <a:extLst>
                <a:ext uri="{FF2B5EF4-FFF2-40B4-BE49-F238E27FC236}">
                  <a16:creationId xmlns:a16="http://schemas.microsoft.com/office/drawing/2014/main" id="{8CDBFB12-6A04-2F40-68EA-A4DC65321EDA}"/>
                </a:ext>
              </a:extLst>
            </p:cNvPr>
            <p:cNvSpPr/>
            <p:nvPr/>
          </p:nvSpPr>
          <p:spPr>
            <a:xfrm>
              <a:off x="3578800" y="2901750"/>
              <a:ext cx="578775" cy="402825"/>
            </a:xfrm>
            <a:custGeom>
              <a:avLst/>
              <a:gdLst/>
              <a:ahLst/>
              <a:cxnLst/>
              <a:rect l="l" t="t" r="r" b="b"/>
              <a:pathLst>
                <a:path w="23151" h="16113" extrusionOk="0">
                  <a:moveTo>
                    <a:pt x="1" y="0"/>
                  </a:moveTo>
                  <a:lnTo>
                    <a:pt x="3403" y="16112"/>
                  </a:lnTo>
                  <a:lnTo>
                    <a:pt x="19748" y="16112"/>
                  </a:lnTo>
                  <a:lnTo>
                    <a:pt x="23151" y="0"/>
                  </a:lnTo>
                  <a:close/>
                </a:path>
              </a:pathLst>
            </a:custGeom>
            <a:solidFill>
              <a:srgbClr val="E6E6E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 name="Google Shape;1701;p51">
              <a:extLst>
                <a:ext uri="{FF2B5EF4-FFF2-40B4-BE49-F238E27FC236}">
                  <a16:creationId xmlns:a16="http://schemas.microsoft.com/office/drawing/2014/main" id="{35980F4E-4F30-0081-78E0-E8ECC9F92842}"/>
                </a:ext>
              </a:extLst>
            </p:cNvPr>
            <p:cNvSpPr/>
            <p:nvPr/>
          </p:nvSpPr>
          <p:spPr>
            <a:xfrm>
              <a:off x="3547950" y="2832525"/>
              <a:ext cx="640475" cy="138475"/>
            </a:xfrm>
            <a:custGeom>
              <a:avLst/>
              <a:gdLst/>
              <a:ahLst/>
              <a:cxnLst/>
              <a:rect l="l" t="t" r="r" b="b"/>
              <a:pathLst>
                <a:path w="25619" h="5539" extrusionOk="0">
                  <a:moveTo>
                    <a:pt x="2769" y="1"/>
                  </a:moveTo>
                  <a:cubicBezTo>
                    <a:pt x="1235" y="1"/>
                    <a:pt x="1" y="1235"/>
                    <a:pt x="1" y="2769"/>
                  </a:cubicBezTo>
                  <a:cubicBezTo>
                    <a:pt x="1" y="4304"/>
                    <a:pt x="1235" y="5538"/>
                    <a:pt x="2769" y="5538"/>
                  </a:cubicBezTo>
                  <a:lnTo>
                    <a:pt x="22850" y="5538"/>
                  </a:lnTo>
                  <a:cubicBezTo>
                    <a:pt x="24385" y="5538"/>
                    <a:pt x="25619" y="4304"/>
                    <a:pt x="25619" y="2769"/>
                  </a:cubicBezTo>
                  <a:cubicBezTo>
                    <a:pt x="25619" y="1235"/>
                    <a:pt x="24385" y="1"/>
                    <a:pt x="22850" y="1"/>
                  </a:cubicBezTo>
                  <a:close/>
                </a:path>
              </a:pathLst>
            </a:custGeom>
            <a:solidFill>
              <a:srgbClr val="F5F5F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 name="Google Shape;1702;p51">
              <a:extLst>
                <a:ext uri="{FF2B5EF4-FFF2-40B4-BE49-F238E27FC236}">
                  <a16:creationId xmlns:a16="http://schemas.microsoft.com/office/drawing/2014/main" id="{16FA7CB2-F410-74B2-813E-F520413EB2DC}"/>
                </a:ext>
              </a:extLst>
            </p:cNvPr>
            <p:cNvSpPr/>
            <p:nvPr/>
          </p:nvSpPr>
          <p:spPr>
            <a:xfrm>
              <a:off x="3389500" y="3454650"/>
              <a:ext cx="311925" cy="889825"/>
            </a:xfrm>
            <a:custGeom>
              <a:avLst/>
              <a:gdLst/>
              <a:ahLst/>
              <a:cxnLst/>
              <a:rect l="l" t="t" r="r" b="b"/>
              <a:pathLst>
                <a:path w="12477" h="35593" extrusionOk="0">
                  <a:moveTo>
                    <a:pt x="6806" y="0"/>
                  </a:moveTo>
                  <a:lnTo>
                    <a:pt x="1" y="35592"/>
                  </a:lnTo>
                  <a:lnTo>
                    <a:pt x="2169" y="35592"/>
                  </a:lnTo>
                  <a:lnTo>
                    <a:pt x="12476" y="0"/>
                  </a:lnTo>
                  <a:close/>
                </a:path>
              </a:pathLst>
            </a:custGeom>
            <a:solidFill>
              <a:srgbClr val="E0E0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 name="Google Shape;1703;p51">
              <a:extLst>
                <a:ext uri="{FF2B5EF4-FFF2-40B4-BE49-F238E27FC236}">
                  <a16:creationId xmlns:a16="http://schemas.microsoft.com/office/drawing/2014/main" id="{49E9DD22-6834-542D-2382-A6D94BC78A10}"/>
                </a:ext>
              </a:extLst>
            </p:cNvPr>
            <p:cNvSpPr/>
            <p:nvPr/>
          </p:nvSpPr>
          <p:spPr>
            <a:xfrm>
              <a:off x="4034125" y="3454650"/>
              <a:ext cx="311925" cy="889825"/>
            </a:xfrm>
            <a:custGeom>
              <a:avLst/>
              <a:gdLst/>
              <a:ahLst/>
              <a:cxnLst/>
              <a:rect l="l" t="t" r="r" b="b"/>
              <a:pathLst>
                <a:path w="12477" h="35593" extrusionOk="0">
                  <a:moveTo>
                    <a:pt x="1" y="0"/>
                  </a:moveTo>
                  <a:lnTo>
                    <a:pt x="10342" y="35592"/>
                  </a:lnTo>
                  <a:lnTo>
                    <a:pt x="12476" y="35592"/>
                  </a:lnTo>
                  <a:lnTo>
                    <a:pt x="5705" y="0"/>
                  </a:lnTo>
                  <a:close/>
                </a:path>
              </a:pathLst>
            </a:custGeom>
            <a:solidFill>
              <a:srgbClr val="E0E0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2" name="Google Shape;1704;p51">
              <a:extLst>
                <a:ext uri="{FF2B5EF4-FFF2-40B4-BE49-F238E27FC236}">
                  <a16:creationId xmlns:a16="http://schemas.microsoft.com/office/drawing/2014/main" id="{36516D83-66AC-DA60-C49E-BFCA6D111E40}"/>
                </a:ext>
              </a:extLst>
            </p:cNvPr>
            <p:cNvSpPr/>
            <p:nvPr/>
          </p:nvSpPr>
          <p:spPr>
            <a:xfrm>
              <a:off x="3768950" y="3454650"/>
              <a:ext cx="265200" cy="889825"/>
            </a:xfrm>
            <a:custGeom>
              <a:avLst/>
              <a:gdLst/>
              <a:ahLst/>
              <a:cxnLst/>
              <a:rect l="l" t="t" r="r" b="b"/>
              <a:pathLst>
                <a:path w="10608" h="35593" extrusionOk="0">
                  <a:moveTo>
                    <a:pt x="0" y="0"/>
                  </a:moveTo>
                  <a:lnTo>
                    <a:pt x="8473" y="35592"/>
                  </a:lnTo>
                  <a:lnTo>
                    <a:pt x="10608" y="35592"/>
                  </a:lnTo>
                  <a:lnTo>
                    <a:pt x="5671" y="0"/>
                  </a:lnTo>
                  <a:close/>
                </a:path>
              </a:pathLst>
            </a:custGeom>
            <a:solidFill>
              <a:srgbClr val="E0E0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 name="Google Shape;1705;p51">
              <a:extLst>
                <a:ext uri="{FF2B5EF4-FFF2-40B4-BE49-F238E27FC236}">
                  <a16:creationId xmlns:a16="http://schemas.microsoft.com/office/drawing/2014/main" id="{0CCAE849-1F8C-55EA-4F29-E4A893582B73}"/>
                </a:ext>
              </a:extLst>
            </p:cNvPr>
            <p:cNvSpPr/>
            <p:nvPr/>
          </p:nvSpPr>
          <p:spPr>
            <a:xfrm>
              <a:off x="946100" y="4578775"/>
              <a:ext cx="4042900" cy="236025"/>
            </a:xfrm>
            <a:custGeom>
              <a:avLst/>
              <a:gdLst/>
              <a:ahLst/>
              <a:cxnLst/>
              <a:rect l="l" t="t" r="r" b="b"/>
              <a:pathLst>
                <a:path w="161716" h="9441" extrusionOk="0">
                  <a:moveTo>
                    <a:pt x="80858" y="1"/>
                  </a:moveTo>
                  <a:cubicBezTo>
                    <a:pt x="36193" y="1"/>
                    <a:pt x="0" y="2136"/>
                    <a:pt x="0" y="4738"/>
                  </a:cubicBezTo>
                  <a:cubicBezTo>
                    <a:pt x="0" y="7339"/>
                    <a:pt x="36193" y="9441"/>
                    <a:pt x="80858" y="9441"/>
                  </a:cubicBezTo>
                  <a:cubicBezTo>
                    <a:pt x="125523" y="9441"/>
                    <a:pt x="161716" y="7339"/>
                    <a:pt x="161716" y="4738"/>
                  </a:cubicBezTo>
                  <a:cubicBezTo>
                    <a:pt x="161716" y="2136"/>
                    <a:pt x="125523" y="1"/>
                    <a:pt x="80858" y="1"/>
                  </a:cubicBezTo>
                  <a:close/>
                </a:path>
              </a:pathLst>
            </a:custGeom>
            <a:solidFill>
              <a:srgbClr val="F5F5F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 name="Google Shape;1706;p51">
              <a:extLst>
                <a:ext uri="{FF2B5EF4-FFF2-40B4-BE49-F238E27FC236}">
                  <a16:creationId xmlns:a16="http://schemas.microsoft.com/office/drawing/2014/main" id="{8BC423F7-0D0D-B9B2-D4F0-FB0DE08CD1C9}"/>
                </a:ext>
              </a:extLst>
            </p:cNvPr>
            <p:cNvSpPr/>
            <p:nvPr/>
          </p:nvSpPr>
          <p:spPr>
            <a:xfrm>
              <a:off x="1285500" y="3739025"/>
              <a:ext cx="560425" cy="62550"/>
            </a:xfrm>
            <a:custGeom>
              <a:avLst/>
              <a:gdLst/>
              <a:ahLst/>
              <a:cxnLst/>
              <a:rect l="l" t="t" r="r" b="b"/>
              <a:pathLst>
                <a:path w="22417" h="2502" extrusionOk="0">
                  <a:moveTo>
                    <a:pt x="1669" y="0"/>
                  </a:moveTo>
                  <a:cubicBezTo>
                    <a:pt x="1" y="0"/>
                    <a:pt x="1" y="2502"/>
                    <a:pt x="1669" y="2502"/>
                  </a:cubicBezTo>
                  <a:lnTo>
                    <a:pt x="20749" y="2502"/>
                  </a:lnTo>
                  <a:cubicBezTo>
                    <a:pt x="22417" y="2502"/>
                    <a:pt x="22417" y="0"/>
                    <a:pt x="20749"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 name="Google Shape;1707;p51">
              <a:extLst>
                <a:ext uri="{FF2B5EF4-FFF2-40B4-BE49-F238E27FC236}">
                  <a16:creationId xmlns:a16="http://schemas.microsoft.com/office/drawing/2014/main" id="{F194E9FA-53A8-84D2-B551-BBF01A6B9F69}"/>
                </a:ext>
              </a:extLst>
            </p:cNvPr>
            <p:cNvSpPr/>
            <p:nvPr/>
          </p:nvSpPr>
          <p:spPr>
            <a:xfrm>
              <a:off x="1285500" y="3739025"/>
              <a:ext cx="560425" cy="62550"/>
            </a:xfrm>
            <a:custGeom>
              <a:avLst/>
              <a:gdLst/>
              <a:ahLst/>
              <a:cxnLst/>
              <a:rect l="l" t="t" r="r" b="b"/>
              <a:pathLst>
                <a:path w="22417" h="2502" extrusionOk="0">
                  <a:moveTo>
                    <a:pt x="1669" y="0"/>
                  </a:moveTo>
                  <a:cubicBezTo>
                    <a:pt x="1" y="0"/>
                    <a:pt x="1" y="2502"/>
                    <a:pt x="1669" y="2502"/>
                  </a:cubicBezTo>
                  <a:lnTo>
                    <a:pt x="20749" y="2502"/>
                  </a:lnTo>
                  <a:cubicBezTo>
                    <a:pt x="22417" y="2502"/>
                    <a:pt x="22417" y="0"/>
                    <a:pt x="2074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 name="Google Shape;1708;p51">
              <a:extLst>
                <a:ext uri="{FF2B5EF4-FFF2-40B4-BE49-F238E27FC236}">
                  <a16:creationId xmlns:a16="http://schemas.microsoft.com/office/drawing/2014/main" id="{75EBFB56-85BF-AE5B-F142-02D040323F03}"/>
                </a:ext>
              </a:extLst>
            </p:cNvPr>
            <p:cNvSpPr/>
            <p:nvPr/>
          </p:nvSpPr>
          <p:spPr>
            <a:xfrm>
              <a:off x="2199500" y="4392825"/>
              <a:ext cx="104250" cy="213500"/>
            </a:xfrm>
            <a:custGeom>
              <a:avLst/>
              <a:gdLst/>
              <a:ahLst/>
              <a:cxnLst/>
              <a:rect l="l" t="t" r="r" b="b"/>
              <a:pathLst>
                <a:path w="4170" h="8540" extrusionOk="0">
                  <a:moveTo>
                    <a:pt x="2802" y="0"/>
                  </a:moveTo>
                  <a:lnTo>
                    <a:pt x="0" y="1301"/>
                  </a:lnTo>
                  <a:lnTo>
                    <a:pt x="1368" y="8540"/>
                  </a:lnTo>
                  <a:lnTo>
                    <a:pt x="4170" y="7239"/>
                  </a:lnTo>
                  <a:lnTo>
                    <a:pt x="2802" y="0"/>
                  </a:lnTo>
                  <a:close/>
                </a:path>
              </a:pathLst>
            </a:custGeom>
            <a:solidFill>
              <a:srgbClr val="7F3E3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 name="Google Shape;1709;p51">
              <a:extLst>
                <a:ext uri="{FF2B5EF4-FFF2-40B4-BE49-F238E27FC236}">
                  <a16:creationId xmlns:a16="http://schemas.microsoft.com/office/drawing/2014/main" id="{96E480E7-8C0D-9DFE-17B1-3CC495E2AEFC}"/>
                </a:ext>
              </a:extLst>
            </p:cNvPr>
            <p:cNvSpPr/>
            <p:nvPr/>
          </p:nvSpPr>
          <p:spPr>
            <a:xfrm>
              <a:off x="2217000" y="4530975"/>
              <a:ext cx="289475" cy="139550"/>
            </a:xfrm>
            <a:custGeom>
              <a:avLst/>
              <a:gdLst/>
              <a:ahLst/>
              <a:cxnLst/>
              <a:rect l="l" t="t" r="r" b="b"/>
              <a:pathLst>
                <a:path w="11579" h="5582" extrusionOk="0">
                  <a:moveTo>
                    <a:pt x="10599" y="1"/>
                  </a:moveTo>
                  <a:cubicBezTo>
                    <a:pt x="10569" y="1"/>
                    <a:pt x="10538" y="4"/>
                    <a:pt x="10508" y="11"/>
                  </a:cubicBezTo>
                  <a:cubicBezTo>
                    <a:pt x="8470" y="458"/>
                    <a:pt x="5964" y="975"/>
                    <a:pt x="4575" y="975"/>
                  </a:cubicBezTo>
                  <a:cubicBezTo>
                    <a:pt x="4305" y="975"/>
                    <a:pt x="4077" y="956"/>
                    <a:pt x="3903" y="912"/>
                  </a:cubicBezTo>
                  <a:cubicBezTo>
                    <a:pt x="3821" y="898"/>
                    <a:pt x="3738" y="890"/>
                    <a:pt x="3657" y="890"/>
                  </a:cubicBezTo>
                  <a:cubicBezTo>
                    <a:pt x="3543" y="890"/>
                    <a:pt x="3434" y="906"/>
                    <a:pt x="3336" y="945"/>
                  </a:cubicBezTo>
                  <a:lnTo>
                    <a:pt x="167" y="2413"/>
                  </a:lnTo>
                  <a:cubicBezTo>
                    <a:pt x="67" y="2447"/>
                    <a:pt x="1" y="2580"/>
                    <a:pt x="67" y="2680"/>
                  </a:cubicBezTo>
                  <a:lnTo>
                    <a:pt x="1068" y="5249"/>
                  </a:lnTo>
                  <a:cubicBezTo>
                    <a:pt x="1146" y="5455"/>
                    <a:pt x="1363" y="5582"/>
                    <a:pt x="1582" y="5582"/>
                  </a:cubicBezTo>
                  <a:cubicBezTo>
                    <a:pt x="1645" y="5582"/>
                    <a:pt x="1709" y="5571"/>
                    <a:pt x="1769" y="5549"/>
                  </a:cubicBezTo>
                  <a:cubicBezTo>
                    <a:pt x="2869" y="5015"/>
                    <a:pt x="3370" y="4715"/>
                    <a:pt x="4737" y="4081"/>
                  </a:cubicBezTo>
                  <a:cubicBezTo>
                    <a:pt x="5605" y="3681"/>
                    <a:pt x="9274" y="2113"/>
                    <a:pt x="10441" y="1579"/>
                  </a:cubicBezTo>
                  <a:cubicBezTo>
                    <a:pt x="11578" y="1074"/>
                    <a:pt x="11131" y="1"/>
                    <a:pt x="10599"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 name="Google Shape;1710;p51">
              <a:extLst>
                <a:ext uri="{FF2B5EF4-FFF2-40B4-BE49-F238E27FC236}">
                  <a16:creationId xmlns:a16="http://schemas.microsoft.com/office/drawing/2014/main" id="{548CB053-4B8C-6EE0-00D6-C223AB0067D9}"/>
                </a:ext>
              </a:extLst>
            </p:cNvPr>
            <p:cNvSpPr/>
            <p:nvPr/>
          </p:nvSpPr>
          <p:spPr>
            <a:xfrm>
              <a:off x="2199500" y="4392825"/>
              <a:ext cx="87575" cy="125950"/>
            </a:xfrm>
            <a:custGeom>
              <a:avLst/>
              <a:gdLst/>
              <a:ahLst/>
              <a:cxnLst/>
              <a:rect l="l" t="t" r="r" b="b"/>
              <a:pathLst>
                <a:path w="3503" h="5038" extrusionOk="0">
                  <a:moveTo>
                    <a:pt x="2802" y="0"/>
                  </a:moveTo>
                  <a:lnTo>
                    <a:pt x="0" y="1301"/>
                  </a:lnTo>
                  <a:lnTo>
                    <a:pt x="701" y="5037"/>
                  </a:lnTo>
                  <a:lnTo>
                    <a:pt x="3503" y="3736"/>
                  </a:lnTo>
                  <a:lnTo>
                    <a:pt x="2802" y="0"/>
                  </a:ln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 name="Google Shape;1711;p51">
              <a:extLst>
                <a:ext uri="{FF2B5EF4-FFF2-40B4-BE49-F238E27FC236}">
                  <a16:creationId xmlns:a16="http://schemas.microsoft.com/office/drawing/2014/main" id="{53219F74-AD04-442F-F76A-6D0205E1EA60}"/>
                </a:ext>
              </a:extLst>
            </p:cNvPr>
            <p:cNvSpPr/>
            <p:nvPr/>
          </p:nvSpPr>
          <p:spPr>
            <a:xfrm>
              <a:off x="1459800" y="3439625"/>
              <a:ext cx="879825" cy="1034950"/>
            </a:xfrm>
            <a:custGeom>
              <a:avLst/>
              <a:gdLst/>
              <a:ahLst/>
              <a:cxnLst/>
              <a:rect l="l" t="t" r="r" b="b"/>
              <a:pathLst>
                <a:path w="35193" h="41398" extrusionOk="0">
                  <a:moveTo>
                    <a:pt x="467" y="1"/>
                  </a:moveTo>
                  <a:cubicBezTo>
                    <a:pt x="0" y="2803"/>
                    <a:pt x="234" y="5705"/>
                    <a:pt x="1168" y="8374"/>
                  </a:cubicBezTo>
                  <a:cubicBezTo>
                    <a:pt x="3103" y="13577"/>
                    <a:pt x="19381" y="11176"/>
                    <a:pt x="25352" y="13677"/>
                  </a:cubicBezTo>
                  <a:cubicBezTo>
                    <a:pt x="24151" y="23551"/>
                    <a:pt x="28721" y="41397"/>
                    <a:pt x="28721" y="41397"/>
                  </a:cubicBezTo>
                  <a:lnTo>
                    <a:pt x="33958" y="39229"/>
                  </a:lnTo>
                  <a:cubicBezTo>
                    <a:pt x="33958" y="39229"/>
                    <a:pt x="32824" y="23218"/>
                    <a:pt x="34225" y="10542"/>
                  </a:cubicBezTo>
                  <a:cubicBezTo>
                    <a:pt x="35192" y="1735"/>
                    <a:pt x="11142" y="1"/>
                    <a:pt x="11142"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 name="Google Shape;1712;p51">
              <a:extLst>
                <a:ext uri="{FF2B5EF4-FFF2-40B4-BE49-F238E27FC236}">
                  <a16:creationId xmlns:a16="http://schemas.microsoft.com/office/drawing/2014/main" id="{477D157B-A5E2-3121-046A-CBBC8CB370E4}"/>
                </a:ext>
              </a:extLst>
            </p:cNvPr>
            <p:cNvSpPr/>
            <p:nvPr/>
          </p:nvSpPr>
          <p:spPr>
            <a:xfrm>
              <a:off x="2006025" y="3623100"/>
              <a:ext cx="174300" cy="249375"/>
            </a:xfrm>
            <a:custGeom>
              <a:avLst/>
              <a:gdLst/>
              <a:ahLst/>
              <a:cxnLst/>
              <a:rect l="l" t="t" r="r" b="b"/>
              <a:pathLst>
                <a:path w="6972" h="9975" extrusionOk="0">
                  <a:moveTo>
                    <a:pt x="1001" y="0"/>
                  </a:moveTo>
                  <a:cubicBezTo>
                    <a:pt x="1001" y="0"/>
                    <a:pt x="434" y="2636"/>
                    <a:pt x="0" y="5471"/>
                  </a:cubicBezTo>
                  <a:lnTo>
                    <a:pt x="67" y="5471"/>
                  </a:lnTo>
                  <a:lnTo>
                    <a:pt x="701" y="5571"/>
                  </a:lnTo>
                  <a:lnTo>
                    <a:pt x="1001" y="5638"/>
                  </a:lnTo>
                  <a:lnTo>
                    <a:pt x="1368" y="5705"/>
                  </a:lnTo>
                  <a:cubicBezTo>
                    <a:pt x="1835" y="5771"/>
                    <a:pt x="2302" y="5905"/>
                    <a:pt x="2769" y="6072"/>
                  </a:cubicBezTo>
                  <a:cubicBezTo>
                    <a:pt x="2902" y="6105"/>
                    <a:pt x="3002" y="6138"/>
                    <a:pt x="3103" y="6172"/>
                  </a:cubicBezTo>
                  <a:cubicBezTo>
                    <a:pt x="3203" y="6205"/>
                    <a:pt x="3369" y="6272"/>
                    <a:pt x="3536" y="6338"/>
                  </a:cubicBezTo>
                  <a:cubicBezTo>
                    <a:pt x="3369" y="7539"/>
                    <a:pt x="3303" y="8773"/>
                    <a:pt x="3303" y="9974"/>
                  </a:cubicBezTo>
                  <a:cubicBezTo>
                    <a:pt x="6972" y="4637"/>
                    <a:pt x="3836" y="0"/>
                    <a:pt x="1001" y="0"/>
                  </a:cubicBez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 name="Google Shape;1713;p51">
              <a:extLst>
                <a:ext uri="{FF2B5EF4-FFF2-40B4-BE49-F238E27FC236}">
                  <a16:creationId xmlns:a16="http://schemas.microsoft.com/office/drawing/2014/main" id="{5DB863DE-FBE8-6B1A-8EE4-2FE2F5E6EFB5}"/>
                </a:ext>
              </a:extLst>
            </p:cNvPr>
            <p:cNvSpPr/>
            <p:nvPr/>
          </p:nvSpPr>
          <p:spPr>
            <a:xfrm>
              <a:off x="2150300" y="4376975"/>
              <a:ext cx="185150" cy="140125"/>
            </a:xfrm>
            <a:custGeom>
              <a:avLst/>
              <a:gdLst/>
              <a:ahLst/>
              <a:cxnLst/>
              <a:rect l="l" t="t" r="r" b="b"/>
              <a:pathLst>
                <a:path w="7406" h="5605" extrusionOk="0">
                  <a:moveTo>
                    <a:pt x="6972" y="0"/>
                  </a:moveTo>
                  <a:lnTo>
                    <a:pt x="0" y="2569"/>
                  </a:lnTo>
                  <a:lnTo>
                    <a:pt x="634" y="5604"/>
                  </a:lnTo>
                  <a:lnTo>
                    <a:pt x="7405" y="2502"/>
                  </a:lnTo>
                  <a:lnTo>
                    <a:pt x="6972" y="0"/>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 name="Google Shape;1714;p51">
              <a:extLst>
                <a:ext uri="{FF2B5EF4-FFF2-40B4-BE49-F238E27FC236}">
                  <a16:creationId xmlns:a16="http://schemas.microsoft.com/office/drawing/2014/main" id="{837AA756-6571-4FAE-664B-F53F9B9CAB89}"/>
                </a:ext>
              </a:extLst>
            </p:cNvPr>
            <p:cNvSpPr/>
            <p:nvPr/>
          </p:nvSpPr>
          <p:spPr>
            <a:xfrm>
              <a:off x="2309575" y="4532925"/>
              <a:ext cx="35050" cy="29200"/>
            </a:xfrm>
            <a:custGeom>
              <a:avLst/>
              <a:gdLst/>
              <a:ahLst/>
              <a:cxnLst/>
              <a:rect l="l" t="t" r="r" b="b"/>
              <a:pathLst>
                <a:path w="1402" h="1168" extrusionOk="0">
                  <a:moveTo>
                    <a:pt x="1070" y="153"/>
                  </a:moveTo>
                  <a:cubicBezTo>
                    <a:pt x="1101" y="153"/>
                    <a:pt x="1134" y="177"/>
                    <a:pt x="1134" y="200"/>
                  </a:cubicBezTo>
                  <a:cubicBezTo>
                    <a:pt x="1201" y="267"/>
                    <a:pt x="1235" y="367"/>
                    <a:pt x="1201" y="467"/>
                  </a:cubicBezTo>
                  <a:cubicBezTo>
                    <a:pt x="1134" y="667"/>
                    <a:pt x="768" y="834"/>
                    <a:pt x="234" y="968"/>
                  </a:cubicBezTo>
                  <a:lnTo>
                    <a:pt x="200" y="968"/>
                  </a:lnTo>
                  <a:cubicBezTo>
                    <a:pt x="434" y="634"/>
                    <a:pt x="801" y="167"/>
                    <a:pt x="1034" y="167"/>
                  </a:cubicBezTo>
                  <a:cubicBezTo>
                    <a:pt x="1044" y="157"/>
                    <a:pt x="1057" y="153"/>
                    <a:pt x="1070" y="153"/>
                  </a:cubicBezTo>
                  <a:close/>
                  <a:moveTo>
                    <a:pt x="1034" y="0"/>
                  </a:moveTo>
                  <a:cubicBezTo>
                    <a:pt x="634" y="34"/>
                    <a:pt x="67" y="934"/>
                    <a:pt x="34" y="1034"/>
                  </a:cubicBezTo>
                  <a:cubicBezTo>
                    <a:pt x="0" y="1068"/>
                    <a:pt x="0" y="1101"/>
                    <a:pt x="34" y="1134"/>
                  </a:cubicBezTo>
                  <a:cubicBezTo>
                    <a:pt x="34" y="1134"/>
                    <a:pt x="67" y="1168"/>
                    <a:pt x="100" y="1168"/>
                  </a:cubicBezTo>
                  <a:cubicBezTo>
                    <a:pt x="367" y="1101"/>
                    <a:pt x="634" y="1001"/>
                    <a:pt x="901" y="901"/>
                  </a:cubicBezTo>
                  <a:cubicBezTo>
                    <a:pt x="1068" y="834"/>
                    <a:pt x="1235" y="701"/>
                    <a:pt x="1335" y="534"/>
                  </a:cubicBezTo>
                  <a:cubicBezTo>
                    <a:pt x="1401" y="367"/>
                    <a:pt x="1368" y="234"/>
                    <a:pt x="1268" y="134"/>
                  </a:cubicBezTo>
                  <a:cubicBezTo>
                    <a:pt x="1201" y="34"/>
                    <a:pt x="1134" y="0"/>
                    <a:pt x="1034"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 name="Google Shape;1715;p51">
              <a:extLst>
                <a:ext uri="{FF2B5EF4-FFF2-40B4-BE49-F238E27FC236}">
                  <a16:creationId xmlns:a16="http://schemas.microsoft.com/office/drawing/2014/main" id="{A59F591F-A8E4-7340-F8E7-260408380E66}"/>
                </a:ext>
              </a:extLst>
            </p:cNvPr>
            <p:cNvSpPr/>
            <p:nvPr/>
          </p:nvSpPr>
          <p:spPr>
            <a:xfrm>
              <a:off x="2297900" y="4524275"/>
              <a:ext cx="23375" cy="37025"/>
            </a:xfrm>
            <a:custGeom>
              <a:avLst/>
              <a:gdLst/>
              <a:ahLst/>
              <a:cxnLst/>
              <a:rect l="l" t="t" r="r" b="b"/>
              <a:pathLst>
                <a:path w="935" h="1481" extrusionOk="0">
                  <a:moveTo>
                    <a:pt x="527" y="166"/>
                  </a:moveTo>
                  <a:cubicBezTo>
                    <a:pt x="584" y="166"/>
                    <a:pt x="601" y="189"/>
                    <a:pt x="601" y="213"/>
                  </a:cubicBezTo>
                  <a:cubicBezTo>
                    <a:pt x="734" y="546"/>
                    <a:pt x="701" y="947"/>
                    <a:pt x="534" y="1280"/>
                  </a:cubicBezTo>
                  <a:cubicBezTo>
                    <a:pt x="367" y="980"/>
                    <a:pt x="267" y="646"/>
                    <a:pt x="301" y="313"/>
                  </a:cubicBezTo>
                  <a:cubicBezTo>
                    <a:pt x="334" y="246"/>
                    <a:pt x="367" y="213"/>
                    <a:pt x="434" y="179"/>
                  </a:cubicBezTo>
                  <a:cubicBezTo>
                    <a:pt x="473" y="170"/>
                    <a:pt x="504" y="166"/>
                    <a:pt x="527" y="166"/>
                  </a:cubicBezTo>
                  <a:close/>
                  <a:moveTo>
                    <a:pt x="481" y="0"/>
                  </a:moveTo>
                  <a:cubicBezTo>
                    <a:pt x="453" y="0"/>
                    <a:pt x="426" y="4"/>
                    <a:pt x="401" y="13"/>
                  </a:cubicBezTo>
                  <a:cubicBezTo>
                    <a:pt x="301" y="46"/>
                    <a:pt x="200" y="146"/>
                    <a:pt x="167" y="246"/>
                  </a:cubicBezTo>
                  <a:cubicBezTo>
                    <a:pt x="0" y="646"/>
                    <a:pt x="467" y="1414"/>
                    <a:pt x="467" y="1447"/>
                  </a:cubicBezTo>
                  <a:cubicBezTo>
                    <a:pt x="467" y="1480"/>
                    <a:pt x="501" y="1480"/>
                    <a:pt x="534" y="1480"/>
                  </a:cubicBezTo>
                  <a:lnTo>
                    <a:pt x="567" y="1480"/>
                  </a:lnTo>
                  <a:cubicBezTo>
                    <a:pt x="801" y="1180"/>
                    <a:pt x="934" y="380"/>
                    <a:pt x="734" y="113"/>
                  </a:cubicBezTo>
                  <a:cubicBezTo>
                    <a:pt x="659" y="38"/>
                    <a:pt x="565" y="0"/>
                    <a:pt x="481"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 name="Google Shape;1716;p51">
              <a:extLst>
                <a:ext uri="{FF2B5EF4-FFF2-40B4-BE49-F238E27FC236}">
                  <a16:creationId xmlns:a16="http://schemas.microsoft.com/office/drawing/2014/main" id="{4AF2EF90-0ADD-8945-5882-7BC4F91ED2AA}"/>
                </a:ext>
              </a:extLst>
            </p:cNvPr>
            <p:cNvSpPr/>
            <p:nvPr/>
          </p:nvSpPr>
          <p:spPr>
            <a:xfrm>
              <a:off x="1656600" y="2813350"/>
              <a:ext cx="405325" cy="500550"/>
            </a:xfrm>
            <a:custGeom>
              <a:avLst/>
              <a:gdLst/>
              <a:ahLst/>
              <a:cxnLst/>
              <a:rect l="l" t="t" r="r" b="b"/>
              <a:pathLst>
                <a:path w="16213" h="20022" extrusionOk="0">
                  <a:moveTo>
                    <a:pt x="8739" y="15882"/>
                  </a:moveTo>
                  <a:cubicBezTo>
                    <a:pt x="8695" y="15905"/>
                    <a:pt x="8651" y="15926"/>
                    <a:pt x="8607" y="15945"/>
                  </a:cubicBezTo>
                  <a:cubicBezTo>
                    <a:pt x="8595" y="15952"/>
                    <a:pt x="8585" y="15954"/>
                    <a:pt x="8579" y="15954"/>
                  </a:cubicBezTo>
                  <a:cubicBezTo>
                    <a:pt x="8558" y="15954"/>
                    <a:pt x="8587" y="15922"/>
                    <a:pt x="8739" y="15882"/>
                  </a:cubicBezTo>
                  <a:close/>
                  <a:moveTo>
                    <a:pt x="4437" y="1"/>
                  </a:moveTo>
                  <a:lnTo>
                    <a:pt x="1" y="1468"/>
                  </a:lnTo>
                  <a:cubicBezTo>
                    <a:pt x="468" y="2936"/>
                    <a:pt x="968" y="4337"/>
                    <a:pt x="1468" y="5771"/>
                  </a:cubicBezTo>
                  <a:cubicBezTo>
                    <a:pt x="1969" y="7206"/>
                    <a:pt x="2469" y="8640"/>
                    <a:pt x="3036" y="10041"/>
                  </a:cubicBezTo>
                  <a:cubicBezTo>
                    <a:pt x="3570" y="11476"/>
                    <a:pt x="4137" y="12877"/>
                    <a:pt x="4704" y="14311"/>
                  </a:cubicBezTo>
                  <a:cubicBezTo>
                    <a:pt x="5304" y="15712"/>
                    <a:pt x="5938" y="17113"/>
                    <a:pt x="6639" y="18547"/>
                  </a:cubicBezTo>
                  <a:lnTo>
                    <a:pt x="6705" y="18714"/>
                  </a:lnTo>
                  <a:lnTo>
                    <a:pt x="6772" y="18781"/>
                  </a:lnTo>
                  <a:cubicBezTo>
                    <a:pt x="7006" y="19181"/>
                    <a:pt x="7373" y="19481"/>
                    <a:pt x="7773" y="19715"/>
                  </a:cubicBezTo>
                  <a:cubicBezTo>
                    <a:pt x="8152" y="19919"/>
                    <a:pt x="8583" y="20021"/>
                    <a:pt x="9020" y="20021"/>
                  </a:cubicBezTo>
                  <a:cubicBezTo>
                    <a:pt x="9082" y="20021"/>
                    <a:pt x="9145" y="20019"/>
                    <a:pt x="9207" y="20015"/>
                  </a:cubicBezTo>
                  <a:cubicBezTo>
                    <a:pt x="9774" y="19948"/>
                    <a:pt x="10275" y="19781"/>
                    <a:pt x="10742" y="19448"/>
                  </a:cubicBezTo>
                  <a:cubicBezTo>
                    <a:pt x="11242" y="19114"/>
                    <a:pt x="11676" y="18714"/>
                    <a:pt x="12076" y="18280"/>
                  </a:cubicBezTo>
                  <a:cubicBezTo>
                    <a:pt x="12676" y="17547"/>
                    <a:pt x="13243" y="16779"/>
                    <a:pt x="13744" y="15979"/>
                  </a:cubicBezTo>
                  <a:cubicBezTo>
                    <a:pt x="14244" y="15212"/>
                    <a:pt x="14678" y="14444"/>
                    <a:pt x="15078" y="13644"/>
                  </a:cubicBezTo>
                  <a:cubicBezTo>
                    <a:pt x="15478" y="12843"/>
                    <a:pt x="15845" y="12076"/>
                    <a:pt x="16212" y="11242"/>
                  </a:cubicBezTo>
                  <a:lnTo>
                    <a:pt x="14211" y="10041"/>
                  </a:lnTo>
                  <a:lnTo>
                    <a:pt x="12576" y="11976"/>
                  </a:lnTo>
                  <a:cubicBezTo>
                    <a:pt x="12009" y="12610"/>
                    <a:pt x="11442" y="13243"/>
                    <a:pt x="10908" y="13844"/>
                  </a:cubicBezTo>
                  <a:cubicBezTo>
                    <a:pt x="10530" y="14270"/>
                    <a:pt x="10151" y="14663"/>
                    <a:pt x="9748" y="15046"/>
                  </a:cubicBezTo>
                  <a:lnTo>
                    <a:pt x="9748" y="15046"/>
                  </a:lnTo>
                  <a:cubicBezTo>
                    <a:pt x="9444" y="14262"/>
                    <a:pt x="9148" y="13464"/>
                    <a:pt x="8840" y="12676"/>
                  </a:cubicBezTo>
                  <a:cubicBezTo>
                    <a:pt x="8340" y="11275"/>
                    <a:pt x="7840" y="9874"/>
                    <a:pt x="7339" y="8473"/>
                  </a:cubicBezTo>
                  <a:lnTo>
                    <a:pt x="4437" y="1"/>
                  </a:lnTo>
                  <a:close/>
                </a:path>
              </a:pathLst>
            </a:custGeom>
            <a:solidFill>
              <a:srgbClr val="803E3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 name="Google Shape;1717;p51">
              <a:extLst>
                <a:ext uri="{FF2B5EF4-FFF2-40B4-BE49-F238E27FC236}">
                  <a16:creationId xmlns:a16="http://schemas.microsoft.com/office/drawing/2014/main" id="{63EDA0A3-CA9F-2AB1-3E66-FD41CD16BA63}"/>
                </a:ext>
              </a:extLst>
            </p:cNvPr>
            <p:cNvSpPr/>
            <p:nvPr/>
          </p:nvSpPr>
          <p:spPr>
            <a:xfrm>
              <a:off x="1609825" y="2770650"/>
              <a:ext cx="275300" cy="326275"/>
            </a:xfrm>
            <a:custGeom>
              <a:avLst/>
              <a:gdLst/>
              <a:ahLst/>
              <a:cxnLst/>
              <a:rect l="l" t="t" r="r" b="b"/>
              <a:pathLst>
                <a:path w="11012" h="13051" extrusionOk="0">
                  <a:moveTo>
                    <a:pt x="2601" y="1"/>
                  </a:moveTo>
                  <a:cubicBezTo>
                    <a:pt x="1123" y="1"/>
                    <a:pt x="0" y="874"/>
                    <a:pt x="70" y="2543"/>
                  </a:cubicBezTo>
                  <a:cubicBezTo>
                    <a:pt x="170" y="4611"/>
                    <a:pt x="2539" y="10715"/>
                    <a:pt x="4440" y="13050"/>
                  </a:cubicBezTo>
                  <a:lnTo>
                    <a:pt x="11012" y="9081"/>
                  </a:lnTo>
                  <a:cubicBezTo>
                    <a:pt x="11012" y="9081"/>
                    <a:pt x="9344" y="5044"/>
                    <a:pt x="6842" y="2176"/>
                  </a:cubicBezTo>
                  <a:cubicBezTo>
                    <a:pt x="5547" y="707"/>
                    <a:pt x="3930" y="1"/>
                    <a:pt x="2601" y="1"/>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 name="Google Shape;1718;p51">
              <a:extLst>
                <a:ext uri="{FF2B5EF4-FFF2-40B4-BE49-F238E27FC236}">
                  <a16:creationId xmlns:a16="http://schemas.microsoft.com/office/drawing/2014/main" id="{70348D7D-43C3-03A5-B2C2-228FF882745F}"/>
                </a:ext>
              </a:extLst>
            </p:cNvPr>
            <p:cNvSpPr/>
            <p:nvPr/>
          </p:nvSpPr>
          <p:spPr>
            <a:xfrm>
              <a:off x="1650775" y="2890100"/>
              <a:ext cx="145125" cy="206825"/>
            </a:xfrm>
            <a:custGeom>
              <a:avLst/>
              <a:gdLst/>
              <a:ahLst/>
              <a:cxnLst/>
              <a:rect l="l" t="t" r="r" b="b"/>
              <a:pathLst>
                <a:path w="5805" h="8273" extrusionOk="0">
                  <a:moveTo>
                    <a:pt x="2094" y="1"/>
                  </a:moveTo>
                  <a:cubicBezTo>
                    <a:pt x="1201" y="1"/>
                    <a:pt x="498" y="1378"/>
                    <a:pt x="0" y="3002"/>
                  </a:cubicBezTo>
                  <a:cubicBezTo>
                    <a:pt x="834" y="5036"/>
                    <a:pt x="1868" y="7105"/>
                    <a:pt x="2802" y="8272"/>
                  </a:cubicBezTo>
                  <a:lnTo>
                    <a:pt x="5804" y="6471"/>
                  </a:lnTo>
                  <a:cubicBezTo>
                    <a:pt x="5337" y="4036"/>
                    <a:pt x="4303" y="1534"/>
                    <a:pt x="2869" y="333"/>
                  </a:cubicBezTo>
                  <a:cubicBezTo>
                    <a:pt x="2597" y="104"/>
                    <a:pt x="2338" y="1"/>
                    <a:pt x="2094" y="1"/>
                  </a:cubicBez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 name="Google Shape;1719;p51">
              <a:extLst>
                <a:ext uri="{FF2B5EF4-FFF2-40B4-BE49-F238E27FC236}">
                  <a16:creationId xmlns:a16="http://schemas.microsoft.com/office/drawing/2014/main" id="{3FAA1CC4-5193-A466-3D03-A7318A41E7DF}"/>
                </a:ext>
              </a:extLst>
            </p:cNvPr>
            <p:cNvSpPr/>
            <p:nvPr/>
          </p:nvSpPr>
          <p:spPr>
            <a:xfrm>
              <a:off x="1745825" y="4421175"/>
              <a:ext cx="112625" cy="179325"/>
            </a:xfrm>
            <a:custGeom>
              <a:avLst/>
              <a:gdLst/>
              <a:ahLst/>
              <a:cxnLst/>
              <a:rect l="l" t="t" r="r" b="b"/>
              <a:pathLst>
                <a:path w="4505" h="7173" extrusionOk="0">
                  <a:moveTo>
                    <a:pt x="1402" y="0"/>
                  </a:moveTo>
                  <a:lnTo>
                    <a:pt x="1" y="7172"/>
                  </a:lnTo>
                  <a:lnTo>
                    <a:pt x="3103" y="7172"/>
                  </a:lnTo>
                  <a:lnTo>
                    <a:pt x="4504" y="0"/>
                  </a:lnTo>
                  <a:close/>
                </a:path>
              </a:pathLst>
            </a:custGeom>
            <a:solidFill>
              <a:srgbClr val="7F3E3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8" name="Google Shape;1720;p51">
              <a:extLst>
                <a:ext uri="{FF2B5EF4-FFF2-40B4-BE49-F238E27FC236}">
                  <a16:creationId xmlns:a16="http://schemas.microsoft.com/office/drawing/2014/main" id="{42DBACD6-6D35-F4B6-087B-757370A42769}"/>
                </a:ext>
              </a:extLst>
            </p:cNvPr>
            <p:cNvSpPr/>
            <p:nvPr/>
          </p:nvSpPr>
          <p:spPr>
            <a:xfrm>
              <a:off x="1728325" y="4581275"/>
              <a:ext cx="264375" cy="88425"/>
            </a:xfrm>
            <a:custGeom>
              <a:avLst/>
              <a:gdLst/>
              <a:ahLst/>
              <a:cxnLst/>
              <a:rect l="l" t="t" r="r" b="b"/>
              <a:pathLst>
                <a:path w="10575" h="3537" extrusionOk="0">
                  <a:moveTo>
                    <a:pt x="401" y="1"/>
                  </a:moveTo>
                  <a:cubicBezTo>
                    <a:pt x="301" y="1"/>
                    <a:pt x="201" y="101"/>
                    <a:pt x="201" y="234"/>
                  </a:cubicBezTo>
                  <a:lnTo>
                    <a:pt x="0" y="2970"/>
                  </a:lnTo>
                  <a:cubicBezTo>
                    <a:pt x="0" y="3270"/>
                    <a:pt x="267" y="3503"/>
                    <a:pt x="567" y="3503"/>
                  </a:cubicBezTo>
                  <a:cubicBezTo>
                    <a:pt x="1768" y="3503"/>
                    <a:pt x="2335" y="3437"/>
                    <a:pt x="3870" y="3437"/>
                  </a:cubicBezTo>
                  <a:cubicBezTo>
                    <a:pt x="4804" y="3437"/>
                    <a:pt x="8006" y="3537"/>
                    <a:pt x="9307" y="3537"/>
                  </a:cubicBezTo>
                  <a:cubicBezTo>
                    <a:pt x="10575" y="3537"/>
                    <a:pt x="10541" y="2236"/>
                    <a:pt x="10008" y="2136"/>
                  </a:cubicBezTo>
                  <a:cubicBezTo>
                    <a:pt x="7539" y="1602"/>
                    <a:pt x="5304" y="868"/>
                    <a:pt x="4404" y="201"/>
                  </a:cubicBezTo>
                  <a:cubicBezTo>
                    <a:pt x="4270" y="68"/>
                    <a:pt x="4070" y="1"/>
                    <a:pt x="3903"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 name="Google Shape;1721;p51">
              <a:extLst>
                <a:ext uri="{FF2B5EF4-FFF2-40B4-BE49-F238E27FC236}">
                  <a16:creationId xmlns:a16="http://schemas.microsoft.com/office/drawing/2014/main" id="{AC9E8346-DAF4-29B9-2FCF-EB6444D0AC69}"/>
                </a:ext>
              </a:extLst>
            </p:cNvPr>
            <p:cNvSpPr/>
            <p:nvPr/>
          </p:nvSpPr>
          <p:spPr>
            <a:xfrm>
              <a:off x="1763350" y="4421175"/>
              <a:ext cx="95100" cy="92575"/>
            </a:xfrm>
            <a:custGeom>
              <a:avLst/>
              <a:gdLst/>
              <a:ahLst/>
              <a:cxnLst/>
              <a:rect l="l" t="t" r="r" b="b"/>
              <a:pathLst>
                <a:path w="3804" h="3703" extrusionOk="0">
                  <a:moveTo>
                    <a:pt x="701" y="0"/>
                  </a:moveTo>
                  <a:lnTo>
                    <a:pt x="0" y="3703"/>
                  </a:lnTo>
                  <a:lnTo>
                    <a:pt x="3069" y="3703"/>
                  </a:lnTo>
                  <a:lnTo>
                    <a:pt x="3803" y="0"/>
                  </a:ln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 name="Google Shape;1722;p51">
              <a:extLst>
                <a:ext uri="{FF2B5EF4-FFF2-40B4-BE49-F238E27FC236}">
                  <a16:creationId xmlns:a16="http://schemas.microsoft.com/office/drawing/2014/main" id="{9962859F-8EB7-1EA2-1DB0-6D92474F4418}"/>
                </a:ext>
              </a:extLst>
            </p:cNvPr>
            <p:cNvSpPr/>
            <p:nvPr/>
          </p:nvSpPr>
          <p:spPr>
            <a:xfrm>
              <a:off x="1308850" y="3439625"/>
              <a:ext cx="787250" cy="1051625"/>
            </a:xfrm>
            <a:custGeom>
              <a:avLst/>
              <a:gdLst/>
              <a:ahLst/>
              <a:cxnLst/>
              <a:rect l="l" t="t" r="r" b="b"/>
              <a:pathLst>
                <a:path w="31490" h="42065" extrusionOk="0">
                  <a:moveTo>
                    <a:pt x="468" y="1"/>
                  </a:moveTo>
                  <a:cubicBezTo>
                    <a:pt x="1" y="2803"/>
                    <a:pt x="234" y="5705"/>
                    <a:pt x="1168" y="8374"/>
                  </a:cubicBezTo>
                  <a:cubicBezTo>
                    <a:pt x="2504" y="12030"/>
                    <a:pt x="8798" y="12574"/>
                    <a:pt x="14413" y="12574"/>
                  </a:cubicBezTo>
                  <a:cubicBezTo>
                    <a:pt x="16789" y="12574"/>
                    <a:pt x="19043" y="12476"/>
                    <a:pt x="20749" y="12476"/>
                  </a:cubicBezTo>
                  <a:cubicBezTo>
                    <a:pt x="19481" y="22350"/>
                    <a:pt x="16946" y="42064"/>
                    <a:pt x="16946" y="42064"/>
                  </a:cubicBezTo>
                  <a:lnTo>
                    <a:pt x="22617" y="42064"/>
                  </a:lnTo>
                  <a:cubicBezTo>
                    <a:pt x="22617" y="42064"/>
                    <a:pt x="30456" y="20282"/>
                    <a:pt x="30990" y="10575"/>
                  </a:cubicBezTo>
                  <a:cubicBezTo>
                    <a:pt x="31490" y="1735"/>
                    <a:pt x="11109" y="1"/>
                    <a:pt x="11109"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 name="Google Shape;1723;p51">
              <a:extLst>
                <a:ext uri="{FF2B5EF4-FFF2-40B4-BE49-F238E27FC236}">
                  <a16:creationId xmlns:a16="http://schemas.microsoft.com/office/drawing/2014/main" id="{C3663939-99A5-854B-B5C8-AFA01EA2731B}"/>
                </a:ext>
              </a:extLst>
            </p:cNvPr>
            <p:cNvSpPr/>
            <p:nvPr/>
          </p:nvSpPr>
          <p:spPr>
            <a:xfrm>
              <a:off x="1717475" y="4417825"/>
              <a:ext cx="196850" cy="73425"/>
            </a:xfrm>
            <a:custGeom>
              <a:avLst/>
              <a:gdLst/>
              <a:ahLst/>
              <a:cxnLst/>
              <a:rect l="l" t="t" r="r" b="b"/>
              <a:pathLst>
                <a:path w="7874" h="2937" extrusionOk="0">
                  <a:moveTo>
                    <a:pt x="7873" y="1"/>
                  </a:moveTo>
                  <a:lnTo>
                    <a:pt x="101" y="368"/>
                  </a:lnTo>
                  <a:lnTo>
                    <a:pt x="1" y="2936"/>
                  </a:lnTo>
                  <a:lnTo>
                    <a:pt x="7439" y="2936"/>
                  </a:lnTo>
                  <a:lnTo>
                    <a:pt x="7873" y="1"/>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 name="Google Shape;1724;p51">
              <a:extLst>
                <a:ext uri="{FF2B5EF4-FFF2-40B4-BE49-F238E27FC236}">
                  <a16:creationId xmlns:a16="http://schemas.microsoft.com/office/drawing/2014/main" id="{BFAA85BA-5042-EF72-3537-0E6A4D766355}"/>
                </a:ext>
              </a:extLst>
            </p:cNvPr>
            <p:cNvSpPr/>
            <p:nvPr/>
          </p:nvSpPr>
          <p:spPr>
            <a:xfrm>
              <a:off x="1830050" y="4575550"/>
              <a:ext cx="40075" cy="19325"/>
            </a:xfrm>
            <a:custGeom>
              <a:avLst/>
              <a:gdLst/>
              <a:ahLst/>
              <a:cxnLst/>
              <a:rect l="l" t="t" r="r" b="b"/>
              <a:pathLst>
                <a:path w="1603" h="773" extrusionOk="0">
                  <a:moveTo>
                    <a:pt x="1259" y="142"/>
                  </a:moveTo>
                  <a:cubicBezTo>
                    <a:pt x="1302" y="142"/>
                    <a:pt x="1339" y="148"/>
                    <a:pt x="1369" y="163"/>
                  </a:cubicBezTo>
                  <a:cubicBezTo>
                    <a:pt x="1402" y="163"/>
                    <a:pt x="1435" y="197"/>
                    <a:pt x="1435" y="263"/>
                  </a:cubicBezTo>
                  <a:cubicBezTo>
                    <a:pt x="1469" y="330"/>
                    <a:pt x="1469" y="430"/>
                    <a:pt x="1402" y="530"/>
                  </a:cubicBezTo>
                  <a:cubicBezTo>
                    <a:pt x="1330" y="602"/>
                    <a:pt x="1173" y="635"/>
                    <a:pt x="960" y="635"/>
                  </a:cubicBezTo>
                  <a:cubicBezTo>
                    <a:pt x="775" y="635"/>
                    <a:pt x="549" y="610"/>
                    <a:pt x="301" y="563"/>
                  </a:cubicBezTo>
                  <a:cubicBezTo>
                    <a:pt x="585" y="365"/>
                    <a:pt x="1014" y="142"/>
                    <a:pt x="1259" y="142"/>
                  </a:cubicBezTo>
                  <a:close/>
                  <a:moveTo>
                    <a:pt x="1249" y="1"/>
                  </a:moveTo>
                  <a:cubicBezTo>
                    <a:pt x="836" y="1"/>
                    <a:pt x="156" y="472"/>
                    <a:pt x="68" y="530"/>
                  </a:cubicBezTo>
                  <a:cubicBezTo>
                    <a:pt x="1" y="563"/>
                    <a:pt x="1" y="664"/>
                    <a:pt x="68" y="664"/>
                  </a:cubicBezTo>
                  <a:cubicBezTo>
                    <a:pt x="368" y="730"/>
                    <a:pt x="635" y="764"/>
                    <a:pt x="902" y="764"/>
                  </a:cubicBezTo>
                  <a:cubicBezTo>
                    <a:pt x="937" y="770"/>
                    <a:pt x="974" y="772"/>
                    <a:pt x="1011" y="772"/>
                  </a:cubicBezTo>
                  <a:cubicBezTo>
                    <a:pt x="1182" y="772"/>
                    <a:pt x="1365" y="713"/>
                    <a:pt x="1502" y="630"/>
                  </a:cubicBezTo>
                  <a:cubicBezTo>
                    <a:pt x="1569" y="497"/>
                    <a:pt x="1602" y="363"/>
                    <a:pt x="1569" y="230"/>
                  </a:cubicBezTo>
                  <a:cubicBezTo>
                    <a:pt x="1569" y="130"/>
                    <a:pt x="1502" y="63"/>
                    <a:pt x="1402" y="30"/>
                  </a:cubicBezTo>
                  <a:cubicBezTo>
                    <a:pt x="1358" y="10"/>
                    <a:pt x="1306" y="1"/>
                    <a:pt x="1249" y="1"/>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 name="Google Shape;1725;p51">
              <a:extLst>
                <a:ext uri="{FF2B5EF4-FFF2-40B4-BE49-F238E27FC236}">
                  <a16:creationId xmlns:a16="http://schemas.microsoft.com/office/drawing/2014/main" id="{EB35FF4E-A076-715B-BA75-9C8FAC022C3A}"/>
                </a:ext>
              </a:extLst>
            </p:cNvPr>
            <p:cNvSpPr/>
            <p:nvPr/>
          </p:nvSpPr>
          <p:spPr>
            <a:xfrm>
              <a:off x="1829225" y="4557100"/>
              <a:ext cx="24200" cy="35050"/>
            </a:xfrm>
            <a:custGeom>
              <a:avLst/>
              <a:gdLst/>
              <a:ahLst/>
              <a:cxnLst/>
              <a:rect l="l" t="t" r="r" b="b"/>
              <a:pathLst>
                <a:path w="968" h="1402" extrusionOk="0">
                  <a:moveTo>
                    <a:pt x="601" y="167"/>
                  </a:moveTo>
                  <a:cubicBezTo>
                    <a:pt x="701" y="167"/>
                    <a:pt x="734" y="234"/>
                    <a:pt x="734" y="267"/>
                  </a:cubicBezTo>
                  <a:cubicBezTo>
                    <a:pt x="768" y="468"/>
                    <a:pt x="468" y="968"/>
                    <a:pt x="201" y="1201"/>
                  </a:cubicBezTo>
                  <a:cubicBezTo>
                    <a:pt x="167" y="868"/>
                    <a:pt x="234" y="501"/>
                    <a:pt x="401" y="234"/>
                  </a:cubicBezTo>
                  <a:cubicBezTo>
                    <a:pt x="434" y="167"/>
                    <a:pt x="501" y="167"/>
                    <a:pt x="568" y="167"/>
                  </a:cubicBezTo>
                  <a:close/>
                  <a:moveTo>
                    <a:pt x="634" y="1"/>
                  </a:moveTo>
                  <a:cubicBezTo>
                    <a:pt x="501" y="1"/>
                    <a:pt x="401" y="34"/>
                    <a:pt x="334" y="101"/>
                  </a:cubicBezTo>
                  <a:cubicBezTo>
                    <a:pt x="1" y="401"/>
                    <a:pt x="101" y="1301"/>
                    <a:pt x="101" y="1335"/>
                  </a:cubicBezTo>
                  <a:cubicBezTo>
                    <a:pt x="67" y="1368"/>
                    <a:pt x="101" y="1402"/>
                    <a:pt x="101" y="1402"/>
                  </a:cubicBezTo>
                  <a:lnTo>
                    <a:pt x="201" y="1402"/>
                  </a:lnTo>
                  <a:cubicBezTo>
                    <a:pt x="501" y="1201"/>
                    <a:pt x="968" y="568"/>
                    <a:pt x="901" y="234"/>
                  </a:cubicBezTo>
                  <a:cubicBezTo>
                    <a:pt x="868" y="101"/>
                    <a:pt x="768" y="1"/>
                    <a:pt x="634" y="1"/>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 name="Google Shape;1726;p51">
              <a:extLst>
                <a:ext uri="{FF2B5EF4-FFF2-40B4-BE49-F238E27FC236}">
                  <a16:creationId xmlns:a16="http://schemas.microsoft.com/office/drawing/2014/main" id="{92C3FE5D-F806-0659-C858-4D9C546D68AB}"/>
                </a:ext>
              </a:extLst>
            </p:cNvPr>
            <p:cNvSpPr/>
            <p:nvPr/>
          </p:nvSpPr>
          <p:spPr>
            <a:xfrm>
              <a:off x="2000175" y="3005150"/>
              <a:ext cx="101775" cy="119600"/>
            </a:xfrm>
            <a:custGeom>
              <a:avLst/>
              <a:gdLst/>
              <a:ahLst/>
              <a:cxnLst/>
              <a:rect l="l" t="t" r="r" b="b"/>
              <a:pathLst>
                <a:path w="4071" h="4784" extrusionOk="0">
                  <a:moveTo>
                    <a:pt x="968" y="1"/>
                  </a:moveTo>
                  <a:lnTo>
                    <a:pt x="1" y="3403"/>
                  </a:lnTo>
                  <a:lnTo>
                    <a:pt x="1335" y="4771"/>
                  </a:lnTo>
                  <a:cubicBezTo>
                    <a:pt x="1375" y="4780"/>
                    <a:pt x="1417" y="4784"/>
                    <a:pt x="1459" y="4784"/>
                  </a:cubicBezTo>
                  <a:cubicBezTo>
                    <a:pt x="2526" y="4784"/>
                    <a:pt x="4070" y="2036"/>
                    <a:pt x="4070" y="2036"/>
                  </a:cubicBezTo>
                  <a:lnTo>
                    <a:pt x="968" y="1"/>
                  </a:lnTo>
                  <a:close/>
                </a:path>
              </a:pathLst>
            </a:custGeom>
            <a:solidFill>
              <a:srgbClr val="7F3E3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 name="Google Shape;1727;p51">
              <a:extLst>
                <a:ext uri="{FF2B5EF4-FFF2-40B4-BE49-F238E27FC236}">
                  <a16:creationId xmlns:a16="http://schemas.microsoft.com/office/drawing/2014/main" id="{F723CA7A-8DCC-2E07-D425-D4C37FFEEF21}"/>
                </a:ext>
              </a:extLst>
            </p:cNvPr>
            <p:cNvSpPr/>
            <p:nvPr/>
          </p:nvSpPr>
          <p:spPr>
            <a:xfrm>
              <a:off x="2024375" y="2970125"/>
              <a:ext cx="111775" cy="85925"/>
            </a:xfrm>
            <a:custGeom>
              <a:avLst/>
              <a:gdLst/>
              <a:ahLst/>
              <a:cxnLst/>
              <a:rect l="l" t="t" r="r" b="b"/>
              <a:pathLst>
                <a:path w="4471" h="3437" extrusionOk="0">
                  <a:moveTo>
                    <a:pt x="2869" y="1"/>
                  </a:moveTo>
                  <a:lnTo>
                    <a:pt x="0" y="1402"/>
                  </a:lnTo>
                  <a:lnTo>
                    <a:pt x="3102" y="3437"/>
                  </a:lnTo>
                  <a:lnTo>
                    <a:pt x="4470" y="1869"/>
                  </a:lnTo>
                  <a:lnTo>
                    <a:pt x="2869" y="1"/>
                  </a:lnTo>
                  <a:close/>
                </a:path>
              </a:pathLst>
            </a:custGeom>
            <a:solidFill>
              <a:srgbClr val="7F3E3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 name="Google Shape;1728;p51">
              <a:extLst>
                <a:ext uri="{FF2B5EF4-FFF2-40B4-BE49-F238E27FC236}">
                  <a16:creationId xmlns:a16="http://schemas.microsoft.com/office/drawing/2014/main" id="{F8968CC0-2A62-79A3-B34C-BF81C350A037}"/>
                </a:ext>
              </a:extLst>
            </p:cNvPr>
            <p:cNvSpPr/>
            <p:nvPr/>
          </p:nvSpPr>
          <p:spPr>
            <a:xfrm>
              <a:off x="1277175" y="2751650"/>
              <a:ext cx="532075" cy="692175"/>
            </a:xfrm>
            <a:custGeom>
              <a:avLst/>
              <a:gdLst/>
              <a:ahLst/>
              <a:cxnLst/>
              <a:rect l="l" t="t" r="r" b="b"/>
              <a:pathLst>
                <a:path w="21283" h="27687" extrusionOk="0">
                  <a:moveTo>
                    <a:pt x="9007" y="0"/>
                  </a:moveTo>
                  <a:cubicBezTo>
                    <a:pt x="7839" y="0"/>
                    <a:pt x="6672" y="34"/>
                    <a:pt x="5504" y="100"/>
                  </a:cubicBezTo>
                  <a:cubicBezTo>
                    <a:pt x="4270" y="167"/>
                    <a:pt x="3036" y="334"/>
                    <a:pt x="2035" y="467"/>
                  </a:cubicBezTo>
                  <a:cubicBezTo>
                    <a:pt x="834" y="634"/>
                    <a:pt x="0" y="801"/>
                    <a:pt x="0" y="801"/>
                  </a:cubicBezTo>
                  <a:cubicBezTo>
                    <a:pt x="67" y="1134"/>
                    <a:pt x="134" y="1468"/>
                    <a:pt x="200" y="1801"/>
                  </a:cubicBezTo>
                  <a:cubicBezTo>
                    <a:pt x="1134" y="6238"/>
                    <a:pt x="1701" y="10741"/>
                    <a:pt x="1868" y="15278"/>
                  </a:cubicBezTo>
                  <a:cubicBezTo>
                    <a:pt x="2102" y="21416"/>
                    <a:pt x="1768" y="26219"/>
                    <a:pt x="1902" y="27687"/>
                  </a:cubicBezTo>
                  <a:lnTo>
                    <a:pt x="18413" y="27687"/>
                  </a:lnTo>
                  <a:cubicBezTo>
                    <a:pt x="21282" y="10308"/>
                    <a:pt x="17212" y="968"/>
                    <a:pt x="17212" y="968"/>
                  </a:cubicBezTo>
                  <a:cubicBezTo>
                    <a:pt x="17212" y="968"/>
                    <a:pt x="16579" y="767"/>
                    <a:pt x="15511" y="567"/>
                  </a:cubicBezTo>
                  <a:cubicBezTo>
                    <a:pt x="14644" y="400"/>
                    <a:pt x="13610" y="200"/>
                    <a:pt x="12509" y="100"/>
                  </a:cubicBezTo>
                  <a:cubicBezTo>
                    <a:pt x="11342" y="34"/>
                    <a:pt x="10174" y="0"/>
                    <a:pt x="9007"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 name="Google Shape;1729;p51">
              <a:extLst>
                <a:ext uri="{FF2B5EF4-FFF2-40B4-BE49-F238E27FC236}">
                  <a16:creationId xmlns:a16="http://schemas.microsoft.com/office/drawing/2014/main" id="{4EC7648F-BC88-EB74-8382-D7D5C8F8EE39}"/>
                </a:ext>
              </a:extLst>
            </p:cNvPr>
            <p:cNvSpPr/>
            <p:nvPr/>
          </p:nvSpPr>
          <p:spPr>
            <a:xfrm>
              <a:off x="1282175" y="2796000"/>
              <a:ext cx="91750" cy="337600"/>
            </a:xfrm>
            <a:custGeom>
              <a:avLst/>
              <a:gdLst/>
              <a:ahLst/>
              <a:cxnLst/>
              <a:rect l="l" t="t" r="r" b="b"/>
              <a:pathLst>
                <a:path w="3670" h="13504" extrusionOk="0">
                  <a:moveTo>
                    <a:pt x="581" y="1"/>
                  </a:moveTo>
                  <a:cubicBezTo>
                    <a:pt x="375" y="1"/>
                    <a:pt x="179" y="12"/>
                    <a:pt x="0" y="27"/>
                  </a:cubicBezTo>
                  <a:cubicBezTo>
                    <a:pt x="934" y="4464"/>
                    <a:pt x="1501" y="9001"/>
                    <a:pt x="1668" y="13504"/>
                  </a:cubicBezTo>
                  <a:cubicBezTo>
                    <a:pt x="3236" y="8267"/>
                    <a:pt x="3670" y="3763"/>
                    <a:pt x="3336" y="1829"/>
                  </a:cubicBezTo>
                  <a:cubicBezTo>
                    <a:pt x="3055" y="311"/>
                    <a:pt x="1684" y="1"/>
                    <a:pt x="581" y="1"/>
                  </a:cubicBez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 name="Google Shape;1730;p51">
              <a:extLst>
                <a:ext uri="{FF2B5EF4-FFF2-40B4-BE49-F238E27FC236}">
                  <a16:creationId xmlns:a16="http://schemas.microsoft.com/office/drawing/2014/main" id="{5114E77D-6182-E182-853A-00855D42F2E7}"/>
                </a:ext>
              </a:extLst>
            </p:cNvPr>
            <p:cNvSpPr/>
            <p:nvPr/>
          </p:nvSpPr>
          <p:spPr>
            <a:xfrm>
              <a:off x="1163750" y="2831700"/>
              <a:ext cx="359450" cy="456175"/>
            </a:xfrm>
            <a:custGeom>
              <a:avLst/>
              <a:gdLst/>
              <a:ahLst/>
              <a:cxnLst/>
              <a:rect l="l" t="t" r="r" b="b"/>
              <a:pathLst>
                <a:path w="14378" h="18247" extrusionOk="0">
                  <a:moveTo>
                    <a:pt x="3158" y="14096"/>
                  </a:moveTo>
                  <a:cubicBezTo>
                    <a:pt x="3181" y="14096"/>
                    <a:pt x="3209" y="14098"/>
                    <a:pt x="3241" y="14104"/>
                  </a:cubicBezTo>
                  <a:lnTo>
                    <a:pt x="3241" y="14104"/>
                  </a:lnTo>
                  <a:cubicBezTo>
                    <a:pt x="3228" y="14106"/>
                    <a:pt x="3216" y="14108"/>
                    <a:pt x="3203" y="14111"/>
                  </a:cubicBezTo>
                  <a:lnTo>
                    <a:pt x="3069" y="14111"/>
                  </a:lnTo>
                  <a:cubicBezTo>
                    <a:pt x="3069" y="14111"/>
                    <a:pt x="3099" y="14096"/>
                    <a:pt x="3158" y="14096"/>
                  </a:cubicBezTo>
                  <a:close/>
                  <a:moveTo>
                    <a:pt x="3370" y="0"/>
                  </a:moveTo>
                  <a:cubicBezTo>
                    <a:pt x="2903" y="1168"/>
                    <a:pt x="2536" y="2302"/>
                    <a:pt x="2169" y="3470"/>
                  </a:cubicBezTo>
                  <a:cubicBezTo>
                    <a:pt x="1769" y="4604"/>
                    <a:pt x="1468" y="5805"/>
                    <a:pt x="1168" y="6972"/>
                  </a:cubicBezTo>
                  <a:cubicBezTo>
                    <a:pt x="868" y="8173"/>
                    <a:pt x="601" y="9374"/>
                    <a:pt x="401" y="10608"/>
                  </a:cubicBezTo>
                  <a:cubicBezTo>
                    <a:pt x="167" y="11876"/>
                    <a:pt x="34" y="13143"/>
                    <a:pt x="34" y="14444"/>
                  </a:cubicBezTo>
                  <a:lnTo>
                    <a:pt x="34" y="15178"/>
                  </a:lnTo>
                  <a:cubicBezTo>
                    <a:pt x="1" y="15311"/>
                    <a:pt x="1" y="15445"/>
                    <a:pt x="34" y="15545"/>
                  </a:cubicBezTo>
                  <a:cubicBezTo>
                    <a:pt x="34" y="16079"/>
                    <a:pt x="201" y="16612"/>
                    <a:pt x="534" y="17079"/>
                  </a:cubicBezTo>
                  <a:cubicBezTo>
                    <a:pt x="868" y="17546"/>
                    <a:pt x="1368" y="17913"/>
                    <a:pt x="1935" y="18080"/>
                  </a:cubicBezTo>
                  <a:cubicBezTo>
                    <a:pt x="2269" y="18180"/>
                    <a:pt x="2636" y="18247"/>
                    <a:pt x="3003" y="18247"/>
                  </a:cubicBezTo>
                  <a:cubicBezTo>
                    <a:pt x="3270" y="18214"/>
                    <a:pt x="3503" y="18214"/>
                    <a:pt x="3770" y="18147"/>
                  </a:cubicBezTo>
                  <a:cubicBezTo>
                    <a:pt x="4137" y="18080"/>
                    <a:pt x="4537" y="17980"/>
                    <a:pt x="4904" y="17847"/>
                  </a:cubicBezTo>
                  <a:cubicBezTo>
                    <a:pt x="6138" y="17380"/>
                    <a:pt x="7306" y="16813"/>
                    <a:pt x="8407" y="16145"/>
                  </a:cubicBezTo>
                  <a:cubicBezTo>
                    <a:pt x="10475" y="14878"/>
                    <a:pt x="12476" y="13477"/>
                    <a:pt x="14378" y="11909"/>
                  </a:cubicBezTo>
                  <a:lnTo>
                    <a:pt x="13077" y="9974"/>
                  </a:lnTo>
                  <a:cubicBezTo>
                    <a:pt x="11008" y="11008"/>
                    <a:pt x="8874" y="12042"/>
                    <a:pt x="6805" y="12943"/>
                  </a:cubicBezTo>
                  <a:cubicBezTo>
                    <a:pt x="6022" y="13294"/>
                    <a:pt x="5195" y="13580"/>
                    <a:pt x="4378" y="13835"/>
                  </a:cubicBezTo>
                  <a:lnTo>
                    <a:pt x="4378" y="13835"/>
                  </a:lnTo>
                  <a:cubicBezTo>
                    <a:pt x="4655" y="11918"/>
                    <a:pt x="5082" y="10045"/>
                    <a:pt x="5638" y="8173"/>
                  </a:cubicBezTo>
                  <a:cubicBezTo>
                    <a:pt x="5938" y="7106"/>
                    <a:pt x="6272" y="6005"/>
                    <a:pt x="6639" y="4904"/>
                  </a:cubicBezTo>
                  <a:cubicBezTo>
                    <a:pt x="6972" y="3837"/>
                    <a:pt x="7373" y="2736"/>
                    <a:pt x="7739" y="1702"/>
                  </a:cubicBezTo>
                  <a:lnTo>
                    <a:pt x="3370" y="0"/>
                  </a:lnTo>
                  <a:close/>
                </a:path>
              </a:pathLst>
            </a:custGeom>
            <a:solidFill>
              <a:srgbClr val="803E3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 name="Google Shape;1731;p51">
              <a:extLst>
                <a:ext uri="{FF2B5EF4-FFF2-40B4-BE49-F238E27FC236}">
                  <a16:creationId xmlns:a16="http://schemas.microsoft.com/office/drawing/2014/main" id="{C4C708E2-5238-CA55-171E-C8FDE18E643D}"/>
                </a:ext>
              </a:extLst>
            </p:cNvPr>
            <p:cNvSpPr/>
            <p:nvPr/>
          </p:nvSpPr>
          <p:spPr>
            <a:xfrm>
              <a:off x="1155425" y="2766650"/>
              <a:ext cx="242175" cy="336100"/>
            </a:xfrm>
            <a:custGeom>
              <a:avLst/>
              <a:gdLst/>
              <a:ahLst/>
              <a:cxnLst/>
              <a:rect l="l" t="t" r="r" b="b"/>
              <a:pathLst>
                <a:path w="9687" h="13444" extrusionOk="0">
                  <a:moveTo>
                    <a:pt x="6103" y="0"/>
                  </a:moveTo>
                  <a:cubicBezTo>
                    <a:pt x="5718" y="0"/>
                    <a:pt x="5305" y="65"/>
                    <a:pt x="4870" y="201"/>
                  </a:cubicBezTo>
                  <a:cubicBezTo>
                    <a:pt x="1768" y="1201"/>
                    <a:pt x="600" y="6472"/>
                    <a:pt x="0" y="10575"/>
                  </a:cubicBezTo>
                  <a:lnTo>
                    <a:pt x="6104" y="13444"/>
                  </a:lnTo>
                  <a:cubicBezTo>
                    <a:pt x="7439" y="11075"/>
                    <a:pt x="8373" y="8507"/>
                    <a:pt x="8973" y="5838"/>
                  </a:cubicBezTo>
                  <a:cubicBezTo>
                    <a:pt x="9686" y="2273"/>
                    <a:pt x="8375" y="0"/>
                    <a:pt x="6103"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 name="Google Shape;1732;p51">
              <a:extLst>
                <a:ext uri="{FF2B5EF4-FFF2-40B4-BE49-F238E27FC236}">
                  <a16:creationId xmlns:a16="http://schemas.microsoft.com/office/drawing/2014/main" id="{54E592B8-1ED9-37FC-92BE-014B9033181A}"/>
                </a:ext>
              </a:extLst>
            </p:cNvPr>
            <p:cNvSpPr/>
            <p:nvPr/>
          </p:nvSpPr>
          <p:spPr>
            <a:xfrm>
              <a:off x="1408100" y="2558175"/>
              <a:ext cx="224350" cy="244400"/>
            </a:xfrm>
            <a:custGeom>
              <a:avLst/>
              <a:gdLst/>
              <a:ahLst/>
              <a:cxnLst/>
              <a:rect l="l" t="t" r="r" b="b"/>
              <a:pathLst>
                <a:path w="8974" h="9776" extrusionOk="0">
                  <a:moveTo>
                    <a:pt x="401" y="0"/>
                  </a:moveTo>
                  <a:lnTo>
                    <a:pt x="401" y="0"/>
                  </a:lnTo>
                  <a:cubicBezTo>
                    <a:pt x="934" y="2235"/>
                    <a:pt x="1501" y="6372"/>
                    <a:pt x="0" y="7873"/>
                  </a:cubicBezTo>
                  <a:cubicBezTo>
                    <a:pt x="0" y="7873"/>
                    <a:pt x="903" y="9776"/>
                    <a:pt x="4739" y="9776"/>
                  </a:cubicBezTo>
                  <a:cubicBezTo>
                    <a:pt x="4805" y="9776"/>
                    <a:pt x="4870" y="9775"/>
                    <a:pt x="4937" y="9774"/>
                  </a:cubicBezTo>
                  <a:cubicBezTo>
                    <a:pt x="8973" y="9707"/>
                    <a:pt x="6939" y="7839"/>
                    <a:pt x="6939" y="7839"/>
                  </a:cubicBezTo>
                  <a:cubicBezTo>
                    <a:pt x="4904" y="7372"/>
                    <a:pt x="4537" y="6105"/>
                    <a:pt x="4704" y="4704"/>
                  </a:cubicBezTo>
                  <a:cubicBezTo>
                    <a:pt x="4704" y="4370"/>
                    <a:pt x="4770" y="4003"/>
                    <a:pt x="4837" y="3670"/>
                  </a:cubicBezTo>
                  <a:lnTo>
                    <a:pt x="2302" y="1535"/>
                  </a:lnTo>
                  <a:lnTo>
                    <a:pt x="401" y="0"/>
                  </a:lnTo>
                  <a:close/>
                </a:path>
              </a:pathLst>
            </a:custGeom>
            <a:solidFill>
              <a:srgbClr val="7F3E3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 name="Google Shape;1733;p51">
              <a:extLst>
                <a:ext uri="{FF2B5EF4-FFF2-40B4-BE49-F238E27FC236}">
                  <a16:creationId xmlns:a16="http://schemas.microsoft.com/office/drawing/2014/main" id="{E8C2B06D-19D4-5457-3C10-317219D4C877}"/>
                </a:ext>
              </a:extLst>
            </p:cNvPr>
            <p:cNvSpPr/>
            <p:nvPr/>
          </p:nvSpPr>
          <p:spPr>
            <a:xfrm>
              <a:off x="1464800" y="2596525"/>
              <a:ext cx="64250" cy="79250"/>
            </a:xfrm>
            <a:custGeom>
              <a:avLst/>
              <a:gdLst/>
              <a:ahLst/>
              <a:cxnLst/>
              <a:rect l="l" t="t" r="r" b="b"/>
              <a:pathLst>
                <a:path w="2570" h="3170" extrusionOk="0">
                  <a:moveTo>
                    <a:pt x="1" y="1"/>
                  </a:moveTo>
                  <a:cubicBezTo>
                    <a:pt x="1" y="334"/>
                    <a:pt x="1" y="635"/>
                    <a:pt x="34" y="968"/>
                  </a:cubicBezTo>
                  <a:cubicBezTo>
                    <a:pt x="167" y="1935"/>
                    <a:pt x="1468" y="2970"/>
                    <a:pt x="2402" y="3170"/>
                  </a:cubicBezTo>
                  <a:cubicBezTo>
                    <a:pt x="2436" y="2803"/>
                    <a:pt x="2502" y="2469"/>
                    <a:pt x="2569" y="2136"/>
                  </a:cubicBezTo>
                  <a:lnTo>
                    <a:pt x="1" y="1"/>
                  </a:ln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 name="Google Shape;1734;p51">
              <a:extLst>
                <a:ext uri="{FF2B5EF4-FFF2-40B4-BE49-F238E27FC236}">
                  <a16:creationId xmlns:a16="http://schemas.microsoft.com/office/drawing/2014/main" id="{4DD02D4B-0F25-09B5-926D-6F02B34CDED1}"/>
                </a:ext>
              </a:extLst>
            </p:cNvPr>
            <p:cNvSpPr/>
            <p:nvPr/>
          </p:nvSpPr>
          <p:spPr>
            <a:xfrm>
              <a:off x="1505175" y="2365200"/>
              <a:ext cx="117275" cy="147925"/>
            </a:xfrm>
            <a:custGeom>
              <a:avLst/>
              <a:gdLst/>
              <a:ahLst/>
              <a:cxnLst/>
              <a:rect l="l" t="t" r="r" b="b"/>
              <a:pathLst>
                <a:path w="4691" h="5917" extrusionOk="0">
                  <a:moveTo>
                    <a:pt x="1880" y="1"/>
                  </a:moveTo>
                  <a:cubicBezTo>
                    <a:pt x="919" y="1"/>
                    <a:pt x="29" y="769"/>
                    <a:pt x="53" y="1848"/>
                  </a:cubicBezTo>
                  <a:cubicBezTo>
                    <a:pt x="1" y="3485"/>
                    <a:pt x="1954" y="5916"/>
                    <a:pt x="3184" y="5916"/>
                  </a:cubicBezTo>
                  <a:cubicBezTo>
                    <a:pt x="3508" y="5916"/>
                    <a:pt x="3782" y="5747"/>
                    <a:pt x="3956" y="5351"/>
                  </a:cubicBezTo>
                  <a:cubicBezTo>
                    <a:pt x="4690" y="3683"/>
                    <a:pt x="4223" y="1281"/>
                    <a:pt x="2989" y="381"/>
                  </a:cubicBezTo>
                  <a:cubicBezTo>
                    <a:pt x="2642" y="118"/>
                    <a:pt x="2255" y="1"/>
                    <a:pt x="1880"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 name="Google Shape;1735;p51">
              <a:extLst>
                <a:ext uri="{FF2B5EF4-FFF2-40B4-BE49-F238E27FC236}">
                  <a16:creationId xmlns:a16="http://schemas.microsoft.com/office/drawing/2014/main" id="{D27CECE7-1B66-E910-2FC0-E15483F3D040}"/>
                </a:ext>
              </a:extLst>
            </p:cNvPr>
            <p:cNvSpPr/>
            <p:nvPr/>
          </p:nvSpPr>
          <p:spPr>
            <a:xfrm>
              <a:off x="1383700" y="2351375"/>
              <a:ext cx="249575" cy="300250"/>
            </a:xfrm>
            <a:custGeom>
              <a:avLst/>
              <a:gdLst/>
              <a:ahLst/>
              <a:cxnLst/>
              <a:rect l="l" t="t" r="r" b="b"/>
              <a:pathLst>
                <a:path w="9983" h="12010" extrusionOk="0">
                  <a:moveTo>
                    <a:pt x="4557" y="1"/>
                  </a:moveTo>
                  <a:cubicBezTo>
                    <a:pt x="2040" y="1"/>
                    <a:pt x="0" y="2363"/>
                    <a:pt x="609" y="5003"/>
                  </a:cubicBezTo>
                  <a:cubicBezTo>
                    <a:pt x="1276" y="8005"/>
                    <a:pt x="1510" y="9773"/>
                    <a:pt x="3278" y="11141"/>
                  </a:cubicBezTo>
                  <a:cubicBezTo>
                    <a:pt x="4035" y="11739"/>
                    <a:pt x="4896" y="12009"/>
                    <a:pt x="5738" y="12009"/>
                  </a:cubicBezTo>
                  <a:cubicBezTo>
                    <a:pt x="7715" y="12009"/>
                    <a:pt x="9585" y="10518"/>
                    <a:pt x="9749" y="8272"/>
                  </a:cubicBezTo>
                  <a:cubicBezTo>
                    <a:pt x="9983" y="5470"/>
                    <a:pt x="8882" y="1034"/>
                    <a:pt x="5713" y="167"/>
                  </a:cubicBezTo>
                  <a:cubicBezTo>
                    <a:pt x="5322" y="54"/>
                    <a:pt x="4934" y="1"/>
                    <a:pt x="4557" y="1"/>
                  </a:cubicBezTo>
                  <a:close/>
                </a:path>
              </a:pathLst>
            </a:custGeom>
            <a:solidFill>
              <a:srgbClr val="7F3E3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 name="Google Shape;1736;p51">
              <a:extLst>
                <a:ext uri="{FF2B5EF4-FFF2-40B4-BE49-F238E27FC236}">
                  <a16:creationId xmlns:a16="http://schemas.microsoft.com/office/drawing/2014/main" id="{26EE5620-F5BA-5B9B-2C58-088BC4445447}"/>
                </a:ext>
              </a:extLst>
            </p:cNvPr>
            <p:cNvSpPr/>
            <p:nvPr/>
          </p:nvSpPr>
          <p:spPr>
            <a:xfrm>
              <a:off x="1338750" y="2394800"/>
              <a:ext cx="116075" cy="151675"/>
            </a:xfrm>
            <a:custGeom>
              <a:avLst/>
              <a:gdLst/>
              <a:ahLst/>
              <a:cxnLst/>
              <a:rect l="l" t="t" r="r" b="b"/>
              <a:pathLst>
                <a:path w="4643" h="6067" extrusionOk="0">
                  <a:moveTo>
                    <a:pt x="2087" y="1"/>
                  </a:moveTo>
                  <a:cubicBezTo>
                    <a:pt x="1216" y="1"/>
                    <a:pt x="382" y="621"/>
                    <a:pt x="272" y="1632"/>
                  </a:cubicBezTo>
                  <a:cubicBezTo>
                    <a:pt x="0" y="3293"/>
                    <a:pt x="1729" y="6066"/>
                    <a:pt x="2954" y="6066"/>
                  </a:cubicBezTo>
                  <a:cubicBezTo>
                    <a:pt x="3229" y="6066"/>
                    <a:pt x="3479" y="5926"/>
                    <a:pt x="3675" y="5601"/>
                  </a:cubicBezTo>
                  <a:cubicBezTo>
                    <a:pt x="4642" y="4034"/>
                    <a:pt x="4475" y="1598"/>
                    <a:pt x="3375" y="531"/>
                  </a:cubicBezTo>
                  <a:cubicBezTo>
                    <a:pt x="2999" y="167"/>
                    <a:pt x="2538" y="1"/>
                    <a:pt x="2087"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 name="Google Shape;1737;p51">
              <a:extLst>
                <a:ext uri="{FF2B5EF4-FFF2-40B4-BE49-F238E27FC236}">
                  <a16:creationId xmlns:a16="http://schemas.microsoft.com/office/drawing/2014/main" id="{F68C2BDA-CC3F-3B6A-9C02-F9AAE314F0D0}"/>
                </a:ext>
              </a:extLst>
            </p:cNvPr>
            <p:cNvSpPr/>
            <p:nvPr/>
          </p:nvSpPr>
          <p:spPr>
            <a:xfrm>
              <a:off x="1386400" y="2375600"/>
              <a:ext cx="80100" cy="69950"/>
            </a:xfrm>
            <a:custGeom>
              <a:avLst/>
              <a:gdLst/>
              <a:ahLst/>
              <a:cxnLst/>
              <a:rect l="l" t="t" r="r" b="b"/>
              <a:pathLst>
                <a:path w="3204" h="2798" extrusionOk="0">
                  <a:moveTo>
                    <a:pt x="1612" y="0"/>
                  </a:moveTo>
                  <a:cubicBezTo>
                    <a:pt x="1393" y="0"/>
                    <a:pt x="1171" y="53"/>
                    <a:pt x="968" y="165"/>
                  </a:cubicBezTo>
                  <a:cubicBezTo>
                    <a:pt x="268" y="532"/>
                    <a:pt x="1" y="1366"/>
                    <a:pt x="368" y="2033"/>
                  </a:cubicBezTo>
                  <a:cubicBezTo>
                    <a:pt x="623" y="2520"/>
                    <a:pt x="1105" y="2798"/>
                    <a:pt x="1610" y="2798"/>
                  </a:cubicBezTo>
                  <a:cubicBezTo>
                    <a:pt x="1831" y="2798"/>
                    <a:pt x="2056" y="2745"/>
                    <a:pt x="2269" y="2633"/>
                  </a:cubicBezTo>
                  <a:cubicBezTo>
                    <a:pt x="2936" y="2300"/>
                    <a:pt x="3203" y="1432"/>
                    <a:pt x="2836" y="765"/>
                  </a:cubicBezTo>
                  <a:cubicBezTo>
                    <a:pt x="2604" y="278"/>
                    <a:pt x="2114" y="0"/>
                    <a:pt x="1612"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 name="Google Shape;1738;p51">
              <a:extLst>
                <a:ext uri="{FF2B5EF4-FFF2-40B4-BE49-F238E27FC236}">
                  <a16:creationId xmlns:a16="http://schemas.microsoft.com/office/drawing/2014/main" id="{120385E3-89AB-A390-C136-12BC1ACA7090}"/>
                </a:ext>
              </a:extLst>
            </p:cNvPr>
            <p:cNvSpPr/>
            <p:nvPr/>
          </p:nvSpPr>
          <p:spPr>
            <a:xfrm>
              <a:off x="1361475" y="2356250"/>
              <a:ext cx="74175" cy="62175"/>
            </a:xfrm>
            <a:custGeom>
              <a:avLst/>
              <a:gdLst/>
              <a:ahLst/>
              <a:cxnLst/>
              <a:rect l="l" t="t" r="r" b="b"/>
              <a:pathLst>
                <a:path w="2967" h="2487" extrusionOk="0">
                  <a:moveTo>
                    <a:pt x="1551" y="1"/>
                  </a:moveTo>
                  <a:cubicBezTo>
                    <a:pt x="669" y="1"/>
                    <a:pt x="1" y="966"/>
                    <a:pt x="464" y="1806"/>
                  </a:cubicBezTo>
                  <a:cubicBezTo>
                    <a:pt x="694" y="2266"/>
                    <a:pt x="1129" y="2487"/>
                    <a:pt x="1564" y="2487"/>
                  </a:cubicBezTo>
                  <a:cubicBezTo>
                    <a:pt x="2075" y="2487"/>
                    <a:pt x="2586" y="2183"/>
                    <a:pt x="2766" y="1606"/>
                  </a:cubicBezTo>
                  <a:cubicBezTo>
                    <a:pt x="2966" y="972"/>
                    <a:pt x="2599" y="272"/>
                    <a:pt x="1965" y="72"/>
                  </a:cubicBezTo>
                  <a:cubicBezTo>
                    <a:pt x="1825" y="23"/>
                    <a:pt x="1685" y="1"/>
                    <a:pt x="1551"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 name="Google Shape;1739;p51">
              <a:extLst>
                <a:ext uri="{FF2B5EF4-FFF2-40B4-BE49-F238E27FC236}">
                  <a16:creationId xmlns:a16="http://schemas.microsoft.com/office/drawing/2014/main" id="{5F765A1A-9925-DE2C-E140-C4A47BFBADA7}"/>
                </a:ext>
              </a:extLst>
            </p:cNvPr>
            <p:cNvSpPr/>
            <p:nvPr/>
          </p:nvSpPr>
          <p:spPr>
            <a:xfrm>
              <a:off x="1414025" y="2350425"/>
              <a:ext cx="74150" cy="62375"/>
            </a:xfrm>
            <a:custGeom>
              <a:avLst/>
              <a:gdLst/>
              <a:ahLst/>
              <a:cxnLst/>
              <a:rect l="l" t="t" r="r" b="b"/>
              <a:pathLst>
                <a:path w="2966" h="2495" extrusionOk="0">
                  <a:moveTo>
                    <a:pt x="1520" y="0"/>
                  </a:moveTo>
                  <a:cubicBezTo>
                    <a:pt x="644" y="0"/>
                    <a:pt x="0" y="970"/>
                    <a:pt x="464" y="1839"/>
                  </a:cubicBezTo>
                  <a:cubicBezTo>
                    <a:pt x="693" y="2283"/>
                    <a:pt x="1126" y="2495"/>
                    <a:pt x="1560" y="2495"/>
                  </a:cubicBezTo>
                  <a:cubicBezTo>
                    <a:pt x="2072" y="2495"/>
                    <a:pt x="2585" y="2199"/>
                    <a:pt x="2765" y="1639"/>
                  </a:cubicBezTo>
                  <a:cubicBezTo>
                    <a:pt x="2966" y="972"/>
                    <a:pt x="2599" y="271"/>
                    <a:pt x="1931" y="71"/>
                  </a:cubicBezTo>
                  <a:cubicBezTo>
                    <a:pt x="1791" y="23"/>
                    <a:pt x="1653" y="0"/>
                    <a:pt x="1520"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 name="Google Shape;1740;p51">
              <a:extLst>
                <a:ext uri="{FF2B5EF4-FFF2-40B4-BE49-F238E27FC236}">
                  <a16:creationId xmlns:a16="http://schemas.microsoft.com/office/drawing/2014/main" id="{D94762FF-E693-0792-5918-2E6F5209E3B2}"/>
                </a:ext>
              </a:extLst>
            </p:cNvPr>
            <p:cNvSpPr/>
            <p:nvPr/>
          </p:nvSpPr>
          <p:spPr>
            <a:xfrm>
              <a:off x="1330950" y="2303525"/>
              <a:ext cx="97175" cy="81700"/>
            </a:xfrm>
            <a:custGeom>
              <a:avLst/>
              <a:gdLst/>
              <a:ahLst/>
              <a:cxnLst/>
              <a:rect l="l" t="t" r="r" b="b"/>
              <a:pathLst>
                <a:path w="3887" h="3268" extrusionOk="0">
                  <a:moveTo>
                    <a:pt x="2019" y="0"/>
                  </a:moveTo>
                  <a:cubicBezTo>
                    <a:pt x="874" y="0"/>
                    <a:pt x="0" y="1242"/>
                    <a:pt x="584" y="2381"/>
                  </a:cubicBezTo>
                  <a:cubicBezTo>
                    <a:pt x="891" y="2979"/>
                    <a:pt x="1459" y="3267"/>
                    <a:pt x="2026" y="3267"/>
                  </a:cubicBezTo>
                  <a:cubicBezTo>
                    <a:pt x="2690" y="3267"/>
                    <a:pt x="3352" y="2870"/>
                    <a:pt x="3587" y="2114"/>
                  </a:cubicBezTo>
                  <a:cubicBezTo>
                    <a:pt x="3887" y="1280"/>
                    <a:pt x="3386" y="346"/>
                    <a:pt x="2519" y="79"/>
                  </a:cubicBezTo>
                  <a:cubicBezTo>
                    <a:pt x="2349" y="25"/>
                    <a:pt x="2181" y="0"/>
                    <a:pt x="2019"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 name="Google Shape;1741;p51">
              <a:extLst>
                <a:ext uri="{FF2B5EF4-FFF2-40B4-BE49-F238E27FC236}">
                  <a16:creationId xmlns:a16="http://schemas.microsoft.com/office/drawing/2014/main" id="{AFF0922B-45BC-7B5E-E4F9-D741177EDA3C}"/>
                </a:ext>
              </a:extLst>
            </p:cNvPr>
            <p:cNvSpPr/>
            <p:nvPr/>
          </p:nvSpPr>
          <p:spPr>
            <a:xfrm>
              <a:off x="1390225" y="2281025"/>
              <a:ext cx="98775" cy="83350"/>
            </a:xfrm>
            <a:custGeom>
              <a:avLst/>
              <a:gdLst/>
              <a:ahLst/>
              <a:cxnLst/>
              <a:rect l="l" t="t" r="r" b="b"/>
              <a:pathLst>
                <a:path w="3951" h="3334" extrusionOk="0">
                  <a:moveTo>
                    <a:pt x="2080" y="1"/>
                  </a:moveTo>
                  <a:cubicBezTo>
                    <a:pt x="902" y="1"/>
                    <a:pt x="0" y="1275"/>
                    <a:pt x="615" y="2447"/>
                  </a:cubicBezTo>
                  <a:cubicBezTo>
                    <a:pt x="937" y="3045"/>
                    <a:pt x="1521" y="3333"/>
                    <a:pt x="2099" y="3333"/>
                  </a:cubicBezTo>
                  <a:cubicBezTo>
                    <a:pt x="2778" y="3333"/>
                    <a:pt x="3450" y="2936"/>
                    <a:pt x="3684" y="2180"/>
                  </a:cubicBezTo>
                  <a:cubicBezTo>
                    <a:pt x="3951" y="1279"/>
                    <a:pt x="3484" y="345"/>
                    <a:pt x="2583" y="78"/>
                  </a:cubicBezTo>
                  <a:cubicBezTo>
                    <a:pt x="2412" y="26"/>
                    <a:pt x="2243" y="1"/>
                    <a:pt x="2080"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 name="Google Shape;1742;p51">
              <a:extLst>
                <a:ext uri="{FF2B5EF4-FFF2-40B4-BE49-F238E27FC236}">
                  <a16:creationId xmlns:a16="http://schemas.microsoft.com/office/drawing/2014/main" id="{D2C23D8A-56D6-E02A-7D0B-DEA7F874676D}"/>
                </a:ext>
              </a:extLst>
            </p:cNvPr>
            <p:cNvSpPr/>
            <p:nvPr/>
          </p:nvSpPr>
          <p:spPr>
            <a:xfrm>
              <a:off x="1444525" y="2266625"/>
              <a:ext cx="98700" cy="83475"/>
            </a:xfrm>
            <a:custGeom>
              <a:avLst/>
              <a:gdLst/>
              <a:ahLst/>
              <a:cxnLst/>
              <a:rect l="l" t="t" r="r" b="b"/>
              <a:pathLst>
                <a:path w="3948" h="3339" extrusionOk="0">
                  <a:moveTo>
                    <a:pt x="2054" y="0"/>
                  </a:moveTo>
                  <a:cubicBezTo>
                    <a:pt x="887" y="0"/>
                    <a:pt x="0" y="1292"/>
                    <a:pt x="611" y="2456"/>
                  </a:cubicBezTo>
                  <a:cubicBezTo>
                    <a:pt x="932" y="3051"/>
                    <a:pt x="1511" y="3339"/>
                    <a:pt x="2086" y="3339"/>
                  </a:cubicBezTo>
                  <a:cubicBezTo>
                    <a:pt x="2768" y="3339"/>
                    <a:pt x="3445" y="2934"/>
                    <a:pt x="3680" y="2156"/>
                  </a:cubicBezTo>
                  <a:cubicBezTo>
                    <a:pt x="3947" y="1288"/>
                    <a:pt x="3480" y="354"/>
                    <a:pt x="2579" y="87"/>
                  </a:cubicBezTo>
                  <a:cubicBezTo>
                    <a:pt x="2401" y="28"/>
                    <a:pt x="2224" y="0"/>
                    <a:pt x="2054"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 name="Google Shape;1743;p51">
              <a:extLst>
                <a:ext uri="{FF2B5EF4-FFF2-40B4-BE49-F238E27FC236}">
                  <a16:creationId xmlns:a16="http://schemas.microsoft.com/office/drawing/2014/main" id="{7765E376-3C98-D24F-7959-7865BAB252C0}"/>
                </a:ext>
              </a:extLst>
            </p:cNvPr>
            <p:cNvSpPr/>
            <p:nvPr/>
          </p:nvSpPr>
          <p:spPr>
            <a:xfrm>
              <a:off x="1507775" y="2266050"/>
              <a:ext cx="98825" cy="83675"/>
            </a:xfrm>
            <a:custGeom>
              <a:avLst/>
              <a:gdLst/>
              <a:ahLst/>
              <a:cxnLst/>
              <a:rect l="l" t="t" r="r" b="b"/>
              <a:pathLst>
                <a:path w="3953" h="3347" extrusionOk="0">
                  <a:moveTo>
                    <a:pt x="2080" y="1"/>
                  </a:moveTo>
                  <a:cubicBezTo>
                    <a:pt x="882" y="1"/>
                    <a:pt x="0" y="1301"/>
                    <a:pt x="617" y="2445"/>
                  </a:cubicBezTo>
                  <a:cubicBezTo>
                    <a:pt x="927" y="3052"/>
                    <a:pt x="1514" y="3347"/>
                    <a:pt x="2099" y="3347"/>
                  </a:cubicBezTo>
                  <a:cubicBezTo>
                    <a:pt x="2768" y="3347"/>
                    <a:pt x="3436" y="2960"/>
                    <a:pt x="3685" y="2212"/>
                  </a:cubicBezTo>
                  <a:cubicBezTo>
                    <a:pt x="3952" y="1311"/>
                    <a:pt x="3452" y="344"/>
                    <a:pt x="2585" y="77"/>
                  </a:cubicBezTo>
                  <a:cubicBezTo>
                    <a:pt x="2412" y="25"/>
                    <a:pt x="2243" y="1"/>
                    <a:pt x="2080"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 name="Google Shape;1744;p51">
              <a:extLst>
                <a:ext uri="{FF2B5EF4-FFF2-40B4-BE49-F238E27FC236}">
                  <a16:creationId xmlns:a16="http://schemas.microsoft.com/office/drawing/2014/main" id="{D679AC2F-8044-5C86-43A1-5C1826740A52}"/>
                </a:ext>
              </a:extLst>
            </p:cNvPr>
            <p:cNvSpPr/>
            <p:nvPr/>
          </p:nvSpPr>
          <p:spPr>
            <a:xfrm>
              <a:off x="1308400" y="2351800"/>
              <a:ext cx="88875" cy="75000"/>
            </a:xfrm>
            <a:custGeom>
              <a:avLst/>
              <a:gdLst/>
              <a:ahLst/>
              <a:cxnLst/>
              <a:rect l="l" t="t" r="r" b="b"/>
              <a:pathLst>
                <a:path w="3555" h="3000" extrusionOk="0">
                  <a:moveTo>
                    <a:pt x="1837" y="1"/>
                  </a:moveTo>
                  <a:cubicBezTo>
                    <a:pt x="788" y="1"/>
                    <a:pt x="1" y="1168"/>
                    <a:pt x="552" y="2184"/>
                  </a:cubicBezTo>
                  <a:cubicBezTo>
                    <a:pt x="828" y="2736"/>
                    <a:pt x="1344" y="2999"/>
                    <a:pt x="1863" y="2999"/>
                  </a:cubicBezTo>
                  <a:cubicBezTo>
                    <a:pt x="2473" y="2999"/>
                    <a:pt x="3087" y="2636"/>
                    <a:pt x="3321" y="1951"/>
                  </a:cubicBezTo>
                  <a:cubicBezTo>
                    <a:pt x="3555" y="1150"/>
                    <a:pt x="3121" y="316"/>
                    <a:pt x="2320" y="83"/>
                  </a:cubicBezTo>
                  <a:cubicBezTo>
                    <a:pt x="2156" y="27"/>
                    <a:pt x="1994" y="1"/>
                    <a:pt x="1837"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 name="Google Shape;1745;p51">
              <a:extLst>
                <a:ext uri="{FF2B5EF4-FFF2-40B4-BE49-F238E27FC236}">
                  <a16:creationId xmlns:a16="http://schemas.microsoft.com/office/drawing/2014/main" id="{76FF419C-0B54-9A04-CFDD-C4A065A92DED}"/>
                </a:ext>
              </a:extLst>
            </p:cNvPr>
            <p:cNvSpPr/>
            <p:nvPr/>
          </p:nvSpPr>
          <p:spPr>
            <a:xfrm>
              <a:off x="1443950" y="2322150"/>
              <a:ext cx="80075" cy="68250"/>
            </a:xfrm>
            <a:custGeom>
              <a:avLst/>
              <a:gdLst/>
              <a:ahLst/>
              <a:cxnLst/>
              <a:rect l="l" t="t" r="r" b="b"/>
              <a:pathLst>
                <a:path w="3203" h="2730" extrusionOk="0">
                  <a:moveTo>
                    <a:pt x="1673" y="1"/>
                  </a:moveTo>
                  <a:cubicBezTo>
                    <a:pt x="708" y="1"/>
                    <a:pt x="1" y="1040"/>
                    <a:pt x="468" y="2003"/>
                  </a:cubicBezTo>
                  <a:cubicBezTo>
                    <a:pt x="728" y="2493"/>
                    <a:pt x="1206" y="2730"/>
                    <a:pt x="1683" y="2730"/>
                  </a:cubicBezTo>
                  <a:cubicBezTo>
                    <a:pt x="2245" y="2730"/>
                    <a:pt x="2804" y="2401"/>
                    <a:pt x="3003" y="1769"/>
                  </a:cubicBezTo>
                  <a:cubicBezTo>
                    <a:pt x="3203" y="1069"/>
                    <a:pt x="2803" y="301"/>
                    <a:pt x="2102" y="68"/>
                  </a:cubicBezTo>
                  <a:cubicBezTo>
                    <a:pt x="1956" y="22"/>
                    <a:pt x="1812" y="1"/>
                    <a:pt x="1673"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 name="Google Shape;1746;p51">
              <a:extLst>
                <a:ext uri="{FF2B5EF4-FFF2-40B4-BE49-F238E27FC236}">
                  <a16:creationId xmlns:a16="http://schemas.microsoft.com/office/drawing/2014/main" id="{E78782CF-FEA5-4CF6-C280-9B9387749ED3}"/>
                </a:ext>
              </a:extLst>
            </p:cNvPr>
            <p:cNvSpPr/>
            <p:nvPr/>
          </p:nvSpPr>
          <p:spPr>
            <a:xfrm>
              <a:off x="1496325" y="2325850"/>
              <a:ext cx="68575" cy="57650"/>
            </a:xfrm>
            <a:custGeom>
              <a:avLst/>
              <a:gdLst/>
              <a:ahLst/>
              <a:cxnLst/>
              <a:rect l="l" t="t" r="r" b="b"/>
              <a:pathLst>
                <a:path w="2743" h="2306" extrusionOk="0">
                  <a:moveTo>
                    <a:pt x="1455" y="0"/>
                  </a:moveTo>
                  <a:cubicBezTo>
                    <a:pt x="619" y="0"/>
                    <a:pt x="1" y="896"/>
                    <a:pt x="441" y="1688"/>
                  </a:cubicBezTo>
                  <a:cubicBezTo>
                    <a:pt x="656" y="2103"/>
                    <a:pt x="1055" y="2305"/>
                    <a:pt x="1456" y="2305"/>
                  </a:cubicBezTo>
                  <a:cubicBezTo>
                    <a:pt x="1925" y="2305"/>
                    <a:pt x="2396" y="2028"/>
                    <a:pt x="2576" y="1488"/>
                  </a:cubicBezTo>
                  <a:cubicBezTo>
                    <a:pt x="2742" y="887"/>
                    <a:pt x="2409" y="254"/>
                    <a:pt x="1808" y="53"/>
                  </a:cubicBezTo>
                  <a:cubicBezTo>
                    <a:pt x="1688" y="17"/>
                    <a:pt x="1569" y="0"/>
                    <a:pt x="1455"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 name="Google Shape;1747;p51">
              <a:extLst>
                <a:ext uri="{FF2B5EF4-FFF2-40B4-BE49-F238E27FC236}">
                  <a16:creationId xmlns:a16="http://schemas.microsoft.com/office/drawing/2014/main" id="{BAF1980B-D2E6-AF69-71A4-3743330DE807}"/>
                </a:ext>
              </a:extLst>
            </p:cNvPr>
            <p:cNvSpPr/>
            <p:nvPr/>
          </p:nvSpPr>
          <p:spPr>
            <a:xfrm>
              <a:off x="1560450" y="2303325"/>
              <a:ext cx="68650" cy="57725"/>
            </a:xfrm>
            <a:custGeom>
              <a:avLst/>
              <a:gdLst/>
              <a:ahLst/>
              <a:cxnLst/>
              <a:rect l="l" t="t" r="r" b="b"/>
              <a:pathLst>
                <a:path w="2746" h="2309" extrusionOk="0">
                  <a:moveTo>
                    <a:pt x="1435" y="1"/>
                  </a:moveTo>
                  <a:cubicBezTo>
                    <a:pt x="622" y="1"/>
                    <a:pt x="0" y="896"/>
                    <a:pt x="411" y="1688"/>
                  </a:cubicBezTo>
                  <a:cubicBezTo>
                    <a:pt x="628" y="2106"/>
                    <a:pt x="1032" y="2309"/>
                    <a:pt x="1435" y="2309"/>
                  </a:cubicBezTo>
                  <a:cubicBezTo>
                    <a:pt x="1901" y="2309"/>
                    <a:pt x="2367" y="2040"/>
                    <a:pt x="2546" y="1521"/>
                  </a:cubicBezTo>
                  <a:cubicBezTo>
                    <a:pt x="2746" y="888"/>
                    <a:pt x="2379" y="254"/>
                    <a:pt x="1779" y="54"/>
                  </a:cubicBezTo>
                  <a:cubicBezTo>
                    <a:pt x="1662" y="18"/>
                    <a:pt x="1547" y="1"/>
                    <a:pt x="1435"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 name="Google Shape;1748;p51">
              <a:extLst>
                <a:ext uri="{FF2B5EF4-FFF2-40B4-BE49-F238E27FC236}">
                  <a16:creationId xmlns:a16="http://schemas.microsoft.com/office/drawing/2014/main" id="{6BAF6C46-910C-848F-6E29-F6FE6AAA883A}"/>
                </a:ext>
              </a:extLst>
            </p:cNvPr>
            <p:cNvSpPr/>
            <p:nvPr/>
          </p:nvSpPr>
          <p:spPr>
            <a:xfrm>
              <a:off x="1537125" y="2328325"/>
              <a:ext cx="65300" cy="55475"/>
            </a:xfrm>
            <a:custGeom>
              <a:avLst/>
              <a:gdLst/>
              <a:ahLst/>
              <a:cxnLst/>
              <a:rect l="l" t="t" r="r" b="b"/>
              <a:pathLst>
                <a:path w="2612" h="2219" extrusionOk="0">
                  <a:moveTo>
                    <a:pt x="1371" y="0"/>
                  </a:moveTo>
                  <a:cubicBezTo>
                    <a:pt x="590" y="0"/>
                    <a:pt x="1" y="862"/>
                    <a:pt x="410" y="1622"/>
                  </a:cubicBezTo>
                  <a:cubicBezTo>
                    <a:pt x="626" y="2024"/>
                    <a:pt x="1014" y="2218"/>
                    <a:pt x="1398" y="2218"/>
                  </a:cubicBezTo>
                  <a:cubicBezTo>
                    <a:pt x="1843" y="2218"/>
                    <a:pt x="2283" y="1957"/>
                    <a:pt x="2445" y="1455"/>
                  </a:cubicBezTo>
                  <a:cubicBezTo>
                    <a:pt x="2611" y="855"/>
                    <a:pt x="2311" y="255"/>
                    <a:pt x="1711" y="54"/>
                  </a:cubicBezTo>
                  <a:cubicBezTo>
                    <a:pt x="1595" y="17"/>
                    <a:pt x="1481" y="0"/>
                    <a:pt x="1371"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 name="Google Shape;1749;p51">
              <a:extLst>
                <a:ext uri="{FF2B5EF4-FFF2-40B4-BE49-F238E27FC236}">
                  <a16:creationId xmlns:a16="http://schemas.microsoft.com/office/drawing/2014/main" id="{DE2329BD-9E6E-5D9D-E4E3-1FD73B65BC2C}"/>
                </a:ext>
              </a:extLst>
            </p:cNvPr>
            <p:cNvSpPr/>
            <p:nvPr/>
          </p:nvSpPr>
          <p:spPr>
            <a:xfrm>
              <a:off x="1599325" y="2297775"/>
              <a:ext cx="53975" cy="45675"/>
            </a:xfrm>
            <a:custGeom>
              <a:avLst/>
              <a:gdLst/>
              <a:ahLst/>
              <a:cxnLst/>
              <a:rect l="l" t="t" r="r" b="b"/>
              <a:pathLst>
                <a:path w="2159" h="1827" extrusionOk="0">
                  <a:moveTo>
                    <a:pt x="1151" y="1"/>
                  </a:moveTo>
                  <a:cubicBezTo>
                    <a:pt x="504" y="1"/>
                    <a:pt x="1" y="698"/>
                    <a:pt x="324" y="1343"/>
                  </a:cubicBezTo>
                  <a:cubicBezTo>
                    <a:pt x="508" y="1666"/>
                    <a:pt x="828" y="1826"/>
                    <a:pt x="1144" y="1826"/>
                  </a:cubicBezTo>
                  <a:cubicBezTo>
                    <a:pt x="1514" y="1826"/>
                    <a:pt x="1881" y="1608"/>
                    <a:pt x="2025" y="1176"/>
                  </a:cubicBezTo>
                  <a:cubicBezTo>
                    <a:pt x="2158" y="709"/>
                    <a:pt x="1891" y="209"/>
                    <a:pt x="1424" y="42"/>
                  </a:cubicBezTo>
                  <a:cubicBezTo>
                    <a:pt x="1332" y="14"/>
                    <a:pt x="1240" y="1"/>
                    <a:pt x="1151"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 name="Google Shape;1750;p51">
              <a:extLst>
                <a:ext uri="{FF2B5EF4-FFF2-40B4-BE49-F238E27FC236}">
                  <a16:creationId xmlns:a16="http://schemas.microsoft.com/office/drawing/2014/main" id="{A4180704-9E6D-2F26-5B77-09423F279DFD}"/>
                </a:ext>
              </a:extLst>
            </p:cNvPr>
            <p:cNvSpPr/>
            <p:nvPr/>
          </p:nvSpPr>
          <p:spPr>
            <a:xfrm>
              <a:off x="1630600" y="2330750"/>
              <a:ext cx="32700" cy="27150"/>
            </a:xfrm>
            <a:custGeom>
              <a:avLst/>
              <a:gdLst/>
              <a:ahLst/>
              <a:cxnLst/>
              <a:rect l="l" t="t" r="r" b="b"/>
              <a:pathLst>
                <a:path w="1308" h="1086" extrusionOk="0">
                  <a:moveTo>
                    <a:pt x="710" y="1"/>
                  </a:moveTo>
                  <a:cubicBezTo>
                    <a:pt x="313" y="1"/>
                    <a:pt x="1" y="409"/>
                    <a:pt x="207" y="791"/>
                  </a:cubicBezTo>
                  <a:cubicBezTo>
                    <a:pt x="315" y="992"/>
                    <a:pt x="508" y="1085"/>
                    <a:pt x="698" y="1085"/>
                  </a:cubicBezTo>
                  <a:cubicBezTo>
                    <a:pt x="919" y="1085"/>
                    <a:pt x="1136" y="958"/>
                    <a:pt x="1207" y="725"/>
                  </a:cubicBezTo>
                  <a:cubicBezTo>
                    <a:pt x="1308" y="424"/>
                    <a:pt x="1141" y="124"/>
                    <a:pt x="874" y="24"/>
                  </a:cubicBezTo>
                  <a:cubicBezTo>
                    <a:pt x="819" y="8"/>
                    <a:pt x="764" y="1"/>
                    <a:pt x="710"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 name="Google Shape;1751;p51">
              <a:extLst>
                <a:ext uri="{FF2B5EF4-FFF2-40B4-BE49-F238E27FC236}">
                  <a16:creationId xmlns:a16="http://schemas.microsoft.com/office/drawing/2014/main" id="{3E6C501A-A9CF-6E56-6FD0-4F30D354CBC8}"/>
                </a:ext>
              </a:extLst>
            </p:cNvPr>
            <p:cNvSpPr/>
            <p:nvPr/>
          </p:nvSpPr>
          <p:spPr>
            <a:xfrm>
              <a:off x="1406175" y="2347450"/>
              <a:ext cx="31975" cy="27125"/>
            </a:xfrm>
            <a:custGeom>
              <a:avLst/>
              <a:gdLst/>
              <a:ahLst/>
              <a:cxnLst/>
              <a:rect l="l" t="t" r="r" b="b"/>
              <a:pathLst>
                <a:path w="1279" h="1085" extrusionOk="0">
                  <a:moveTo>
                    <a:pt x="682" y="0"/>
                  </a:moveTo>
                  <a:cubicBezTo>
                    <a:pt x="291" y="0"/>
                    <a:pt x="1" y="408"/>
                    <a:pt x="177" y="791"/>
                  </a:cubicBezTo>
                  <a:cubicBezTo>
                    <a:pt x="285" y="991"/>
                    <a:pt x="478" y="1084"/>
                    <a:pt x="668" y="1084"/>
                  </a:cubicBezTo>
                  <a:cubicBezTo>
                    <a:pt x="889" y="1084"/>
                    <a:pt x="1106" y="957"/>
                    <a:pt x="1178" y="724"/>
                  </a:cubicBezTo>
                  <a:cubicBezTo>
                    <a:pt x="1278" y="424"/>
                    <a:pt x="1111" y="123"/>
                    <a:pt x="844" y="23"/>
                  </a:cubicBezTo>
                  <a:cubicBezTo>
                    <a:pt x="789" y="7"/>
                    <a:pt x="735" y="0"/>
                    <a:pt x="682"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 name="Google Shape;1752;p51">
              <a:extLst>
                <a:ext uri="{FF2B5EF4-FFF2-40B4-BE49-F238E27FC236}">
                  <a16:creationId xmlns:a16="http://schemas.microsoft.com/office/drawing/2014/main" id="{7481DD3E-3157-653A-7EE9-0D6B8A726DEA}"/>
                </a:ext>
              </a:extLst>
            </p:cNvPr>
            <p:cNvSpPr/>
            <p:nvPr/>
          </p:nvSpPr>
          <p:spPr>
            <a:xfrm>
              <a:off x="1373900" y="2500775"/>
              <a:ext cx="81825" cy="71150"/>
            </a:xfrm>
            <a:custGeom>
              <a:avLst/>
              <a:gdLst/>
              <a:ahLst/>
              <a:cxnLst/>
              <a:rect l="l" t="t" r="r" b="b"/>
              <a:pathLst>
                <a:path w="3273" h="2846" extrusionOk="0">
                  <a:moveTo>
                    <a:pt x="1160" y="0"/>
                  </a:moveTo>
                  <a:cubicBezTo>
                    <a:pt x="1085" y="0"/>
                    <a:pt x="1010" y="9"/>
                    <a:pt x="935" y="28"/>
                  </a:cubicBezTo>
                  <a:cubicBezTo>
                    <a:pt x="167" y="228"/>
                    <a:pt x="1" y="1129"/>
                    <a:pt x="501" y="1796"/>
                  </a:cubicBezTo>
                  <a:cubicBezTo>
                    <a:pt x="935" y="2330"/>
                    <a:pt x="1535" y="2697"/>
                    <a:pt x="2169" y="2830"/>
                  </a:cubicBezTo>
                  <a:cubicBezTo>
                    <a:pt x="2233" y="2840"/>
                    <a:pt x="2294" y="2845"/>
                    <a:pt x="2352" y="2845"/>
                  </a:cubicBezTo>
                  <a:cubicBezTo>
                    <a:pt x="3045" y="2845"/>
                    <a:pt x="3272" y="2137"/>
                    <a:pt x="2903" y="1429"/>
                  </a:cubicBezTo>
                  <a:cubicBezTo>
                    <a:pt x="2600" y="824"/>
                    <a:pt x="1887" y="0"/>
                    <a:pt x="1160" y="0"/>
                  </a:cubicBezTo>
                  <a:close/>
                </a:path>
              </a:pathLst>
            </a:custGeom>
            <a:solidFill>
              <a:srgbClr val="7F3E3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 name="Google Shape;1753;p51">
              <a:extLst>
                <a:ext uri="{FF2B5EF4-FFF2-40B4-BE49-F238E27FC236}">
                  <a16:creationId xmlns:a16="http://schemas.microsoft.com/office/drawing/2014/main" id="{6CE3D661-EC7B-9E60-4DA2-01974DD9B057}"/>
                </a:ext>
              </a:extLst>
            </p:cNvPr>
            <p:cNvSpPr/>
            <p:nvPr/>
          </p:nvSpPr>
          <p:spPr>
            <a:xfrm>
              <a:off x="1526500" y="2470600"/>
              <a:ext cx="16725" cy="22550"/>
            </a:xfrm>
            <a:custGeom>
              <a:avLst/>
              <a:gdLst/>
              <a:ahLst/>
              <a:cxnLst/>
              <a:rect l="l" t="t" r="r" b="b"/>
              <a:pathLst>
                <a:path w="669" h="902" extrusionOk="0">
                  <a:moveTo>
                    <a:pt x="268" y="1"/>
                  </a:moveTo>
                  <a:cubicBezTo>
                    <a:pt x="101" y="1"/>
                    <a:pt x="1" y="234"/>
                    <a:pt x="34" y="501"/>
                  </a:cubicBezTo>
                  <a:cubicBezTo>
                    <a:pt x="101" y="735"/>
                    <a:pt x="234" y="901"/>
                    <a:pt x="401" y="901"/>
                  </a:cubicBezTo>
                  <a:cubicBezTo>
                    <a:pt x="568" y="901"/>
                    <a:pt x="668" y="668"/>
                    <a:pt x="635" y="434"/>
                  </a:cubicBezTo>
                  <a:cubicBezTo>
                    <a:pt x="601" y="201"/>
                    <a:pt x="435" y="1"/>
                    <a:pt x="268"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 name="Google Shape;1754;p51">
              <a:extLst>
                <a:ext uri="{FF2B5EF4-FFF2-40B4-BE49-F238E27FC236}">
                  <a16:creationId xmlns:a16="http://schemas.microsoft.com/office/drawing/2014/main" id="{A01D4D3A-A63F-A4B9-3B80-3AED22679D68}"/>
                </a:ext>
              </a:extLst>
            </p:cNvPr>
            <p:cNvSpPr/>
            <p:nvPr/>
          </p:nvSpPr>
          <p:spPr>
            <a:xfrm>
              <a:off x="1596550" y="2462275"/>
              <a:ext cx="16725" cy="22525"/>
            </a:xfrm>
            <a:custGeom>
              <a:avLst/>
              <a:gdLst/>
              <a:ahLst/>
              <a:cxnLst/>
              <a:rect l="l" t="t" r="r" b="b"/>
              <a:pathLst>
                <a:path w="669" h="901" extrusionOk="0">
                  <a:moveTo>
                    <a:pt x="268" y="0"/>
                  </a:moveTo>
                  <a:cubicBezTo>
                    <a:pt x="101" y="0"/>
                    <a:pt x="1" y="234"/>
                    <a:pt x="34" y="501"/>
                  </a:cubicBezTo>
                  <a:cubicBezTo>
                    <a:pt x="68" y="734"/>
                    <a:pt x="234" y="901"/>
                    <a:pt x="401" y="901"/>
                  </a:cubicBezTo>
                  <a:cubicBezTo>
                    <a:pt x="568" y="901"/>
                    <a:pt x="668" y="667"/>
                    <a:pt x="635" y="434"/>
                  </a:cubicBezTo>
                  <a:cubicBezTo>
                    <a:pt x="601" y="167"/>
                    <a:pt x="435" y="0"/>
                    <a:pt x="268"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 name="Google Shape;1755;p51">
              <a:extLst>
                <a:ext uri="{FF2B5EF4-FFF2-40B4-BE49-F238E27FC236}">
                  <a16:creationId xmlns:a16="http://schemas.microsoft.com/office/drawing/2014/main" id="{BE1C418A-22F8-6C76-E243-6EA9DC4AE395}"/>
                </a:ext>
              </a:extLst>
            </p:cNvPr>
            <p:cNvSpPr/>
            <p:nvPr/>
          </p:nvSpPr>
          <p:spPr>
            <a:xfrm>
              <a:off x="1576550" y="2477275"/>
              <a:ext cx="29200" cy="50575"/>
            </a:xfrm>
            <a:custGeom>
              <a:avLst/>
              <a:gdLst/>
              <a:ahLst/>
              <a:cxnLst/>
              <a:rect l="l" t="t" r="r" b="b"/>
              <a:pathLst>
                <a:path w="1168" h="2023" extrusionOk="0">
                  <a:moveTo>
                    <a:pt x="0" y="1"/>
                  </a:moveTo>
                  <a:lnTo>
                    <a:pt x="167" y="2002"/>
                  </a:lnTo>
                  <a:cubicBezTo>
                    <a:pt x="235" y="2016"/>
                    <a:pt x="305" y="2022"/>
                    <a:pt x="375" y="2022"/>
                  </a:cubicBezTo>
                  <a:cubicBezTo>
                    <a:pt x="648" y="2022"/>
                    <a:pt x="929" y="1921"/>
                    <a:pt x="1168" y="1735"/>
                  </a:cubicBezTo>
                  <a:cubicBezTo>
                    <a:pt x="701" y="1202"/>
                    <a:pt x="301" y="634"/>
                    <a:pt x="0" y="1"/>
                  </a:cubicBezTo>
                  <a:close/>
                </a:path>
              </a:pathLst>
            </a:custGeom>
            <a:solidFill>
              <a:srgbClr val="630F0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 name="Google Shape;1756;p51">
              <a:extLst>
                <a:ext uri="{FF2B5EF4-FFF2-40B4-BE49-F238E27FC236}">
                  <a16:creationId xmlns:a16="http://schemas.microsoft.com/office/drawing/2014/main" id="{FAE9BF3B-3BAC-4C6B-1965-19184A8B38AF}"/>
                </a:ext>
              </a:extLst>
            </p:cNvPr>
            <p:cNvSpPr/>
            <p:nvPr/>
          </p:nvSpPr>
          <p:spPr>
            <a:xfrm>
              <a:off x="1512000" y="2539600"/>
              <a:ext cx="48725" cy="19425"/>
            </a:xfrm>
            <a:custGeom>
              <a:avLst/>
              <a:gdLst/>
              <a:ahLst/>
              <a:cxnLst/>
              <a:rect l="l" t="t" r="r" b="b"/>
              <a:pathLst>
                <a:path w="1949" h="777" extrusionOk="0">
                  <a:moveTo>
                    <a:pt x="83" y="0"/>
                  </a:moveTo>
                  <a:cubicBezTo>
                    <a:pt x="35" y="0"/>
                    <a:pt x="1" y="63"/>
                    <a:pt x="47" y="110"/>
                  </a:cubicBezTo>
                  <a:cubicBezTo>
                    <a:pt x="448" y="543"/>
                    <a:pt x="1015" y="777"/>
                    <a:pt x="1615" y="777"/>
                  </a:cubicBezTo>
                  <a:cubicBezTo>
                    <a:pt x="1682" y="777"/>
                    <a:pt x="1782" y="743"/>
                    <a:pt x="1882" y="743"/>
                  </a:cubicBezTo>
                  <a:cubicBezTo>
                    <a:pt x="1915" y="743"/>
                    <a:pt x="1949" y="710"/>
                    <a:pt x="1949" y="677"/>
                  </a:cubicBezTo>
                  <a:cubicBezTo>
                    <a:pt x="1949" y="610"/>
                    <a:pt x="1915" y="610"/>
                    <a:pt x="1882" y="610"/>
                  </a:cubicBezTo>
                  <a:cubicBezTo>
                    <a:pt x="1802" y="618"/>
                    <a:pt x="1722" y="622"/>
                    <a:pt x="1643" y="622"/>
                  </a:cubicBezTo>
                  <a:cubicBezTo>
                    <a:pt x="1091" y="622"/>
                    <a:pt x="555" y="422"/>
                    <a:pt x="147" y="43"/>
                  </a:cubicBezTo>
                  <a:cubicBezTo>
                    <a:pt x="127" y="12"/>
                    <a:pt x="104" y="0"/>
                    <a:pt x="83"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 name="Google Shape;1757;p51">
              <a:extLst>
                <a:ext uri="{FF2B5EF4-FFF2-40B4-BE49-F238E27FC236}">
                  <a16:creationId xmlns:a16="http://schemas.microsoft.com/office/drawing/2014/main" id="{C8E1F557-FAE6-C3CC-B469-3DFD31B5CEF4}"/>
                </a:ext>
              </a:extLst>
            </p:cNvPr>
            <p:cNvSpPr/>
            <p:nvPr/>
          </p:nvSpPr>
          <p:spPr>
            <a:xfrm>
              <a:off x="1496500" y="2428800"/>
              <a:ext cx="35875" cy="18825"/>
            </a:xfrm>
            <a:custGeom>
              <a:avLst/>
              <a:gdLst/>
              <a:ahLst/>
              <a:cxnLst/>
              <a:rect l="l" t="t" r="r" b="b"/>
              <a:pathLst>
                <a:path w="1435" h="753" extrusionOk="0">
                  <a:moveTo>
                    <a:pt x="1184" y="1"/>
                  </a:moveTo>
                  <a:cubicBezTo>
                    <a:pt x="757" y="1"/>
                    <a:pt x="342" y="169"/>
                    <a:pt x="67" y="505"/>
                  </a:cubicBezTo>
                  <a:cubicBezTo>
                    <a:pt x="0" y="572"/>
                    <a:pt x="0" y="639"/>
                    <a:pt x="67" y="705"/>
                  </a:cubicBezTo>
                  <a:cubicBezTo>
                    <a:pt x="67" y="739"/>
                    <a:pt x="100" y="739"/>
                    <a:pt x="134" y="739"/>
                  </a:cubicBezTo>
                  <a:cubicBezTo>
                    <a:pt x="143" y="749"/>
                    <a:pt x="159" y="753"/>
                    <a:pt x="177" y="753"/>
                  </a:cubicBezTo>
                  <a:cubicBezTo>
                    <a:pt x="220" y="753"/>
                    <a:pt x="277" y="729"/>
                    <a:pt x="300" y="705"/>
                  </a:cubicBezTo>
                  <a:cubicBezTo>
                    <a:pt x="510" y="435"/>
                    <a:pt x="829" y="300"/>
                    <a:pt x="1158" y="300"/>
                  </a:cubicBezTo>
                  <a:cubicBezTo>
                    <a:pt x="1194" y="300"/>
                    <a:pt x="1231" y="302"/>
                    <a:pt x="1268" y="305"/>
                  </a:cubicBezTo>
                  <a:cubicBezTo>
                    <a:pt x="1334" y="305"/>
                    <a:pt x="1401" y="272"/>
                    <a:pt x="1434" y="205"/>
                  </a:cubicBezTo>
                  <a:cubicBezTo>
                    <a:pt x="1434" y="105"/>
                    <a:pt x="1401" y="38"/>
                    <a:pt x="1301" y="5"/>
                  </a:cubicBezTo>
                  <a:cubicBezTo>
                    <a:pt x="1262" y="2"/>
                    <a:pt x="1223" y="1"/>
                    <a:pt x="1184"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 name="Google Shape;1758;p51">
              <a:extLst>
                <a:ext uri="{FF2B5EF4-FFF2-40B4-BE49-F238E27FC236}">
                  <a16:creationId xmlns:a16="http://schemas.microsoft.com/office/drawing/2014/main" id="{D01B1B6B-3D90-C6A0-E58C-FB587D50A1B6}"/>
                </a:ext>
              </a:extLst>
            </p:cNvPr>
            <p:cNvSpPr/>
            <p:nvPr/>
          </p:nvSpPr>
          <p:spPr>
            <a:xfrm>
              <a:off x="1588225" y="2427250"/>
              <a:ext cx="37550" cy="15875"/>
            </a:xfrm>
            <a:custGeom>
              <a:avLst/>
              <a:gdLst/>
              <a:ahLst/>
              <a:cxnLst/>
              <a:rect l="l" t="t" r="r" b="b"/>
              <a:pathLst>
                <a:path w="1502" h="635" extrusionOk="0">
                  <a:moveTo>
                    <a:pt x="443" y="1"/>
                  </a:moveTo>
                  <a:cubicBezTo>
                    <a:pt x="340" y="1"/>
                    <a:pt x="237" y="11"/>
                    <a:pt x="134" y="34"/>
                  </a:cubicBezTo>
                  <a:cubicBezTo>
                    <a:pt x="34" y="67"/>
                    <a:pt x="0" y="134"/>
                    <a:pt x="34" y="234"/>
                  </a:cubicBezTo>
                  <a:cubicBezTo>
                    <a:pt x="34" y="300"/>
                    <a:pt x="134" y="334"/>
                    <a:pt x="201" y="334"/>
                  </a:cubicBezTo>
                  <a:cubicBezTo>
                    <a:pt x="275" y="320"/>
                    <a:pt x="352" y="314"/>
                    <a:pt x="428" y="314"/>
                  </a:cubicBezTo>
                  <a:cubicBezTo>
                    <a:pt x="727" y="314"/>
                    <a:pt x="1029" y="415"/>
                    <a:pt x="1268" y="601"/>
                  </a:cubicBezTo>
                  <a:cubicBezTo>
                    <a:pt x="1301" y="634"/>
                    <a:pt x="1335" y="634"/>
                    <a:pt x="1401" y="634"/>
                  </a:cubicBezTo>
                  <a:cubicBezTo>
                    <a:pt x="1401" y="634"/>
                    <a:pt x="1435" y="601"/>
                    <a:pt x="1468" y="601"/>
                  </a:cubicBezTo>
                  <a:cubicBezTo>
                    <a:pt x="1501" y="534"/>
                    <a:pt x="1501" y="434"/>
                    <a:pt x="1435" y="367"/>
                  </a:cubicBezTo>
                  <a:cubicBezTo>
                    <a:pt x="1149" y="133"/>
                    <a:pt x="803" y="1"/>
                    <a:pt x="443"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 name="Google Shape;1759;p51">
              <a:extLst>
                <a:ext uri="{FF2B5EF4-FFF2-40B4-BE49-F238E27FC236}">
                  <a16:creationId xmlns:a16="http://schemas.microsoft.com/office/drawing/2014/main" id="{58A89DC2-DEA5-2239-20A8-FB3F016EAF90}"/>
                </a:ext>
              </a:extLst>
            </p:cNvPr>
            <p:cNvSpPr/>
            <p:nvPr/>
          </p:nvSpPr>
          <p:spPr>
            <a:xfrm>
              <a:off x="1474800" y="3024350"/>
              <a:ext cx="84250" cy="111200"/>
            </a:xfrm>
            <a:custGeom>
              <a:avLst/>
              <a:gdLst/>
              <a:ahLst/>
              <a:cxnLst/>
              <a:rect l="l" t="t" r="r" b="b"/>
              <a:pathLst>
                <a:path w="3370" h="4448" extrusionOk="0">
                  <a:moveTo>
                    <a:pt x="1068" y="0"/>
                  </a:moveTo>
                  <a:lnTo>
                    <a:pt x="1" y="2635"/>
                  </a:lnTo>
                  <a:lnTo>
                    <a:pt x="968" y="4336"/>
                  </a:lnTo>
                  <a:cubicBezTo>
                    <a:pt x="1118" y="4413"/>
                    <a:pt x="1265" y="4447"/>
                    <a:pt x="1407" y="4447"/>
                  </a:cubicBezTo>
                  <a:cubicBezTo>
                    <a:pt x="2508" y="4447"/>
                    <a:pt x="3370" y="2435"/>
                    <a:pt x="3370" y="2435"/>
                  </a:cubicBezTo>
                  <a:lnTo>
                    <a:pt x="1068" y="0"/>
                  </a:lnTo>
                  <a:close/>
                </a:path>
              </a:pathLst>
            </a:custGeom>
            <a:solidFill>
              <a:srgbClr val="7F3E3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 name="Google Shape;1760;p51">
              <a:extLst>
                <a:ext uri="{FF2B5EF4-FFF2-40B4-BE49-F238E27FC236}">
                  <a16:creationId xmlns:a16="http://schemas.microsoft.com/office/drawing/2014/main" id="{C7E2ED12-4BD0-829F-EE64-E79AEA1C0EA0}"/>
                </a:ext>
              </a:extLst>
            </p:cNvPr>
            <p:cNvSpPr/>
            <p:nvPr/>
          </p:nvSpPr>
          <p:spPr>
            <a:xfrm>
              <a:off x="1501500" y="2980150"/>
              <a:ext cx="103425" cy="105100"/>
            </a:xfrm>
            <a:custGeom>
              <a:avLst/>
              <a:gdLst/>
              <a:ahLst/>
              <a:cxnLst/>
              <a:rect l="l" t="t" r="r" b="b"/>
              <a:pathLst>
                <a:path w="4137" h="4204" extrusionOk="0">
                  <a:moveTo>
                    <a:pt x="2869" y="0"/>
                  </a:moveTo>
                  <a:lnTo>
                    <a:pt x="0" y="1768"/>
                  </a:lnTo>
                  <a:lnTo>
                    <a:pt x="2302" y="4203"/>
                  </a:lnTo>
                  <a:lnTo>
                    <a:pt x="4137" y="2102"/>
                  </a:lnTo>
                  <a:lnTo>
                    <a:pt x="2869" y="0"/>
                  </a:lnTo>
                  <a:close/>
                </a:path>
              </a:pathLst>
            </a:custGeom>
            <a:solidFill>
              <a:srgbClr val="7F3E3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 name="Google Shape;1761;p51">
              <a:extLst>
                <a:ext uri="{FF2B5EF4-FFF2-40B4-BE49-F238E27FC236}">
                  <a16:creationId xmlns:a16="http://schemas.microsoft.com/office/drawing/2014/main" id="{D35F77C8-1376-338B-61C8-9EBC216D47B0}"/>
                </a:ext>
              </a:extLst>
            </p:cNvPr>
            <p:cNvSpPr/>
            <p:nvPr/>
          </p:nvSpPr>
          <p:spPr>
            <a:xfrm>
              <a:off x="3171025" y="2232950"/>
              <a:ext cx="181825" cy="181800"/>
            </a:xfrm>
            <a:custGeom>
              <a:avLst/>
              <a:gdLst/>
              <a:ahLst/>
              <a:cxnLst/>
              <a:rect l="l" t="t" r="r" b="b"/>
              <a:pathLst>
                <a:path w="7273" h="7272" extrusionOk="0">
                  <a:moveTo>
                    <a:pt x="3636" y="0"/>
                  </a:moveTo>
                  <a:cubicBezTo>
                    <a:pt x="1635" y="0"/>
                    <a:pt x="0" y="1635"/>
                    <a:pt x="0" y="3636"/>
                  </a:cubicBezTo>
                  <a:cubicBezTo>
                    <a:pt x="0" y="5637"/>
                    <a:pt x="1635" y="7272"/>
                    <a:pt x="3636" y="7272"/>
                  </a:cubicBezTo>
                  <a:cubicBezTo>
                    <a:pt x="5638" y="7272"/>
                    <a:pt x="7272" y="5637"/>
                    <a:pt x="7272" y="3636"/>
                  </a:cubicBezTo>
                  <a:cubicBezTo>
                    <a:pt x="7272" y="1635"/>
                    <a:pt x="5638" y="0"/>
                    <a:pt x="3636"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 name="Google Shape;1762;p51">
              <a:extLst>
                <a:ext uri="{FF2B5EF4-FFF2-40B4-BE49-F238E27FC236}">
                  <a16:creationId xmlns:a16="http://schemas.microsoft.com/office/drawing/2014/main" id="{193D557B-4B71-DB39-CEB6-9A82C721A60E}"/>
                </a:ext>
              </a:extLst>
            </p:cNvPr>
            <p:cNvSpPr/>
            <p:nvPr/>
          </p:nvSpPr>
          <p:spPr>
            <a:xfrm>
              <a:off x="3157675" y="2229550"/>
              <a:ext cx="219350" cy="187700"/>
            </a:xfrm>
            <a:custGeom>
              <a:avLst/>
              <a:gdLst/>
              <a:ahLst/>
              <a:cxnLst/>
              <a:rect l="l" t="t" r="r" b="b"/>
              <a:pathLst>
                <a:path w="8774" h="7508" extrusionOk="0">
                  <a:moveTo>
                    <a:pt x="5004" y="236"/>
                  </a:moveTo>
                  <a:cubicBezTo>
                    <a:pt x="6972" y="236"/>
                    <a:pt x="8540" y="1804"/>
                    <a:pt x="8573" y="3772"/>
                  </a:cubicBezTo>
                  <a:cubicBezTo>
                    <a:pt x="8573" y="5896"/>
                    <a:pt x="6813" y="7316"/>
                    <a:pt x="4982" y="7316"/>
                  </a:cubicBezTo>
                  <a:cubicBezTo>
                    <a:pt x="4110" y="7316"/>
                    <a:pt x="3223" y="6995"/>
                    <a:pt x="2502" y="6274"/>
                  </a:cubicBezTo>
                  <a:cubicBezTo>
                    <a:pt x="267" y="4039"/>
                    <a:pt x="1869" y="236"/>
                    <a:pt x="5004" y="236"/>
                  </a:cubicBezTo>
                  <a:close/>
                  <a:moveTo>
                    <a:pt x="4985" y="0"/>
                  </a:moveTo>
                  <a:cubicBezTo>
                    <a:pt x="4067" y="0"/>
                    <a:pt x="3132" y="341"/>
                    <a:pt x="2369" y="1103"/>
                  </a:cubicBezTo>
                  <a:cubicBezTo>
                    <a:pt x="1" y="3472"/>
                    <a:pt x="1668" y="7508"/>
                    <a:pt x="5004" y="7508"/>
                  </a:cubicBezTo>
                  <a:cubicBezTo>
                    <a:pt x="7106" y="7508"/>
                    <a:pt x="8773" y="5840"/>
                    <a:pt x="8773" y="3772"/>
                  </a:cubicBezTo>
                  <a:cubicBezTo>
                    <a:pt x="8773" y="1510"/>
                    <a:pt x="6918" y="0"/>
                    <a:pt x="4985"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 name="Google Shape;1763;p51">
              <a:extLst>
                <a:ext uri="{FF2B5EF4-FFF2-40B4-BE49-F238E27FC236}">
                  <a16:creationId xmlns:a16="http://schemas.microsoft.com/office/drawing/2014/main" id="{1609E1F0-4D64-2CEC-CCC5-1A2075F1CC27}"/>
                </a:ext>
              </a:extLst>
            </p:cNvPr>
            <p:cNvSpPr/>
            <p:nvPr/>
          </p:nvSpPr>
          <p:spPr>
            <a:xfrm>
              <a:off x="2955875" y="2282075"/>
              <a:ext cx="219350" cy="187725"/>
            </a:xfrm>
            <a:custGeom>
              <a:avLst/>
              <a:gdLst/>
              <a:ahLst/>
              <a:cxnLst/>
              <a:rect l="l" t="t" r="r" b="b"/>
              <a:pathLst>
                <a:path w="8774" h="7509" extrusionOk="0">
                  <a:moveTo>
                    <a:pt x="5004" y="237"/>
                  </a:moveTo>
                  <a:cubicBezTo>
                    <a:pt x="6972" y="237"/>
                    <a:pt x="8540" y="1804"/>
                    <a:pt x="8540" y="3772"/>
                  </a:cubicBezTo>
                  <a:cubicBezTo>
                    <a:pt x="8540" y="5914"/>
                    <a:pt x="6803" y="7324"/>
                    <a:pt x="4988" y="7324"/>
                  </a:cubicBezTo>
                  <a:cubicBezTo>
                    <a:pt x="4116" y="7324"/>
                    <a:pt x="3227" y="6999"/>
                    <a:pt x="2502" y="6274"/>
                  </a:cubicBezTo>
                  <a:cubicBezTo>
                    <a:pt x="267" y="4039"/>
                    <a:pt x="1868" y="237"/>
                    <a:pt x="5004" y="237"/>
                  </a:cubicBezTo>
                  <a:close/>
                  <a:moveTo>
                    <a:pt x="4985" y="1"/>
                  </a:moveTo>
                  <a:cubicBezTo>
                    <a:pt x="4067" y="1"/>
                    <a:pt x="3131" y="341"/>
                    <a:pt x="2368" y="1104"/>
                  </a:cubicBezTo>
                  <a:cubicBezTo>
                    <a:pt x="0" y="3472"/>
                    <a:pt x="1668" y="7508"/>
                    <a:pt x="5004" y="7508"/>
                  </a:cubicBezTo>
                  <a:cubicBezTo>
                    <a:pt x="7072" y="7508"/>
                    <a:pt x="8773" y="5841"/>
                    <a:pt x="8773" y="3772"/>
                  </a:cubicBezTo>
                  <a:cubicBezTo>
                    <a:pt x="8773" y="1511"/>
                    <a:pt x="6918" y="1"/>
                    <a:pt x="4985"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 name="Google Shape;1764;p51">
              <a:extLst>
                <a:ext uri="{FF2B5EF4-FFF2-40B4-BE49-F238E27FC236}">
                  <a16:creationId xmlns:a16="http://schemas.microsoft.com/office/drawing/2014/main" id="{725FA726-FF21-377A-E11C-1CC0514DF6DA}"/>
                </a:ext>
              </a:extLst>
            </p:cNvPr>
            <p:cNvSpPr/>
            <p:nvPr/>
          </p:nvSpPr>
          <p:spPr>
            <a:xfrm>
              <a:off x="2996725" y="2281300"/>
              <a:ext cx="186825" cy="186825"/>
            </a:xfrm>
            <a:custGeom>
              <a:avLst/>
              <a:gdLst/>
              <a:ahLst/>
              <a:cxnLst/>
              <a:rect l="l" t="t" r="r" b="b"/>
              <a:pathLst>
                <a:path w="7473" h="7473" extrusionOk="0">
                  <a:moveTo>
                    <a:pt x="3737" y="1"/>
                  </a:moveTo>
                  <a:cubicBezTo>
                    <a:pt x="1668" y="1"/>
                    <a:pt x="1" y="1669"/>
                    <a:pt x="1" y="3737"/>
                  </a:cubicBezTo>
                  <a:cubicBezTo>
                    <a:pt x="1" y="5772"/>
                    <a:pt x="1668" y="7473"/>
                    <a:pt x="3737" y="7473"/>
                  </a:cubicBezTo>
                  <a:cubicBezTo>
                    <a:pt x="5805" y="7473"/>
                    <a:pt x="7473" y="5772"/>
                    <a:pt x="7473" y="3737"/>
                  </a:cubicBezTo>
                  <a:cubicBezTo>
                    <a:pt x="7473" y="1669"/>
                    <a:pt x="5805" y="1"/>
                    <a:pt x="3737"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 name="Google Shape;1765;p51">
              <a:extLst>
                <a:ext uri="{FF2B5EF4-FFF2-40B4-BE49-F238E27FC236}">
                  <a16:creationId xmlns:a16="http://schemas.microsoft.com/office/drawing/2014/main" id="{DAE4A25F-0297-D59E-64C4-B124CE0FA51A}"/>
                </a:ext>
              </a:extLst>
            </p:cNvPr>
            <p:cNvSpPr/>
            <p:nvPr/>
          </p:nvSpPr>
          <p:spPr>
            <a:xfrm>
              <a:off x="2988400" y="2207200"/>
              <a:ext cx="127600" cy="178550"/>
            </a:xfrm>
            <a:custGeom>
              <a:avLst/>
              <a:gdLst/>
              <a:ahLst/>
              <a:cxnLst/>
              <a:rect l="l" t="t" r="r" b="b"/>
              <a:pathLst>
                <a:path w="5104" h="7142" extrusionOk="0">
                  <a:moveTo>
                    <a:pt x="1514" y="0"/>
                  </a:moveTo>
                  <a:cubicBezTo>
                    <a:pt x="1004" y="0"/>
                    <a:pt x="617" y="339"/>
                    <a:pt x="467" y="1030"/>
                  </a:cubicBezTo>
                  <a:cubicBezTo>
                    <a:pt x="0" y="3198"/>
                    <a:pt x="1568" y="6934"/>
                    <a:pt x="3202" y="7134"/>
                  </a:cubicBezTo>
                  <a:cubicBezTo>
                    <a:pt x="3241" y="7139"/>
                    <a:pt x="3280" y="7142"/>
                    <a:pt x="3317" y="7142"/>
                  </a:cubicBezTo>
                  <a:cubicBezTo>
                    <a:pt x="4850" y="7142"/>
                    <a:pt x="5104" y="3223"/>
                    <a:pt x="3736" y="1497"/>
                  </a:cubicBezTo>
                  <a:cubicBezTo>
                    <a:pt x="2947" y="506"/>
                    <a:pt x="2138" y="0"/>
                    <a:pt x="1514"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 name="Google Shape;1766;p51">
              <a:extLst>
                <a:ext uri="{FF2B5EF4-FFF2-40B4-BE49-F238E27FC236}">
                  <a16:creationId xmlns:a16="http://schemas.microsoft.com/office/drawing/2014/main" id="{4E929308-D82C-B4A8-7642-C6F6A8B220D4}"/>
                </a:ext>
              </a:extLst>
            </p:cNvPr>
            <p:cNvSpPr/>
            <p:nvPr/>
          </p:nvSpPr>
          <p:spPr>
            <a:xfrm>
              <a:off x="2909175" y="2639050"/>
              <a:ext cx="179300" cy="658000"/>
            </a:xfrm>
            <a:custGeom>
              <a:avLst/>
              <a:gdLst/>
              <a:ahLst/>
              <a:cxnLst/>
              <a:rect l="l" t="t" r="r" b="b"/>
              <a:pathLst>
                <a:path w="7172" h="26320" extrusionOk="0">
                  <a:moveTo>
                    <a:pt x="6672" y="1"/>
                  </a:moveTo>
                  <a:lnTo>
                    <a:pt x="3569" y="501"/>
                  </a:lnTo>
                  <a:cubicBezTo>
                    <a:pt x="3703" y="1535"/>
                    <a:pt x="3803" y="2603"/>
                    <a:pt x="3903" y="3670"/>
                  </a:cubicBezTo>
                  <a:cubicBezTo>
                    <a:pt x="4003" y="4738"/>
                    <a:pt x="4070" y="5805"/>
                    <a:pt x="4070" y="6873"/>
                  </a:cubicBezTo>
                  <a:cubicBezTo>
                    <a:pt x="4136" y="8974"/>
                    <a:pt x="3970" y="11042"/>
                    <a:pt x="3536" y="13110"/>
                  </a:cubicBezTo>
                  <a:cubicBezTo>
                    <a:pt x="3302" y="14111"/>
                    <a:pt x="3002" y="15179"/>
                    <a:pt x="2702" y="16246"/>
                  </a:cubicBezTo>
                  <a:lnTo>
                    <a:pt x="1801" y="19415"/>
                  </a:lnTo>
                  <a:lnTo>
                    <a:pt x="901" y="22584"/>
                  </a:lnTo>
                  <a:lnTo>
                    <a:pt x="0" y="25786"/>
                  </a:lnTo>
                  <a:lnTo>
                    <a:pt x="1468" y="26320"/>
                  </a:lnTo>
                  <a:cubicBezTo>
                    <a:pt x="1901" y="25286"/>
                    <a:pt x="2335" y="24285"/>
                    <a:pt x="2769" y="23251"/>
                  </a:cubicBezTo>
                  <a:lnTo>
                    <a:pt x="4036" y="20149"/>
                  </a:lnTo>
                  <a:cubicBezTo>
                    <a:pt x="4837" y="18081"/>
                    <a:pt x="5604" y="16012"/>
                    <a:pt x="6238" y="13811"/>
                  </a:cubicBezTo>
                  <a:cubicBezTo>
                    <a:pt x="6838" y="11543"/>
                    <a:pt x="7139" y="9208"/>
                    <a:pt x="7172" y="6873"/>
                  </a:cubicBezTo>
                  <a:cubicBezTo>
                    <a:pt x="7172" y="5738"/>
                    <a:pt x="7172" y="4604"/>
                    <a:pt x="7072" y="3437"/>
                  </a:cubicBezTo>
                  <a:cubicBezTo>
                    <a:pt x="6972" y="2303"/>
                    <a:pt x="6872" y="1202"/>
                    <a:pt x="6672" y="1"/>
                  </a:cubicBezTo>
                  <a:close/>
                </a:path>
              </a:pathLst>
            </a:custGeom>
            <a:solidFill>
              <a:srgbClr val="FF8B7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 name="Google Shape;1767;p51">
              <a:extLst>
                <a:ext uri="{FF2B5EF4-FFF2-40B4-BE49-F238E27FC236}">
                  <a16:creationId xmlns:a16="http://schemas.microsoft.com/office/drawing/2014/main" id="{E9F9B326-B9E7-94DB-345A-57C0C2B62A0C}"/>
                </a:ext>
              </a:extLst>
            </p:cNvPr>
            <p:cNvSpPr/>
            <p:nvPr/>
          </p:nvSpPr>
          <p:spPr>
            <a:xfrm>
              <a:off x="2974200" y="2545750"/>
              <a:ext cx="158475" cy="215100"/>
            </a:xfrm>
            <a:custGeom>
              <a:avLst/>
              <a:gdLst/>
              <a:ahLst/>
              <a:cxnLst/>
              <a:rect l="l" t="t" r="r" b="b"/>
              <a:pathLst>
                <a:path w="6339" h="8604" extrusionOk="0">
                  <a:moveTo>
                    <a:pt x="3037" y="0"/>
                  </a:moveTo>
                  <a:cubicBezTo>
                    <a:pt x="2499" y="0"/>
                    <a:pt x="1906" y="188"/>
                    <a:pt x="1168" y="564"/>
                  </a:cubicBezTo>
                  <a:cubicBezTo>
                    <a:pt x="1" y="1164"/>
                    <a:pt x="301" y="6435"/>
                    <a:pt x="301" y="6435"/>
                  </a:cubicBezTo>
                  <a:lnTo>
                    <a:pt x="5738" y="8603"/>
                  </a:lnTo>
                  <a:cubicBezTo>
                    <a:pt x="5738" y="8603"/>
                    <a:pt x="6339" y="2098"/>
                    <a:pt x="5071" y="964"/>
                  </a:cubicBezTo>
                  <a:cubicBezTo>
                    <a:pt x="4353" y="322"/>
                    <a:pt x="3742" y="0"/>
                    <a:pt x="3037"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 name="Google Shape;1768;p51">
              <a:extLst>
                <a:ext uri="{FF2B5EF4-FFF2-40B4-BE49-F238E27FC236}">
                  <a16:creationId xmlns:a16="http://schemas.microsoft.com/office/drawing/2014/main" id="{B470B4B1-2949-6FE3-69F9-9D927E1AB351}"/>
                </a:ext>
              </a:extLst>
            </p:cNvPr>
            <p:cNvSpPr/>
            <p:nvPr/>
          </p:nvSpPr>
          <p:spPr>
            <a:xfrm>
              <a:off x="3012575" y="2587350"/>
              <a:ext cx="60900" cy="155150"/>
            </a:xfrm>
            <a:custGeom>
              <a:avLst/>
              <a:gdLst/>
              <a:ahLst/>
              <a:cxnLst/>
              <a:rect l="l" t="t" r="r" b="b"/>
              <a:pathLst>
                <a:path w="2436" h="6206" extrusionOk="0">
                  <a:moveTo>
                    <a:pt x="0" y="1"/>
                  </a:moveTo>
                  <a:lnTo>
                    <a:pt x="201" y="5371"/>
                  </a:lnTo>
                  <a:lnTo>
                    <a:pt x="2435" y="6205"/>
                  </a:lnTo>
                  <a:lnTo>
                    <a:pt x="0" y="1"/>
                  </a:ln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 name="Google Shape;1769;p51">
              <a:extLst>
                <a:ext uri="{FF2B5EF4-FFF2-40B4-BE49-F238E27FC236}">
                  <a16:creationId xmlns:a16="http://schemas.microsoft.com/office/drawing/2014/main" id="{FBEE49E4-BEBE-69E6-4398-1C9F801BAF49}"/>
                </a:ext>
              </a:extLst>
            </p:cNvPr>
            <p:cNvSpPr/>
            <p:nvPr/>
          </p:nvSpPr>
          <p:spPr>
            <a:xfrm>
              <a:off x="2837450" y="3263675"/>
              <a:ext cx="112600" cy="70900"/>
            </a:xfrm>
            <a:custGeom>
              <a:avLst/>
              <a:gdLst/>
              <a:ahLst/>
              <a:cxnLst/>
              <a:rect l="l" t="t" r="r" b="b"/>
              <a:pathLst>
                <a:path w="4504" h="2836" extrusionOk="0">
                  <a:moveTo>
                    <a:pt x="3470" y="1"/>
                  </a:moveTo>
                  <a:lnTo>
                    <a:pt x="0" y="1402"/>
                  </a:lnTo>
                  <a:lnTo>
                    <a:pt x="2669" y="2836"/>
                  </a:lnTo>
                  <a:cubicBezTo>
                    <a:pt x="2669" y="2836"/>
                    <a:pt x="4470" y="1969"/>
                    <a:pt x="4504" y="701"/>
                  </a:cubicBezTo>
                  <a:lnTo>
                    <a:pt x="3470" y="1"/>
                  </a:lnTo>
                  <a:close/>
                </a:path>
              </a:pathLst>
            </a:custGeom>
            <a:solidFill>
              <a:srgbClr val="FF8B7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 name="Google Shape;1770;p51">
              <a:extLst>
                <a:ext uri="{FF2B5EF4-FFF2-40B4-BE49-F238E27FC236}">
                  <a16:creationId xmlns:a16="http://schemas.microsoft.com/office/drawing/2014/main" id="{39EFDC64-134F-A943-1A5A-D13F15C3B4DB}"/>
                </a:ext>
              </a:extLst>
            </p:cNvPr>
            <p:cNvSpPr/>
            <p:nvPr/>
          </p:nvSpPr>
          <p:spPr>
            <a:xfrm>
              <a:off x="3075950" y="4412825"/>
              <a:ext cx="90100" cy="177650"/>
            </a:xfrm>
            <a:custGeom>
              <a:avLst/>
              <a:gdLst/>
              <a:ahLst/>
              <a:cxnLst/>
              <a:rect l="l" t="t" r="r" b="b"/>
              <a:pathLst>
                <a:path w="3604" h="7106" extrusionOk="0">
                  <a:moveTo>
                    <a:pt x="1" y="1"/>
                  </a:moveTo>
                  <a:lnTo>
                    <a:pt x="501" y="7106"/>
                  </a:lnTo>
                  <a:lnTo>
                    <a:pt x="3603" y="7106"/>
                  </a:lnTo>
                  <a:lnTo>
                    <a:pt x="3069" y="1"/>
                  </a:lnTo>
                  <a:close/>
                </a:path>
              </a:pathLst>
            </a:custGeom>
            <a:solidFill>
              <a:srgbClr val="FF8B7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 name="Google Shape;1771;p51">
              <a:extLst>
                <a:ext uri="{FF2B5EF4-FFF2-40B4-BE49-F238E27FC236}">
                  <a16:creationId xmlns:a16="http://schemas.microsoft.com/office/drawing/2014/main" id="{9BA6F4CD-3CB3-11AA-9CA6-2015CA06B5F0}"/>
                </a:ext>
              </a:extLst>
            </p:cNvPr>
            <p:cNvSpPr/>
            <p:nvPr/>
          </p:nvSpPr>
          <p:spPr>
            <a:xfrm>
              <a:off x="3458725" y="4306100"/>
              <a:ext cx="134275" cy="184300"/>
            </a:xfrm>
            <a:custGeom>
              <a:avLst/>
              <a:gdLst/>
              <a:ahLst/>
              <a:cxnLst/>
              <a:rect l="l" t="t" r="r" b="b"/>
              <a:pathLst>
                <a:path w="5371" h="7372" extrusionOk="0">
                  <a:moveTo>
                    <a:pt x="3036" y="0"/>
                  </a:moveTo>
                  <a:lnTo>
                    <a:pt x="0" y="567"/>
                  </a:lnTo>
                  <a:lnTo>
                    <a:pt x="2369" y="7372"/>
                  </a:lnTo>
                  <a:lnTo>
                    <a:pt x="5371" y="6805"/>
                  </a:lnTo>
                  <a:lnTo>
                    <a:pt x="3036" y="0"/>
                  </a:lnTo>
                  <a:close/>
                </a:path>
              </a:pathLst>
            </a:custGeom>
            <a:solidFill>
              <a:srgbClr val="FF8B7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 name="Google Shape;1772;p51">
              <a:extLst>
                <a:ext uri="{FF2B5EF4-FFF2-40B4-BE49-F238E27FC236}">
                  <a16:creationId xmlns:a16="http://schemas.microsoft.com/office/drawing/2014/main" id="{2470323F-318F-9E3E-7F30-D92AB9983E0A}"/>
                </a:ext>
              </a:extLst>
            </p:cNvPr>
            <p:cNvSpPr/>
            <p:nvPr/>
          </p:nvSpPr>
          <p:spPr>
            <a:xfrm>
              <a:off x="3407075" y="4448025"/>
              <a:ext cx="224300" cy="151250"/>
            </a:xfrm>
            <a:custGeom>
              <a:avLst/>
              <a:gdLst/>
              <a:ahLst/>
              <a:cxnLst/>
              <a:rect l="l" t="t" r="r" b="b"/>
              <a:pathLst>
                <a:path w="8972" h="6050" extrusionOk="0">
                  <a:moveTo>
                    <a:pt x="7326" y="0"/>
                  </a:moveTo>
                  <a:cubicBezTo>
                    <a:pt x="7295" y="0"/>
                    <a:pt x="7265" y="8"/>
                    <a:pt x="7237" y="27"/>
                  </a:cubicBezTo>
                  <a:lnTo>
                    <a:pt x="3968" y="1195"/>
                  </a:lnTo>
                  <a:cubicBezTo>
                    <a:pt x="3801" y="1261"/>
                    <a:pt x="3634" y="1361"/>
                    <a:pt x="3568" y="1528"/>
                  </a:cubicBezTo>
                  <a:cubicBezTo>
                    <a:pt x="2867" y="2963"/>
                    <a:pt x="1766" y="4130"/>
                    <a:pt x="399" y="4931"/>
                  </a:cubicBezTo>
                  <a:cubicBezTo>
                    <a:pt x="0" y="5187"/>
                    <a:pt x="281" y="6049"/>
                    <a:pt x="1138" y="6049"/>
                  </a:cubicBezTo>
                  <a:cubicBezTo>
                    <a:pt x="1286" y="6049"/>
                    <a:pt x="1451" y="6024"/>
                    <a:pt x="1633" y="5965"/>
                  </a:cubicBezTo>
                  <a:cubicBezTo>
                    <a:pt x="2867" y="5531"/>
                    <a:pt x="4535" y="4597"/>
                    <a:pt x="5402" y="4297"/>
                  </a:cubicBezTo>
                  <a:cubicBezTo>
                    <a:pt x="6837" y="3796"/>
                    <a:pt x="7404" y="3663"/>
                    <a:pt x="8571" y="3263"/>
                  </a:cubicBezTo>
                  <a:cubicBezTo>
                    <a:pt x="8838" y="3163"/>
                    <a:pt x="8971" y="2829"/>
                    <a:pt x="8838" y="2596"/>
                  </a:cubicBezTo>
                  <a:lnTo>
                    <a:pt x="7537" y="127"/>
                  </a:lnTo>
                  <a:cubicBezTo>
                    <a:pt x="7489" y="55"/>
                    <a:pt x="7406" y="0"/>
                    <a:pt x="7326"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 name="Google Shape;1773;p51">
              <a:extLst>
                <a:ext uri="{FF2B5EF4-FFF2-40B4-BE49-F238E27FC236}">
                  <a16:creationId xmlns:a16="http://schemas.microsoft.com/office/drawing/2014/main" id="{8C41B914-E7BD-45D3-7B33-1960B503EB35}"/>
                </a:ext>
              </a:extLst>
            </p:cNvPr>
            <p:cNvSpPr/>
            <p:nvPr/>
          </p:nvSpPr>
          <p:spPr>
            <a:xfrm>
              <a:off x="2952525" y="4581950"/>
              <a:ext cx="233525" cy="87750"/>
            </a:xfrm>
            <a:custGeom>
              <a:avLst/>
              <a:gdLst/>
              <a:ahLst/>
              <a:cxnLst/>
              <a:rect l="l" t="t" r="r" b="b"/>
              <a:pathLst>
                <a:path w="9341" h="3510" extrusionOk="0">
                  <a:moveTo>
                    <a:pt x="5126" y="1"/>
                  </a:moveTo>
                  <a:cubicBezTo>
                    <a:pt x="4960" y="1"/>
                    <a:pt x="4815" y="87"/>
                    <a:pt x="4671" y="174"/>
                  </a:cubicBezTo>
                  <a:cubicBezTo>
                    <a:pt x="3870" y="841"/>
                    <a:pt x="2903" y="1575"/>
                    <a:pt x="501" y="2109"/>
                  </a:cubicBezTo>
                  <a:cubicBezTo>
                    <a:pt x="1" y="2209"/>
                    <a:pt x="34" y="3510"/>
                    <a:pt x="1335" y="3510"/>
                  </a:cubicBezTo>
                  <a:cubicBezTo>
                    <a:pt x="2636" y="3510"/>
                    <a:pt x="4571" y="3410"/>
                    <a:pt x="5505" y="3410"/>
                  </a:cubicBezTo>
                  <a:cubicBezTo>
                    <a:pt x="7039" y="3410"/>
                    <a:pt x="7606" y="3476"/>
                    <a:pt x="8807" y="3510"/>
                  </a:cubicBezTo>
                  <a:cubicBezTo>
                    <a:pt x="9107" y="3476"/>
                    <a:pt x="9341" y="3243"/>
                    <a:pt x="9307" y="2943"/>
                  </a:cubicBezTo>
                  <a:lnTo>
                    <a:pt x="8907" y="207"/>
                  </a:lnTo>
                  <a:cubicBezTo>
                    <a:pt x="8907" y="74"/>
                    <a:pt x="8807" y="7"/>
                    <a:pt x="8674" y="7"/>
                  </a:cubicBezTo>
                  <a:lnTo>
                    <a:pt x="5204" y="7"/>
                  </a:lnTo>
                  <a:cubicBezTo>
                    <a:pt x="5178" y="3"/>
                    <a:pt x="5151" y="1"/>
                    <a:pt x="5126"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 name="Google Shape;1774;p51">
              <a:extLst>
                <a:ext uri="{FF2B5EF4-FFF2-40B4-BE49-F238E27FC236}">
                  <a16:creationId xmlns:a16="http://schemas.microsoft.com/office/drawing/2014/main" id="{E9C6C9E7-04C8-C5ED-09B4-0E91A43629DF}"/>
                </a:ext>
              </a:extLst>
            </p:cNvPr>
            <p:cNvSpPr/>
            <p:nvPr/>
          </p:nvSpPr>
          <p:spPr>
            <a:xfrm>
              <a:off x="3075950" y="4412825"/>
              <a:ext cx="84250" cy="96775"/>
            </a:xfrm>
            <a:custGeom>
              <a:avLst/>
              <a:gdLst/>
              <a:ahLst/>
              <a:cxnLst/>
              <a:rect l="l" t="t" r="r" b="b"/>
              <a:pathLst>
                <a:path w="3370" h="3871" extrusionOk="0">
                  <a:moveTo>
                    <a:pt x="1" y="1"/>
                  </a:moveTo>
                  <a:lnTo>
                    <a:pt x="267" y="3870"/>
                  </a:lnTo>
                  <a:lnTo>
                    <a:pt x="3370" y="3870"/>
                  </a:lnTo>
                  <a:lnTo>
                    <a:pt x="3069" y="1"/>
                  </a:ln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 name="Google Shape;1775;p51">
              <a:extLst>
                <a:ext uri="{FF2B5EF4-FFF2-40B4-BE49-F238E27FC236}">
                  <a16:creationId xmlns:a16="http://schemas.microsoft.com/office/drawing/2014/main" id="{43907CB6-EDE8-D280-F1A1-E7F44CBE39D1}"/>
                </a:ext>
              </a:extLst>
            </p:cNvPr>
            <p:cNvSpPr/>
            <p:nvPr/>
          </p:nvSpPr>
          <p:spPr>
            <a:xfrm>
              <a:off x="3458725" y="4306100"/>
              <a:ext cx="107600" cy="109250"/>
            </a:xfrm>
            <a:custGeom>
              <a:avLst/>
              <a:gdLst/>
              <a:ahLst/>
              <a:cxnLst/>
              <a:rect l="l" t="t" r="r" b="b"/>
              <a:pathLst>
                <a:path w="4304" h="4370" extrusionOk="0">
                  <a:moveTo>
                    <a:pt x="3036" y="0"/>
                  </a:moveTo>
                  <a:lnTo>
                    <a:pt x="0" y="600"/>
                  </a:lnTo>
                  <a:lnTo>
                    <a:pt x="1301" y="4370"/>
                  </a:lnTo>
                  <a:lnTo>
                    <a:pt x="4304" y="3703"/>
                  </a:lnTo>
                  <a:lnTo>
                    <a:pt x="3036" y="0"/>
                  </a:ln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 name="Google Shape;1776;p51">
              <a:extLst>
                <a:ext uri="{FF2B5EF4-FFF2-40B4-BE49-F238E27FC236}">
                  <a16:creationId xmlns:a16="http://schemas.microsoft.com/office/drawing/2014/main" id="{ED72EA96-5A63-ADAE-B9E0-5E3BD2C5EAFD}"/>
                </a:ext>
              </a:extLst>
            </p:cNvPr>
            <p:cNvSpPr/>
            <p:nvPr/>
          </p:nvSpPr>
          <p:spPr>
            <a:xfrm>
              <a:off x="2970050" y="2468100"/>
              <a:ext cx="477025" cy="536250"/>
            </a:xfrm>
            <a:custGeom>
              <a:avLst/>
              <a:gdLst/>
              <a:ahLst/>
              <a:cxnLst/>
              <a:rect l="l" t="t" r="r" b="b"/>
              <a:pathLst>
                <a:path w="19081" h="21450" extrusionOk="0">
                  <a:moveTo>
                    <a:pt x="17112" y="1"/>
                  </a:moveTo>
                  <a:lnTo>
                    <a:pt x="17112" y="1"/>
                  </a:lnTo>
                  <a:cubicBezTo>
                    <a:pt x="15311" y="34"/>
                    <a:pt x="13543" y="201"/>
                    <a:pt x="11775" y="468"/>
                  </a:cubicBezTo>
                  <a:cubicBezTo>
                    <a:pt x="9907" y="768"/>
                    <a:pt x="8039" y="1168"/>
                    <a:pt x="6238" y="1735"/>
                  </a:cubicBezTo>
                  <a:cubicBezTo>
                    <a:pt x="3903" y="2503"/>
                    <a:pt x="1334" y="3670"/>
                    <a:pt x="1334" y="3670"/>
                  </a:cubicBezTo>
                  <a:cubicBezTo>
                    <a:pt x="1334" y="3670"/>
                    <a:pt x="0" y="4504"/>
                    <a:pt x="6872" y="21449"/>
                  </a:cubicBezTo>
                  <a:lnTo>
                    <a:pt x="19080" y="18681"/>
                  </a:lnTo>
                  <a:cubicBezTo>
                    <a:pt x="17746" y="13777"/>
                    <a:pt x="17046" y="10708"/>
                    <a:pt x="17112" y="1"/>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 name="Google Shape;1777;p51">
              <a:extLst>
                <a:ext uri="{FF2B5EF4-FFF2-40B4-BE49-F238E27FC236}">
                  <a16:creationId xmlns:a16="http://schemas.microsoft.com/office/drawing/2014/main" id="{94AD20CE-FE66-C8BD-985A-6B8E554CAE27}"/>
                </a:ext>
              </a:extLst>
            </p:cNvPr>
            <p:cNvSpPr/>
            <p:nvPr/>
          </p:nvSpPr>
          <p:spPr>
            <a:xfrm>
              <a:off x="3340300" y="2508975"/>
              <a:ext cx="62575" cy="184325"/>
            </a:xfrm>
            <a:custGeom>
              <a:avLst/>
              <a:gdLst/>
              <a:ahLst/>
              <a:cxnLst/>
              <a:rect l="l" t="t" r="r" b="b"/>
              <a:pathLst>
                <a:path w="2503" h="7373" extrusionOk="0">
                  <a:moveTo>
                    <a:pt x="2302" y="0"/>
                  </a:moveTo>
                  <a:cubicBezTo>
                    <a:pt x="1302" y="701"/>
                    <a:pt x="601" y="1701"/>
                    <a:pt x="301" y="2869"/>
                  </a:cubicBezTo>
                  <a:cubicBezTo>
                    <a:pt x="1" y="4337"/>
                    <a:pt x="2036" y="6838"/>
                    <a:pt x="2503" y="7372"/>
                  </a:cubicBezTo>
                  <a:cubicBezTo>
                    <a:pt x="2369" y="5404"/>
                    <a:pt x="2302" y="3036"/>
                    <a:pt x="2302" y="0"/>
                  </a:cubicBez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 name="Google Shape;1778;p51">
              <a:extLst>
                <a:ext uri="{FF2B5EF4-FFF2-40B4-BE49-F238E27FC236}">
                  <a16:creationId xmlns:a16="http://schemas.microsoft.com/office/drawing/2014/main" id="{921037FA-E79E-E456-1E79-61997CE58236}"/>
                </a:ext>
              </a:extLst>
            </p:cNvPr>
            <p:cNvSpPr/>
            <p:nvPr/>
          </p:nvSpPr>
          <p:spPr>
            <a:xfrm>
              <a:off x="3096800" y="2343850"/>
              <a:ext cx="167650" cy="286075"/>
            </a:xfrm>
            <a:custGeom>
              <a:avLst/>
              <a:gdLst/>
              <a:ahLst/>
              <a:cxnLst/>
              <a:rect l="l" t="t" r="r" b="b"/>
              <a:pathLst>
                <a:path w="6706" h="11443" extrusionOk="0">
                  <a:moveTo>
                    <a:pt x="4871" y="1"/>
                  </a:moveTo>
                  <a:lnTo>
                    <a:pt x="2135" y="3670"/>
                  </a:lnTo>
                  <a:cubicBezTo>
                    <a:pt x="2802" y="5004"/>
                    <a:pt x="3036" y="5771"/>
                    <a:pt x="1168" y="6705"/>
                  </a:cubicBezTo>
                  <a:cubicBezTo>
                    <a:pt x="1168" y="6705"/>
                    <a:pt x="0" y="10041"/>
                    <a:pt x="2903" y="11442"/>
                  </a:cubicBezTo>
                  <a:cubicBezTo>
                    <a:pt x="4704" y="9841"/>
                    <a:pt x="6005" y="7739"/>
                    <a:pt x="6705" y="5438"/>
                  </a:cubicBezTo>
                  <a:cubicBezTo>
                    <a:pt x="5171" y="4537"/>
                    <a:pt x="4937" y="1869"/>
                    <a:pt x="4871" y="1"/>
                  </a:cubicBezTo>
                  <a:close/>
                </a:path>
              </a:pathLst>
            </a:custGeom>
            <a:solidFill>
              <a:srgbClr val="FF8B7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 name="Google Shape;1779;p51">
              <a:extLst>
                <a:ext uri="{FF2B5EF4-FFF2-40B4-BE49-F238E27FC236}">
                  <a16:creationId xmlns:a16="http://schemas.microsoft.com/office/drawing/2014/main" id="{C6136361-ED8C-187E-9DB5-E33E5A3257A7}"/>
                </a:ext>
              </a:extLst>
            </p:cNvPr>
            <p:cNvSpPr/>
            <p:nvPr/>
          </p:nvSpPr>
          <p:spPr>
            <a:xfrm>
              <a:off x="3150175" y="2381375"/>
              <a:ext cx="55050" cy="78425"/>
            </a:xfrm>
            <a:custGeom>
              <a:avLst/>
              <a:gdLst/>
              <a:ahLst/>
              <a:cxnLst/>
              <a:rect l="l" t="t" r="r" b="b"/>
              <a:pathLst>
                <a:path w="2202" h="3137" extrusionOk="0">
                  <a:moveTo>
                    <a:pt x="1635" y="1"/>
                  </a:moveTo>
                  <a:lnTo>
                    <a:pt x="0" y="2169"/>
                  </a:lnTo>
                  <a:cubicBezTo>
                    <a:pt x="167" y="2469"/>
                    <a:pt x="301" y="2803"/>
                    <a:pt x="434" y="3136"/>
                  </a:cubicBezTo>
                  <a:cubicBezTo>
                    <a:pt x="1168" y="2836"/>
                    <a:pt x="2202" y="1935"/>
                    <a:pt x="2169" y="1068"/>
                  </a:cubicBezTo>
                  <a:cubicBezTo>
                    <a:pt x="2068" y="668"/>
                    <a:pt x="1902" y="301"/>
                    <a:pt x="1635" y="1"/>
                  </a:cubicBez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 name="Google Shape;1780;p51">
              <a:extLst>
                <a:ext uri="{FF2B5EF4-FFF2-40B4-BE49-F238E27FC236}">
                  <a16:creationId xmlns:a16="http://schemas.microsoft.com/office/drawing/2014/main" id="{D343E949-3D6C-83B2-7533-9D5068346BEA}"/>
                </a:ext>
              </a:extLst>
            </p:cNvPr>
            <p:cNvSpPr/>
            <p:nvPr/>
          </p:nvSpPr>
          <p:spPr>
            <a:xfrm>
              <a:off x="2983375" y="2157250"/>
              <a:ext cx="264400" cy="292925"/>
            </a:xfrm>
            <a:custGeom>
              <a:avLst/>
              <a:gdLst/>
              <a:ahLst/>
              <a:cxnLst/>
              <a:rect l="l" t="t" r="r" b="b"/>
              <a:pathLst>
                <a:path w="10576" h="11717" extrusionOk="0">
                  <a:moveTo>
                    <a:pt x="5192" y="0"/>
                  </a:moveTo>
                  <a:cubicBezTo>
                    <a:pt x="4186" y="0"/>
                    <a:pt x="3165" y="358"/>
                    <a:pt x="2336" y="1127"/>
                  </a:cubicBezTo>
                  <a:cubicBezTo>
                    <a:pt x="1" y="3328"/>
                    <a:pt x="1202" y="7731"/>
                    <a:pt x="2803" y="10033"/>
                  </a:cubicBezTo>
                  <a:cubicBezTo>
                    <a:pt x="3577" y="11172"/>
                    <a:pt x="4735" y="11717"/>
                    <a:pt x="5904" y="11717"/>
                  </a:cubicBezTo>
                  <a:cubicBezTo>
                    <a:pt x="7405" y="11717"/>
                    <a:pt x="8924" y="10820"/>
                    <a:pt x="9674" y="9132"/>
                  </a:cubicBezTo>
                  <a:cubicBezTo>
                    <a:pt x="10575" y="7098"/>
                    <a:pt x="10108" y="5897"/>
                    <a:pt x="9207" y="2961"/>
                  </a:cubicBezTo>
                  <a:cubicBezTo>
                    <a:pt x="8636" y="1078"/>
                    <a:pt x="6937" y="0"/>
                    <a:pt x="5192" y="0"/>
                  </a:cubicBezTo>
                  <a:close/>
                </a:path>
              </a:pathLst>
            </a:custGeom>
            <a:solidFill>
              <a:srgbClr val="FF8B7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 name="Google Shape;1781;p51">
              <a:extLst>
                <a:ext uri="{FF2B5EF4-FFF2-40B4-BE49-F238E27FC236}">
                  <a16:creationId xmlns:a16="http://schemas.microsoft.com/office/drawing/2014/main" id="{26CB35F4-92A7-24DE-54EB-2EAD89079CCC}"/>
                </a:ext>
              </a:extLst>
            </p:cNvPr>
            <p:cNvSpPr/>
            <p:nvPr/>
          </p:nvSpPr>
          <p:spPr>
            <a:xfrm>
              <a:off x="2966700" y="2954300"/>
              <a:ext cx="398650" cy="1532775"/>
            </a:xfrm>
            <a:custGeom>
              <a:avLst/>
              <a:gdLst/>
              <a:ahLst/>
              <a:cxnLst/>
              <a:rect l="l" t="t" r="r" b="b"/>
              <a:pathLst>
                <a:path w="15946" h="61311" extrusionOk="0">
                  <a:moveTo>
                    <a:pt x="15945" y="0"/>
                  </a:moveTo>
                  <a:lnTo>
                    <a:pt x="7006" y="2001"/>
                  </a:lnTo>
                  <a:cubicBezTo>
                    <a:pt x="7006" y="2001"/>
                    <a:pt x="1" y="19848"/>
                    <a:pt x="201" y="29254"/>
                  </a:cubicBezTo>
                  <a:cubicBezTo>
                    <a:pt x="434" y="39028"/>
                    <a:pt x="4004" y="61311"/>
                    <a:pt x="4004" y="61311"/>
                  </a:cubicBezTo>
                  <a:lnTo>
                    <a:pt x="8173" y="61311"/>
                  </a:lnTo>
                  <a:cubicBezTo>
                    <a:pt x="8173" y="61311"/>
                    <a:pt x="7506" y="39595"/>
                    <a:pt x="7873" y="30021"/>
                  </a:cubicBezTo>
                  <a:cubicBezTo>
                    <a:pt x="8307" y="19547"/>
                    <a:pt x="15945" y="0"/>
                    <a:pt x="15945"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 name="Google Shape;1782;p51">
              <a:extLst>
                <a:ext uri="{FF2B5EF4-FFF2-40B4-BE49-F238E27FC236}">
                  <a16:creationId xmlns:a16="http://schemas.microsoft.com/office/drawing/2014/main" id="{9BD22A85-AA9D-89CF-AD40-383E3099E3FD}"/>
                </a:ext>
              </a:extLst>
            </p:cNvPr>
            <p:cNvSpPr/>
            <p:nvPr/>
          </p:nvSpPr>
          <p:spPr>
            <a:xfrm>
              <a:off x="2966700" y="2954300"/>
              <a:ext cx="398650" cy="1532775"/>
            </a:xfrm>
            <a:custGeom>
              <a:avLst/>
              <a:gdLst/>
              <a:ahLst/>
              <a:cxnLst/>
              <a:rect l="l" t="t" r="r" b="b"/>
              <a:pathLst>
                <a:path w="15946" h="61311" extrusionOk="0">
                  <a:moveTo>
                    <a:pt x="15945" y="0"/>
                  </a:moveTo>
                  <a:lnTo>
                    <a:pt x="7006" y="2001"/>
                  </a:lnTo>
                  <a:cubicBezTo>
                    <a:pt x="7006" y="2001"/>
                    <a:pt x="1" y="19848"/>
                    <a:pt x="201" y="29254"/>
                  </a:cubicBezTo>
                  <a:cubicBezTo>
                    <a:pt x="434" y="39028"/>
                    <a:pt x="4004" y="61311"/>
                    <a:pt x="4004" y="61311"/>
                  </a:cubicBezTo>
                  <a:lnTo>
                    <a:pt x="8173" y="61311"/>
                  </a:lnTo>
                  <a:cubicBezTo>
                    <a:pt x="8173" y="61311"/>
                    <a:pt x="7506" y="39595"/>
                    <a:pt x="7873" y="30021"/>
                  </a:cubicBezTo>
                  <a:cubicBezTo>
                    <a:pt x="8307" y="19547"/>
                    <a:pt x="15945" y="0"/>
                    <a:pt x="15945" y="0"/>
                  </a:cubicBez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1" name="Google Shape;1783;p51">
              <a:extLst>
                <a:ext uri="{FF2B5EF4-FFF2-40B4-BE49-F238E27FC236}">
                  <a16:creationId xmlns:a16="http://schemas.microsoft.com/office/drawing/2014/main" id="{5252DEA1-4261-3BC4-78B6-22559B8A0D23}"/>
                </a:ext>
              </a:extLst>
            </p:cNvPr>
            <p:cNvSpPr/>
            <p:nvPr/>
          </p:nvSpPr>
          <p:spPr>
            <a:xfrm>
              <a:off x="3048425" y="4447025"/>
              <a:ext cx="136800" cy="43375"/>
            </a:xfrm>
            <a:custGeom>
              <a:avLst/>
              <a:gdLst/>
              <a:ahLst/>
              <a:cxnLst/>
              <a:rect l="l" t="t" r="r" b="b"/>
              <a:pathLst>
                <a:path w="5472" h="1735" extrusionOk="0">
                  <a:moveTo>
                    <a:pt x="5471" y="0"/>
                  </a:moveTo>
                  <a:lnTo>
                    <a:pt x="1" y="167"/>
                  </a:lnTo>
                  <a:lnTo>
                    <a:pt x="368" y="1735"/>
                  </a:lnTo>
                  <a:lnTo>
                    <a:pt x="5271" y="1735"/>
                  </a:lnTo>
                  <a:lnTo>
                    <a:pt x="5471" y="0"/>
                  </a:ln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 name="Google Shape;1784;p51">
              <a:extLst>
                <a:ext uri="{FF2B5EF4-FFF2-40B4-BE49-F238E27FC236}">
                  <a16:creationId xmlns:a16="http://schemas.microsoft.com/office/drawing/2014/main" id="{5938F9BF-8D14-F6A3-0034-AC0CB95C5C07}"/>
                </a:ext>
              </a:extLst>
            </p:cNvPr>
            <p:cNvSpPr/>
            <p:nvPr/>
          </p:nvSpPr>
          <p:spPr>
            <a:xfrm>
              <a:off x="3161850" y="3106750"/>
              <a:ext cx="123450" cy="442150"/>
            </a:xfrm>
            <a:custGeom>
              <a:avLst/>
              <a:gdLst/>
              <a:ahLst/>
              <a:cxnLst/>
              <a:rect l="l" t="t" r="r" b="b"/>
              <a:pathLst>
                <a:path w="4938" h="17686" extrusionOk="0">
                  <a:moveTo>
                    <a:pt x="3767" y="0"/>
                  </a:moveTo>
                  <a:cubicBezTo>
                    <a:pt x="3405" y="0"/>
                    <a:pt x="2956" y="426"/>
                    <a:pt x="2402" y="1407"/>
                  </a:cubicBezTo>
                  <a:cubicBezTo>
                    <a:pt x="0" y="5610"/>
                    <a:pt x="234" y="12515"/>
                    <a:pt x="868" y="17686"/>
                  </a:cubicBezTo>
                  <a:cubicBezTo>
                    <a:pt x="1935" y="12682"/>
                    <a:pt x="3269" y="7745"/>
                    <a:pt x="4937" y="2908"/>
                  </a:cubicBezTo>
                  <a:cubicBezTo>
                    <a:pt x="4729" y="1163"/>
                    <a:pt x="4366" y="0"/>
                    <a:pt x="3767" y="0"/>
                  </a:cubicBez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 name="Google Shape;1785;p51">
              <a:extLst>
                <a:ext uri="{FF2B5EF4-FFF2-40B4-BE49-F238E27FC236}">
                  <a16:creationId xmlns:a16="http://schemas.microsoft.com/office/drawing/2014/main" id="{22CA0656-1A70-DB66-5F7C-5D514F8D3A92}"/>
                </a:ext>
              </a:extLst>
            </p:cNvPr>
            <p:cNvSpPr/>
            <p:nvPr/>
          </p:nvSpPr>
          <p:spPr>
            <a:xfrm>
              <a:off x="3181025" y="2935100"/>
              <a:ext cx="390300" cy="1459400"/>
            </a:xfrm>
            <a:custGeom>
              <a:avLst/>
              <a:gdLst/>
              <a:ahLst/>
              <a:cxnLst/>
              <a:rect l="l" t="t" r="r" b="b"/>
              <a:pathLst>
                <a:path w="15612" h="58376" extrusionOk="0">
                  <a:moveTo>
                    <a:pt x="10641" y="1"/>
                  </a:moveTo>
                  <a:lnTo>
                    <a:pt x="1668" y="2036"/>
                  </a:lnTo>
                  <a:cubicBezTo>
                    <a:pt x="1668" y="2036"/>
                    <a:pt x="1" y="21550"/>
                    <a:pt x="2135" y="29489"/>
                  </a:cubicBezTo>
                  <a:cubicBezTo>
                    <a:pt x="4671" y="38895"/>
                    <a:pt x="11475" y="58376"/>
                    <a:pt x="11475" y="58376"/>
                  </a:cubicBezTo>
                  <a:lnTo>
                    <a:pt x="15612" y="57575"/>
                  </a:lnTo>
                  <a:cubicBezTo>
                    <a:pt x="15612" y="57575"/>
                    <a:pt x="12276" y="35059"/>
                    <a:pt x="10308" y="30122"/>
                  </a:cubicBezTo>
                  <a:cubicBezTo>
                    <a:pt x="6172" y="19548"/>
                    <a:pt x="15412" y="6005"/>
                    <a:pt x="10641" y="1"/>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 name="Google Shape;1786;p51">
              <a:extLst>
                <a:ext uri="{FF2B5EF4-FFF2-40B4-BE49-F238E27FC236}">
                  <a16:creationId xmlns:a16="http://schemas.microsoft.com/office/drawing/2014/main" id="{886CC0C7-233F-B61C-37AB-7F51F312166E}"/>
                </a:ext>
              </a:extLst>
            </p:cNvPr>
            <p:cNvSpPr/>
            <p:nvPr/>
          </p:nvSpPr>
          <p:spPr>
            <a:xfrm>
              <a:off x="3181025" y="2935100"/>
              <a:ext cx="390300" cy="1459400"/>
            </a:xfrm>
            <a:custGeom>
              <a:avLst/>
              <a:gdLst/>
              <a:ahLst/>
              <a:cxnLst/>
              <a:rect l="l" t="t" r="r" b="b"/>
              <a:pathLst>
                <a:path w="15612" h="58376" extrusionOk="0">
                  <a:moveTo>
                    <a:pt x="10641" y="1"/>
                  </a:moveTo>
                  <a:lnTo>
                    <a:pt x="1668" y="2036"/>
                  </a:lnTo>
                  <a:cubicBezTo>
                    <a:pt x="1668" y="2036"/>
                    <a:pt x="1" y="21550"/>
                    <a:pt x="2135" y="29489"/>
                  </a:cubicBezTo>
                  <a:cubicBezTo>
                    <a:pt x="4671" y="38895"/>
                    <a:pt x="11475" y="58376"/>
                    <a:pt x="11475" y="58376"/>
                  </a:cubicBezTo>
                  <a:lnTo>
                    <a:pt x="15612" y="57575"/>
                  </a:lnTo>
                  <a:cubicBezTo>
                    <a:pt x="15612" y="57575"/>
                    <a:pt x="12276" y="35059"/>
                    <a:pt x="10308" y="30122"/>
                  </a:cubicBezTo>
                  <a:cubicBezTo>
                    <a:pt x="6172" y="19548"/>
                    <a:pt x="15412" y="6005"/>
                    <a:pt x="10641" y="1"/>
                  </a:cubicBez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 name="Google Shape;1787;p51">
              <a:extLst>
                <a:ext uri="{FF2B5EF4-FFF2-40B4-BE49-F238E27FC236}">
                  <a16:creationId xmlns:a16="http://schemas.microsoft.com/office/drawing/2014/main" id="{98908A55-68B4-8A3B-2325-D4BFE8276FB4}"/>
                </a:ext>
              </a:extLst>
            </p:cNvPr>
            <p:cNvSpPr/>
            <p:nvPr/>
          </p:nvSpPr>
          <p:spPr>
            <a:xfrm>
              <a:off x="3434550" y="4328600"/>
              <a:ext cx="149300" cy="74250"/>
            </a:xfrm>
            <a:custGeom>
              <a:avLst/>
              <a:gdLst/>
              <a:ahLst/>
              <a:cxnLst/>
              <a:rect l="l" t="t" r="r" b="b"/>
              <a:pathLst>
                <a:path w="5972" h="2970" extrusionOk="0">
                  <a:moveTo>
                    <a:pt x="5938" y="1"/>
                  </a:moveTo>
                  <a:lnTo>
                    <a:pt x="0" y="1468"/>
                  </a:lnTo>
                  <a:lnTo>
                    <a:pt x="834" y="2969"/>
                  </a:lnTo>
                  <a:lnTo>
                    <a:pt x="5971" y="1935"/>
                  </a:lnTo>
                  <a:lnTo>
                    <a:pt x="5938" y="1"/>
                  </a:ln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 name="Google Shape;1788;p51">
              <a:extLst>
                <a:ext uri="{FF2B5EF4-FFF2-40B4-BE49-F238E27FC236}">
                  <a16:creationId xmlns:a16="http://schemas.microsoft.com/office/drawing/2014/main" id="{DF4D0FB8-6850-436F-187D-333C130AB518}"/>
                </a:ext>
              </a:extLst>
            </p:cNvPr>
            <p:cNvSpPr/>
            <p:nvPr/>
          </p:nvSpPr>
          <p:spPr>
            <a:xfrm>
              <a:off x="3091800" y="2285875"/>
              <a:ext cx="17525" cy="21675"/>
            </a:xfrm>
            <a:custGeom>
              <a:avLst/>
              <a:gdLst/>
              <a:ahLst/>
              <a:cxnLst/>
              <a:rect l="l" t="t" r="r" b="b"/>
              <a:pathLst>
                <a:path w="701" h="867" extrusionOk="0">
                  <a:moveTo>
                    <a:pt x="275" y="1"/>
                  </a:moveTo>
                  <a:cubicBezTo>
                    <a:pt x="249" y="1"/>
                    <a:pt x="224" y="6"/>
                    <a:pt x="200" y="18"/>
                  </a:cubicBezTo>
                  <a:cubicBezTo>
                    <a:pt x="34" y="51"/>
                    <a:pt x="0" y="285"/>
                    <a:pt x="67" y="518"/>
                  </a:cubicBezTo>
                  <a:cubicBezTo>
                    <a:pt x="124" y="716"/>
                    <a:pt x="277" y="867"/>
                    <a:pt x="423" y="867"/>
                  </a:cubicBezTo>
                  <a:cubicBezTo>
                    <a:pt x="450" y="867"/>
                    <a:pt x="476" y="862"/>
                    <a:pt x="501" y="852"/>
                  </a:cubicBezTo>
                  <a:cubicBezTo>
                    <a:pt x="634" y="785"/>
                    <a:pt x="701" y="552"/>
                    <a:pt x="601" y="318"/>
                  </a:cubicBezTo>
                  <a:cubicBezTo>
                    <a:pt x="546" y="125"/>
                    <a:pt x="400" y="1"/>
                    <a:pt x="275"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 name="Google Shape;1789;p51">
              <a:extLst>
                <a:ext uri="{FF2B5EF4-FFF2-40B4-BE49-F238E27FC236}">
                  <a16:creationId xmlns:a16="http://schemas.microsoft.com/office/drawing/2014/main" id="{A8B50A5B-F5C4-B131-83CC-416F45DFDBA3}"/>
                </a:ext>
              </a:extLst>
            </p:cNvPr>
            <p:cNvSpPr/>
            <p:nvPr/>
          </p:nvSpPr>
          <p:spPr>
            <a:xfrm>
              <a:off x="3026750" y="2310900"/>
              <a:ext cx="16700" cy="21675"/>
            </a:xfrm>
            <a:custGeom>
              <a:avLst/>
              <a:gdLst/>
              <a:ahLst/>
              <a:cxnLst/>
              <a:rect l="l" t="t" r="r" b="b"/>
              <a:pathLst>
                <a:path w="668" h="867" extrusionOk="0">
                  <a:moveTo>
                    <a:pt x="242" y="0"/>
                  </a:moveTo>
                  <a:cubicBezTo>
                    <a:pt x="216" y="0"/>
                    <a:pt x="191" y="6"/>
                    <a:pt x="167" y="18"/>
                  </a:cubicBezTo>
                  <a:cubicBezTo>
                    <a:pt x="34" y="51"/>
                    <a:pt x="0" y="284"/>
                    <a:pt x="67" y="518"/>
                  </a:cubicBezTo>
                  <a:cubicBezTo>
                    <a:pt x="124" y="716"/>
                    <a:pt x="277" y="866"/>
                    <a:pt x="403" y="866"/>
                  </a:cubicBezTo>
                  <a:cubicBezTo>
                    <a:pt x="426" y="866"/>
                    <a:pt x="447" y="862"/>
                    <a:pt x="467" y="852"/>
                  </a:cubicBezTo>
                  <a:cubicBezTo>
                    <a:pt x="634" y="785"/>
                    <a:pt x="668" y="551"/>
                    <a:pt x="601" y="318"/>
                  </a:cubicBezTo>
                  <a:cubicBezTo>
                    <a:pt x="518" y="125"/>
                    <a:pt x="367" y="0"/>
                    <a:pt x="242"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 name="Google Shape;1790;p51">
              <a:extLst>
                <a:ext uri="{FF2B5EF4-FFF2-40B4-BE49-F238E27FC236}">
                  <a16:creationId xmlns:a16="http://schemas.microsoft.com/office/drawing/2014/main" id="{4D928696-A041-D82B-6986-68EC80D6B884}"/>
                </a:ext>
              </a:extLst>
            </p:cNvPr>
            <p:cNvSpPr/>
            <p:nvPr/>
          </p:nvSpPr>
          <p:spPr>
            <a:xfrm>
              <a:off x="3016750" y="2310500"/>
              <a:ext cx="15850" cy="4950"/>
            </a:xfrm>
            <a:custGeom>
              <a:avLst/>
              <a:gdLst/>
              <a:ahLst/>
              <a:cxnLst/>
              <a:rect l="l" t="t" r="r" b="b"/>
              <a:pathLst>
                <a:path w="634" h="198" extrusionOk="0">
                  <a:moveTo>
                    <a:pt x="634" y="0"/>
                  </a:moveTo>
                  <a:lnTo>
                    <a:pt x="0" y="67"/>
                  </a:lnTo>
                  <a:cubicBezTo>
                    <a:pt x="0" y="67"/>
                    <a:pt x="183" y="197"/>
                    <a:pt x="360" y="197"/>
                  </a:cubicBezTo>
                  <a:cubicBezTo>
                    <a:pt x="467" y="197"/>
                    <a:pt x="571" y="150"/>
                    <a:pt x="634"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 name="Google Shape;1791;p51">
              <a:extLst>
                <a:ext uri="{FF2B5EF4-FFF2-40B4-BE49-F238E27FC236}">
                  <a16:creationId xmlns:a16="http://schemas.microsoft.com/office/drawing/2014/main" id="{7DC78B7F-F5C8-616E-724B-4AD449703622}"/>
                </a:ext>
              </a:extLst>
            </p:cNvPr>
            <p:cNvSpPr/>
            <p:nvPr/>
          </p:nvSpPr>
          <p:spPr>
            <a:xfrm>
              <a:off x="3059275" y="2321325"/>
              <a:ext cx="21700" cy="46225"/>
            </a:xfrm>
            <a:custGeom>
              <a:avLst/>
              <a:gdLst/>
              <a:ahLst/>
              <a:cxnLst/>
              <a:rect l="l" t="t" r="r" b="b"/>
              <a:pathLst>
                <a:path w="868" h="1849" extrusionOk="0">
                  <a:moveTo>
                    <a:pt x="267" y="1"/>
                  </a:moveTo>
                  <a:cubicBezTo>
                    <a:pt x="234" y="601"/>
                    <a:pt x="167" y="1235"/>
                    <a:pt x="0" y="1802"/>
                  </a:cubicBezTo>
                  <a:cubicBezTo>
                    <a:pt x="93" y="1833"/>
                    <a:pt x="189" y="1848"/>
                    <a:pt x="285" y="1848"/>
                  </a:cubicBezTo>
                  <a:cubicBezTo>
                    <a:pt x="498" y="1848"/>
                    <a:pt x="706" y="1774"/>
                    <a:pt x="868" y="1635"/>
                  </a:cubicBezTo>
                  <a:lnTo>
                    <a:pt x="267" y="1"/>
                  </a:lnTo>
                  <a:close/>
                </a:path>
              </a:pathLst>
            </a:custGeom>
            <a:solidFill>
              <a:srgbClr val="FF56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 name="Google Shape;1792;p51">
              <a:extLst>
                <a:ext uri="{FF2B5EF4-FFF2-40B4-BE49-F238E27FC236}">
                  <a16:creationId xmlns:a16="http://schemas.microsoft.com/office/drawing/2014/main" id="{8660F3B9-FCCB-C917-BA0B-21E0554B2EF8}"/>
                </a:ext>
              </a:extLst>
            </p:cNvPr>
            <p:cNvSpPr/>
            <p:nvPr/>
          </p:nvSpPr>
          <p:spPr>
            <a:xfrm>
              <a:off x="3110150" y="2339850"/>
              <a:ext cx="36350" cy="37375"/>
            </a:xfrm>
            <a:custGeom>
              <a:avLst/>
              <a:gdLst/>
              <a:ahLst/>
              <a:cxnLst/>
              <a:rect l="l" t="t" r="r" b="b"/>
              <a:pathLst>
                <a:path w="1454" h="1495" extrusionOk="0">
                  <a:moveTo>
                    <a:pt x="1376" y="0"/>
                  </a:moveTo>
                  <a:cubicBezTo>
                    <a:pt x="1347" y="0"/>
                    <a:pt x="1315" y="19"/>
                    <a:pt x="1301" y="60"/>
                  </a:cubicBezTo>
                  <a:cubicBezTo>
                    <a:pt x="1101" y="661"/>
                    <a:pt x="667" y="1128"/>
                    <a:pt x="67" y="1361"/>
                  </a:cubicBezTo>
                  <a:cubicBezTo>
                    <a:pt x="34" y="1361"/>
                    <a:pt x="0" y="1395"/>
                    <a:pt x="34" y="1461"/>
                  </a:cubicBezTo>
                  <a:cubicBezTo>
                    <a:pt x="34" y="1495"/>
                    <a:pt x="100" y="1495"/>
                    <a:pt x="134" y="1495"/>
                  </a:cubicBezTo>
                  <a:cubicBezTo>
                    <a:pt x="234" y="1461"/>
                    <a:pt x="334" y="1395"/>
                    <a:pt x="467" y="1328"/>
                  </a:cubicBezTo>
                  <a:cubicBezTo>
                    <a:pt x="934" y="1061"/>
                    <a:pt x="1301" y="628"/>
                    <a:pt x="1435" y="94"/>
                  </a:cubicBezTo>
                  <a:cubicBezTo>
                    <a:pt x="1454" y="36"/>
                    <a:pt x="1417" y="0"/>
                    <a:pt x="1376"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 name="Google Shape;1793;p51">
              <a:extLst>
                <a:ext uri="{FF2B5EF4-FFF2-40B4-BE49-F238E27FC236}">
                  <a16:creationId xmlns:a16="http://schemas.microsoft.com/office/drawing/2014/main" id="{F7ED8DEF-6D9A-96DA-A720-C448E386EC1B}"/>
                </a:ext>
              </a:extLst>
            </p:cNvPr>
            <p:cNvSpPr/>
            <p:nvPr/>
          </p:nvSpPr>
          <p:spPr>
            <a:xfrm>
              <a:off x="3071250" y="2141125"/>
              <a:ext cx="217375" cy="153950"/>
            </a:xfrm>
            <a:custGeom>
              <a:avLst/>
              <a:gdLst/>
              <a:ahLst/>
              <a:cxnLst/>
              <a:rect l="l" t="t" r="r" b="b"/>
              <a:pathLst>
                <a:path w="8695" h="6158" extrusionOk="0">
                  <a:moveTo>
                    <a:pt x="3536" y="1"/>
                  </a:moveTo>
                  <a:cubicBezTo>
                    <a:pt x="1680" y="1"/>
                    <a:pt x="0" y="972"/>
                    <a:pt x="522" y="2239"/>
                  </a:cubicBezTo>
                  <a:cubicBezTo>
                    <a:pt x="1340" y="4313"/>
                    <a:pt x="4538" y="6157"/>
                    <a:pt x="6306" y="6157"/>
                  </a:cubicBezTo>
                  <a:cubicBezTo>
                    <a:pt x="6556" y="6157"/>
                    <a:pt x="6778" y="6120"/>
                    <a:pt x="6960" y="6041"/>
                  </a:cubicBezTo>
                  <a:cubicBezTo>
                    <a:pt x="8695" y="5308"/>
                    <a:pt x="8194" y="1538"/>
                    <a:pt x="5426" y="371"/>
                  </a:cubicBezTo>
                  <a:cubicBezTo>
                    <a:pt x="4829" y="115"/>
                    <a:pt x="4172" y="1"/>
                    <a:pt x="3536"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 name="Google Shape;1794;p51">
              <a:extLst>
                <a:ext uri="{FF2B5EF4-FFF2-40B4-BE49-F238E27FC236}">
                  <a16:creationId xmlns:a16="http://schemas.microsoft.com/office/drawing/2014/main" id="{E069A5B1-31E1-F420-18D9-20FAD907AE09}"/>
                </a:ext>
              </a:extLst>
            </p:cNvPr>
            <p:cNvSpPr/>
            <p:nvPr/>
          </p:nvSpPr>
          <p:spPr>
            <a:xfrm>
              <a:off x="2958400" y="2134100"/>
              <a:ext cx="210975" cy="117600"/>
            </a:xfrm>
            <a:custGeom>
              <a:avLst/>
              <a:gdLst/>
              <a:ahLst/>
              <a:cxnLst/>
              <a:rect l="l" t="t" r="r" b="b"/>
              <a:pathLst>
                <a:path w="8439" h="4704" extrusionOk="0">
                  <a:moveTo>
                    <a:pt x="5072" y="0"/>
                  </a:moveTo>
                  <a:cubicBezTo>
                    <a:pt x="3151" y="0"/>
                    <a:pt x="673" y="642"/>
                    <a:pt x="366" y="2219"/>
                  </a:cubicBezTo>
                  <a:cubicBezTo>
                    <a:pt x="0" y="4144"/>
                    <a:pt x="912" y="4703"/>
                    <a:pt x="2082" y="4703"/>
                  </a:cubicBezTo>
                  <a:cubicBezTo>
                    <a:pt x="2939" y="4703"/>
                    <a:pt x="3936" y="4403"/>
                    <a:pt x="4669" y="4121"/>
                  </a:cubicBezTo>
                  <a:cubicBezTo>
                    <a:pt x="6904" y="3220"/>
                    <a:pt x="8439" y="1686"/>
                    <a:pt x="7238" y="485"/>
                  </a:cubicBezTo>
                  <a:cubicBezTo>
                    <a:pt x="6928" y="176"/>
                    <a:pt x="6077" y="0"/>
                    <a:pt x="5072"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 name="Google Shape;1795;p51">
              <a:extLst>
                <a:ext uri="{FF2B5EF4-FFF2-40B4-BE49-F238E27FC236}">
                  <a16:creationId xmlns:a16="http://schemas.microsoft.com/office/drawing/2014/main" id="{7D065AE0-564B-EC6E-2C35-B466D143F496}"/>
                </a:ext>
              </a:extLst>
            </p:cNvPr>
            <p:cNvSpPr/>
            <p:nvPr/>
          </p:nvSpPr>
          <p:spPr>
            <a:xfrm>
              <a:off x="3198550" y="2273250"/>
              <a:ext cx="55625" cy="72575"/>
            </a:xfrm>
            <a:custGeom>
              <a:avLst/>
              <a:gdLst/>
              <a:ahLst/>
              <a:cxnLst/>
              <a:rect l="l" t="t" r="r" b="b"/>
              <a:pathLst>
                <a:path w="2225" h="2903" extrusionOk="0">
                  <a:moveTo>
                    <a:pt x="1159" y="0"/>
                  </a:moveTo>
                  <a:cubicBezTo>
                    <a:pt x="1052" y="0"/>
                    <a:pt x="942" y="18"/>
                    <a:pt x="834" y="56"/>
                  </a:cubicBezTo>
                  <a:cubicBezTo>
                    <a:pt x="133" y="323"/>
                    <a:pt x="0" y="1390"/>
                    <a:pt x="133" y="2057"/>
                  </a:cubicBezTo>
                  <a:cubicBezTo>
                    <a:pt x="224" y="2558"/>
                    <a:pt x="563" y="2903"/>
                    <a:pt x="950" y="2903"/>
                  </a:cubicBezTo>
                  <a:cubicBezTo>
                    <a:pt x="1130" y="2903"/>
                    <a:pt x="1321" y="2828"/>
                    <a:pt x="1501" y="2658"/>
                  </a:cubicBezTo>
                  <a:cubicBezTo>
                    <a:pt x="1901" y="2224"/>
                    <a:pt x="2168" y="1690"/>
                    <a:pt x="2168" y="1090"/>
                  </a:cubicBezTo>
                  <a:cubicBezTo>
                    <a:pt x="2224" y="475"/>
                    <a:pt x="1718" y="0"/>
                    <a:pt x="1159" y="0"/>
                  </a:cubicBezTo>
                  <a:close/>
                </a:path>
              </a:pathLst>
            </a:custGeom>
            <a:solidFill>
              <a:srgbClr val="FF8B7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 name="Google Shape;1796;p51">
              <a:extLst>
                <a:ext uri="{FF2B5EF4-FFF2-40B4-BE49-F238E27FC236}">
                  <a16:creationId xmlns:a16="http://schemas.microsoft.com/office/drawing/2014/main" id="{85E6C213-6C33-E167-434D-ED43745E9BE6}"/>
                </a:ext>
              </a:extLst>
            </p:cNvPr>
            <p:cNvSpPr/>
            <p:nvPr/>
          </p:nvSpPr>
          <p:spPr>
            <a:xfrm>
              <a:off x="3070950" y="2246800"/>
              <a:ext cx="45050" cy="19525"/>
            </a:xfrm>
            <a:custGeom>
              <a:avLst/>
              <a:gdLst/>
              <a:ahLst/>
              <a:cxnLst/>
              <a:rect l="l" t="t" r="r" b="b"/>
              <a:pathLst>
                <a:path w="1802" h="781" extrusionOk="0">
                  <a:moveTo>
                    <a:pt x="416" y="0"/>
                  </a:moveTo>
                  <a:cubicBezTo>
                    <a:pt x="345" y="0"/>
                    <a:pt x="273" y="5"/>
                    <a:pt x="201" y="13"/>
                  </a:cubicBezTo>
                  <a:cubicBezTo>
                    <a:pt x="0" y="46"/>
                    <a:pt x="34" y="313"/>
                    <a:pt x="234" y="313"/>
                  </a:cubicBezTo>
                  <a:cubicBezTo>
                    <a:pt x="303" y="303"/>
                    <a:pt x="372" y="299"/>
                    <a:pt x="440" y="299"/>
                  </a:cubicBezTo>
                  <a:cubicBezTo>
                    <a:pt x="837" y="299"/>
                    <a:pt x="1222" y="458"/>
                    <a:pt x="1535" y="714"/>
                  </a:cubicBezTo>
                  <a:cubicBezTo>
                    <a:pt x="1568" y="780"/>
                    <a:pt x="1635" y="780"/>
                    <a:pt x="1702" y="780"/>
                  </a:cubicBezTo>
                  <a:lnTo>
                    <a:pt x="1768" y="747"/>
                  </a:lnTo>
                  <a:cubicBezTo>
                    <a:pt x="1802" y="680"/>
                    <a:pt x="1802" y="580"/>
                    <a:pt x="1768" y="547"/>
                  </a:cubicBezTo>
                  <a:cubicBezTo>
                    <a:pt x="1390" y="197"/>
                    <a:pt x="910" y="0"/>
                    <a:pt x="416"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 name="Google Shape;1797;p51">
              <a:extLst>
                <a:ext uri="{FF2B5EF4-FFF2-40B4-BE49-F238E27FC236}">
                  <a16:creationId xmlns:a16="http://schemas.microsoft.com/office/drawing/2014/main" id="{8A504CF0-77C3-DB54-3263-91524BEC7E9C}"/>
                </a:ext>
              </a:extLst>
            </p:cNvPr>
            <p:cNvSpPr/>
            <p:nvPr/>
          </p:nvSpPr>
          <p:spPr>
            <a:xfrm>
              <a:off x="2995900" y="2273575"/>
              <a:ext cx="32550" cy="24225"/>
            </a:xfrm>
            <a:custGeom>
              <a:avLst/>
              <a:gdLst/>
              <a:ahLst/>
              <a:cxnLst/>
              <a:rect l="l" t="t" r="r" b="b"/>
              <a:pathLst>
                <a:path w="1302" h="969" extrusionOk="0">
                  <a:moveTo>
                    <a:pt x="1184" y="1"/>
                  </a:moveTo>
                  <a:cubicBezTo>
                    <a:pt x="1169" y="1"/>
                    <a:pt x="1152" y="4"/>
                    <a:pt x="1134" y="10"/>
                  </a:cubicBezTo>
                  <a:cubicBezTo>
                    <a:pt x="667" y="43"/>
                    <a:pt x="267" y="343"/>
                    <a:pt x="34" y="743"/>
                  </a:cubicBezTo>
                  <a:cubicBezTo>
                    <a:pt x="0" y="810"/>
                    <a:pt x="34" y="910"/>
                    <a:pt x="100" y="944"/>
                  </a:cubicBezTo>
                  <a:cubicBezTo>
                    <a:pt x="117" y="960"/>
                    <a:pt x="142" y="969"/>
                    <a:pt x="167" y="969"/>
                  </a:cubicBezTo>
                  <a:cubicBezTo>
                    <a:pt x="192" y="969"/>
                    <a:pt x="217" y="960"/>
                    <a:pt x="234" y="944"/>
                  </a:cubicBezTo>
                  <a:cubicBezTo>
                    <a:pt x="267" y="944"/>
                    <a:pt x="267" y="910"/>
                    <a:pt x="300" y="877"/>
                  </a:cubicBezTo>
                  <a:cubicBezTo>
                    <a:pt x="467" y="543"/>
                    <a:pt x="801" y="343"/>
                    <a:pt x="1168" y="276"/>
                  </a:cubicBezTo>
                  <a:cubicBezTo>
                    <a:pt x="1234" y="276"/>
                    <a:pt x="1301" y="210"/>
                    <a:pt x="1301" y="143"/>
                  </a:cubicBezTo>
                  <a:cubicBezTo>
                    <a:pt x="1301" y="61"/>
                    <a:pt x="1256" y="1"/>
                    <a:pt x="1184"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 name="Google Shape;1798;p51">
              <a:extLst>
                <a:ext uri="{FF2B5EF4-FFF2-40B4-BE49-F238E27FC236}">
                  <a16:creationId xmlns:a16="http://schemas.microsoft.com/office/drawing/2014/main" id="{B8EAB5C3-08BA-DCB7-6537-4F79B58AA790}"/>
                </a:ext>
              </a:extLst>
            </p:cNvPr>
            <p:cNvSpPr/>
            <p:nvPr/>
          </p:nvSpPr>
          <p:spPr>
            <a:xfrm>
              <a:off x="3464550" y="4483250"/>
              <a:ext cx="40900" cy="17925"/>
            </a:xfrm>
            <a:custGeom>
              <a:avLst/>
              <a:gdLst/>
              <a:ahLst/>
              <a:cxnLst/>
              <a:rect l="l" t="t" r="r" b="b"/>
              <a:pathLst>
                <a:path w="1636" h="717" extrusionOk="0">
                  <a:moveTo>
                    <a:pt x="573" y="142"/>
                  </a:moveTo>
                  <a:cubicBezTo>
                    <a:pt x="812" y="142"/>
                    <a:pt x="1118" y="181"/>
                    <a:pt x="1369" y="219"/>
                  </a:cubicBezTo>
                  <a:lnTo>
                    <a:pt x="1402" y="219"/>
                  </a:lnTo>
                  <a:cubicBezTo>
                    <a:pt x="1024" y="471"/>
                    <a:pt x="703" y="590"/>
                    <a:pt x="497" y="590"/>
                  </a:cubicBezTo>
                  <a:cubicBezTo>
                    <a:pt x="430" y="590"/>
                    <a:pt x="375" y="577"/>
                    <a:pt x="335" y="553"/>
                  </a:cubicBezTo>
                  <a:cubicBezTo>
                    <a:pt x="234" y="519"/>
                    <a:pt x="168" y="419"/>
                    <a:pt x="168" y="353"/>
                  </a:cubicBezTo>
                  <a:cubicBezTo>
                    <a:pt x="134" y="286"/>
                    <a:pt x="168" y="253"/>
                    <a:pt x="201" y="219"/>
                  </a:cubicBezTo>
                  <a:cubicBezTo>
                    <a:pt x="258" y="163"/>
                    <a:pt x="397" y="142"/>
                    <a:pt x="573" y="142"/>
                  </a:cubicBezTo>
                  <a:close/>
                  <a:moveTo>
                    <a:pt x="578" y="1"/>
                  </a:moveTo>
                  <a:cubicBezTo>
                    <a:pt x="372" y="1"/>
                    <a:pt x="190" y="30"/>
                    <a:pt x="101" y="119"/>
                  </a:cubicBezTo>
                  <a:cubicBezTo>
                    <a:pt x="34" y="186"/>
                    <a:pt x="1" y="286"/>
                    <a:pt x="34" y="386"/>
                  </a:cubicBezTo>
                  <a:cubicBezTo>
                    <a:pt x="34" y="519"/>
                    <a:pt x="134" y="653"/>
                    <a:pt x="268" y="686"/>
                  </a:cubicBezTo>
                  <a:lnTo>
                    <a:pt x="301" y="686"/>
                  </a:lnTo>
                  <a:cubicBezTo>
                    <a:pt x="359" y="707"/>
                    <a:pt x="423" y="717"/>
                    <a:pt x="491" y="717"/>
                  </a:cubicBezTo>
                  <a:cubicBezTo>
                    <a:pt x="851" y="717"/>
                    <a:pt x="1321" y="449"/>
                    <a:pt x="1602" y="253"/>
                  </a:cubicBezTo>
                  <a:cubicBezTo>
                    <a:pt x="1635" y="253"/>
                    <a:pt x="1635" y="219"/>
                    <a:pt x="1635" y="186"/>
                  </a:cubicBezTo>
                  <a:cubicBezTo>
                    <a:pt x="1635" y="153"/>
                    <a:pt x="1602" y="153"/>
                    <a:pt x="1569" y="119"/>
                  </a:cubicBezTo>
                  <a:cubicBezTo>
                    <a:pt x="1502" y="119"/>
                    <a:pt x="991" y="1"/>
                    <a:pt x="578" y="1"/>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 name="Google Shape;1799;p51">
              <a:extLst>
                <a:ext uri="{FF2B5EF4-FFF2-40B4-BE49-F238E27FC236}">
                  <a16:creationId xmlns:a16="http://schemas.microsoft.com/office/drawing/2014/main" id="{EFC45CC8-F3F0-3487-6126-540864320554}"/>
                </a:ext>
              </a:extLst>
            </p:cNvPr>
            <p:cNvSpPr/>
            <p:nvPr/>
          </p:nvSpPr>
          <p:spPr>
            <a:xfrm>
              <a:off x="3474575" y="4460775"/>
              <a:ext cx="30875" cy="29625"/>
            </a:xfrm>
            <a:custGeom>
              <a:avLst/>
              <a:gdLst/>
              <a:ahLst/>
              <a:cxnLst/>
              <a:rect l="l" t="t" r="r" b="b"/>
              <a:pathLst>
                <a:path w="1235" h="1185" extrusionOk="0">
                  <a:moveTo>
                    <a:pt x="434" y="151"/>
                  </a:moveTo>
                  <a:cubicBezTo>
                    <a:pt x="701" y="284"/>
                    <a:pt x="934" y="718"/>
                    <a:pt x="1034" y="985"/>
                  </a:cubicBezTo>
                  <a:cubicBezTo>
                    <a:pt x="667" y="885"/>
                    <a:pt x="200" y="518"/>
                    <a:pt x="167" y="318"/>
                  </a:cubicBezTo>
                  <a:cubicBezTo>
                    <a:pt x="134" y="284"/>
                    <a:pt x="167" y="218"/>
                    <a:pt x="234" y="184"/>
                  </a:cubicBezTo>
                  <a:cubicBezTo>
                    <a:pt x="267" y="168"/>
                    <a:pt x="300" y="159"/>
                    <a:pt x="334" y="159"/>
                  </a:cubicBezTo>
                  <a:cubicBezTo>
                    <a:pt x="367" y="159"/>
                    <a:pt x="401" y="168"/>
                    <a:pt x="434" y="184"/>
                  </a:cubicBezTo>
                  <a:lnTo>
                    <a:pt x="434" y="151"/>
                  </a:lnTo>
                  <a:close/>
                  <a:moveTo>
                    <a:pt x="334" y="1"/>
                  </a:moveTo>
                  <a:cubicBezTo>
                    <a:pt x="275" y="1"/>
                    <a:pt x="217" y="17"/>
                    <a:pt x="167" y="51"/>
                  </a:cubicBezTo>
                  <a:cubicBezTo>
                    <a:pt x="67" y="84"/>
                    <a:pt x="0" y="184"/>
                    <a:pt x="0" y="318"/>
                  </a:cubicBezTo>
                  <a:cubicBezTo>
                    <a:pt x="67" y="651"/>
                    <a:pt x="667" y="1018"/>
                    <a:pt x="1034" y="1152"/>
                  </a:cubicBezTo>
                  <a:lnTo>
                    <a:pt x="1168" y="1185"/>
                  </a:lnTo>
                  <a:cubicBezTo>
                    <a:pt x="1168" y="1185"/>
                    <a:pt x="1201" y="1152"/>
                    <a:pt x="1234" y="1152"/>
                  </a:cubicBezTo>
                  <a:cubicBezTo>
                    <a:pt x="1234" y="1118"/>
                    <a:pt x="1234" y="1085"/>
                    <a:pt x="1234" y="1085"/>
                  </a:cubicBezTo>
                  <a:cubicBezTo>
                    <a:pt x="1201" y="1052"/>
                    <a:pt x="901" y="218"/>
                    <a:pt x="501" y="51"/>
                  </a:cubicBezTo>
                  <a:cubicBezTo>
                    <a:pt x="451" y="17"/>
                    <a:pt x="392" y="1"/>
                    <a:pt x="334" y="1"/>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 name="Google Shape;1800;p51">
              <a:extLst>
                <a:ext uri="{FF2B5EF4-FFF2-40B4-BE49-F238E27FC236}">
                  <a16:creationId xmlns:a16="http://schemas.microsoft.com/office/drawing/2014/main" id="{C58A88FB-E66D-94ED-1437-259858D1EFCE}"/>
                </a:ext>
              </a:extLst>
            </p:cNvPr>
            <p:cNvSpPr/>
            <p:nvPr/>
          </p:nvSpPr>
          <p:spPr>
            <a:xfrm>
              <a:off x="3031750" y="4575825"/>
              <a:ext cx="48400" cy="19650"/>
            </a:xfrm>
            <a:custGeom>
              <a:avLst/>
              <a:gdLst/>
              <a:ahLst/>
              <a:cxnLst/>
              <a:rect l="l" t="t" r="r" b="b"/>
              <a:pathLst>
                <a:path w="1936" h="786" extrusionOk="0">
                  <a:moveTo>
                    <a:pt x="368" y="152"/>
                  </a:moveTo>
                  <a:cubicBezTo>
                    <a:pt x="801" y="219"/>
                    <a:pt x="1235" y="352"/>
                    <a:pt x="1635" y="552"/>
                  </a:cubicBezTo>
                  <a:cubicBezTo>
                    <a:pt x="1343" y="608"/>
                    <a:pt x="1085" y="635"/>
                    <a:pt x="872" y="635"/>
                  </a:cubicBezTo>
                  <a:cubicBezTo>
                    <a:pt x="575" y="635"/>
                    <a:pt x="365" y="583"/>
                    <a:pt x="267" y="486"/>
                  </a:cubicBezTo>
                  <a:cubicBezTo>
                    <a:pt x="167" y="419"/>
                    <a:pt x="167" y="319"/>
                    <a:pt x="167" y="252"/>
                  </a:cubicBezTo>
                  <a:cubicBezTo>
                    <a:pt x="167" y="219"/>
                    <a:pt x="167" y="186"/>
                    <a:pt x="201" y="186"/>
                  </a:cubicBezTo>
                  <a:cubicBezTo>
                    <a:pt x="267" y="152"/>
                    <a:pt x="301" y="152"/>
                    <a:pt x="368" y="152"/>
                  </a:cubicBezTo>
                  <a:close/>
                  <a:moveTo>
                    <a:pt x="359" y="1"/>
                  </a:moveTo>
                  <a:cubicBezTo>
                    <a:pt x="268" y="1"/>
                    <a:pt x="191" y="16"/>
                    <a:pt x="134" y="52"/>
                  </a:cubicBezTo>
                  <a:cubicBezTo>
                    <a:pt x="67" y="85"/>
                    <a:pt x="34" y="152"/>
                    <a:pt x="1" y="252"/>
                  </a:cubicBezTo>
                  <a:cubicBezTo>
                    <a:pt x="1" y="352"/>
                    <a:pt x="34" y="486"/>
                    <a:pt x="134" y="586"/>
                  </a:cubicBezTo>
                  <a:cubicBezTo>
                    <a:pt x="368" y="719"/>
                    <a:pt x="634" y="786"/>
                    <a:pt x="901" y="786"/>
                  </a:cubicBezTo>
                  <a:cubicBezTo>
                    <a:pt x="1201" y="786"/>
                    <a:pt x="1535" y="719"/>
                    <a:pt x="1869" y="653"/>
                  </a:cubicBezTo>
                  <a:cubicBezTo>
                    <a:pt x="1902" y="653"/>
                    <a:pt x="1902" y="653"/>
                    <a:pt x="1935" y="619"/>
                  </a:cubicBezTo>
                  <a:cubicBezTo>
                    <a:pt x="1935" y="586"/>
                    <a:pt x="1902" y="552"/>
                    <a:pt x="1869" y="519"/>
                  </a:cubicBezTo>
                  <a:cubicBezTo>
                    <a:pt x="1756" y="463"/>
                    <a:pt x="856" y="1"/>
                    <a:pt x="359" y="1"/>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 name="Google Shape;1801;p51">
              <a:extLst>
                <a:ext uri="{FF2B5EF4-FFF2-40B4-BE49-F238E27FC236}">
                  <a16:creationId xmlns:a16="http://schemas.microsoft.com/office/drawing/2014/main" id="{DEB46CAA-3769-0C92-B1B7-69EF685BFE98}"/>
                </a:ext>
              </a:extLst>
            </p:cNvPr>
            <p:cNvSpPr/>
            <p:nvPr/>
          </p:nvSpPr>
          <p:spPr>
            <a:xfrm>
              <a:off x="3050100" y="4557725"/>
              <a:ext cx="30050" cy="35250"/>
            </a:xfrm>
            <a:custGeom>
              <a:avLst/>
              <a:gdLst/>
              <a:ahLst/>
              <a:cxnLst/>
              <a:rect l="l" t="t" r="r" b="b"/>
              <a:pathLst>
                <a:path w="1202" h="1410" extrusionOk="0">
                  <a:moveTo>
                    <a:pt x="367" y="142"/>
                  </a:moveTo>
                  <a:cubicBezTo>
                    <a:pt x="467" y="142"/>
                    <a:pt x="568" y="176"/>
                    <a:pt x="634" y="242"/>
                  </a:cubicBezTo>
                  <a:cubicBezTo>
                    <a:pt x="868" y="509"/>
                    <a:pt x="1001" y="843"/>
                    <a:pt x="1035" y="1176"/>
                  </a:cubicBezTo>
                  <a:cubicBezTo>
                    <a:pt x="634" y="976"/>
                    <a:pt x="167" y="443"/>
                    <a:pt x="201" y="242"/>
                  </a:cubicBezTo>
                  <a:cubicBezTo>
                    <a:pt x="201" y="209"/>
                    <a:pt x="201" y="142"/>
                    <a:pt x="334" y="142"/>
                  </a:cubicBezTo>
                  <a:close/>
                  <a:moveTo>
                    <a:pt x="389" y="0"/>
                  </a:moveTo>
                  <a:cubicBezTo>
                    <a:pt x="360" y="0"/>
                    <a:pt x="330" y="3"/>
                    <a:pt x="301" y="9"/>
                  </a:cubicBezTo>
                  <a:cubicBezTo>
                    <a:pt x="134" y="42"/>
                    <a:pt x="34" y="142"/>
                    <a:pt x="34" y="209"/>
                  </a:cubicBezTo>
                  <a:cubicBezTo>
                    <a:pt x="0" y="576"/>
                    <a:pt x="701" y="1243"/>
                    <a:pt x="1068" y="1410"/>
                  </a:cubicBezTo>
                  <a:lnTo>
                    <a:pt x="1101" y="1410"/>
                  </a:lnTo>
                  <a:cubicBezTo>
                    <a:pt x="1135" y="1410"/>
                    <a:pt x="1135" y="1410"/>
                    <a:pt x="1168" y="1377"/>
                  </a:cubicBezTo>
                  <a:cubicBezTo>
                    <a:pt x="1201" y="1377"/>
                    <a:pt x="1201" y="1343"/>
                    <a:pt x="1201" y="1310"/>
                  </a:cubicBezTo>
                  <a:cubicBezTo>
                    <a:pt x="1201" y="1276"/>
                    <a:pt x="1135" y="443"/>
                    <a:pt x="734" y="142"/>
                  </a:cubicBezTo>
                  <a:cubicBezTo>
                    <a:pt x="652" y="60"/>
                    <a:pt x="524" y="0"/>
                    <a:pt x="389"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 name="Google Shape;1802;p51">
              <a:extLst>
                <a:ext uri="{FF2B5EF4-FFF2-40B4-BE49-F238E27FC236}">
                  <a16:creationId xmlns:a16="http://schemas.microsoft.com/office/drawing/2014/main" id="{8AF22D12-8851-A279-31EE-1E0BB65FB392}"/>
                </a:ext>
              </a:extLst>
            </p:cNvPr>
            <p:cNvSpPr/>
            <p:nvPr/>
          </p:nvSpPr>
          <p:spPr>
            <a:xfrm>
              <a:off x="3082625" y="2285475"/>
              <a:ext cx="15025" cy="4950"/>
            </a:xfrm>
            <a:custGeom>
              <a:avLst/>
              <a:gdLst/>
              <a:ahLst/>
              <a:cxnLst/>
              <a:rect l="l" t="t" r="r" b="b"/>
              <a:pathLst>
                <a:path w="601" h="198" extrusionOk="0">
                  <a:moveTo>
                    <a:pt x="601" y="1"/>
                  </a:moveTo>
                  <a:lnTo>
                    <a:pt x="0" y="67"/>
                  </a:lnTo>
                  <a:cubicBezTo>
                    <a:pt x="0" y="67"/>
                    <a:pt x="170" y="198"/>
                    <a:pt x="338" y="198"/>
                  </a:cubicBezTo>
                  <a:cubicBezTo>
                    <a:pt x="438" y="198"/>
                    <a:pt x="538" y="151"/>
                    <a:pt x="601"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 name="Google Shape;1803;p51">
              <a:extLst>
                <a:ext uri="{FF2B5EF4-FFF2-40B4-BE49-F238E27FC236}">
                  <a16:creationId xmlns:a16="http://schemas.microsoft.com/office/drawing/2014/main" id="{637C0ED3-EA0C-B485-E3F4-DF0BF51E72B6}"/>
                </a:ext>
              </a:extLst>
            </p:cNvPr>
            <p:cNvSpPr/>
            <p:nvPr/>
          </p:nvSpPr>
          <p:spPr>
            <a:xfrm>
              <a:off x="3127650" y="2914775"/>
              <a:ext cx="335275" cy="104075"/>
            </a:xfrm>
            <a:custGeom>
              <a:avLst/>
              <a:gdLst/>
              <a:ahLst/>
              <a:cxnLst/>
              <a:rect l="l" t="t" r="r" b="b"/>
              <a:pathLst>
                <a:path w="13411" h="4163" extrusionOk="0">
                  <a:moveTo>
                    <a:pt x="12617" y="0"/>
                  </a:moveTo>
                  <a:cubicBezTo>
                    <a:pt x="12594" y="0"/>
                    <a:pt x="12570" y="4"/>
                    <a:pt x="12543" y="13"/>
                  </a:cubicBezTo>
                  <a:lnTo>
                    <a:pt x="201" y="2815"/>
                  </a:lnTo>
                  <a:cubicBezTo>
                    <a:pt x="67" y="2849"/>
                    <a:pt x="1" y="2949"/>
                    <a:pt x="34" y="3015"/>
                  </a:cubicBezTo>
                  <a:lnTo>
                    <a:pt x="368" y="4083"/>
                  </a:lnTo>
                  <a:cubicBezTo>
                    <a:pt x="392" y="4132"/>
                    <a:pt x="452" y="4163"/>
                    <a:pt x="535" y="4163"/>
                  </a:cubicBezTo>
                  <a:cubicBezTo>
                    <a:pt x="565" y="4163"/>
                    <a:pt x="599" y="4158"/>
                    <a:pt x="634" y="4150"/>
                  </a:cubicBezTo>
                  <a:lnTo>
                    <a:pt x="13177" y="1314"/>
                  </a:lnTo>
                  <a:cubicBezTo>
                    <a:pt x="13344" y="1281"/>
                    <a:pt x="13410" y="1147"/>
                    <a:pt x="13344" y="1081"/>
                  </a:cubicBezTo>
                  <a:lnTo>
                    <a:pt x="12776" y="80"/>
                  </a:lnTo>
                  <a:cubicBezTo>
                    <a:pt x="12728" y="31"/>
                    <a:pt x="12679" y="0"/>
                    <a:pt x="12617"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 name="Google Shape;1804;p51">
              <a:extLst>
                <a:ext uri="{FF2B5EF4-FFF2-40B4-BE49-F238E27FC236}">
                  <a16:creationId xmlns:a16="http://schemas.microsoft.com/office/drawing/2014/main" id="{8994F058-B93D-0821-5739-FE682988EA03}"/>
                </a:ext>
              </a:extLst>
            </p:cNvPr>
            <p:cNvSpPr/>
            <p:nvPr/>
          </p:nvSpPr>
          <p:spPr>
            <a:xfrm>
              <a:off x="3397025" y="2920100"/>
              <a:ext cx="26700" cy="40875"/>
            </a:xfrm>
            <a:custGeom>
              <a:avLst/>
              <a:gdLst/>
              <a:ahLst/>
              <a:cxnLst/>
              <a:rect l="l" t="t" r="r" b="b"/>
              <a:pathLst>
                <a:path w="1068" h="1635" extrusionOk="0">
                  <a:moveTo>
                    <a:pt x="434" y="0"/>
                  </a:moveTo>
                  <a:lnTo>
                    <a:pt x="100" y="100"/>
                  </a:lnTo>
                  <a:cubicBezTo>
                    <a:pt x="33" y="100"/>
                    <a:pt x="0" y="134"/>
                    <a:pt x="0" y="200"/>
                  </a:cubicBezTo>
                  <a:lnTo>
                    <a:pt x="500" y="1568"/>
                  </a:lnTo>
                  <a:cubicBezTo>
                    <a:pt x="500" y="1602"/>
                    <a:pt x="567" y="1635"/>
                    <a:pt x="634" y="1635"/>
                  </a:cubicBezTo>
                  <a:lnTo>
                    <a:pt x="967" y="1535"/>
                  </a:lnTo>
                  <a:cubicBezTo>
                    <a:pt x="1034" y="1535"/>
                    <a:pt x="1067" y="1501"/>
                    <a:pt x="1067" y="1435"/>
                  </a:cubicBezTo>
                  <a:lnTo>
                    <a:pt x="567" y="67"/>
                  </a:lnTo>
                  <a:cubicBezTo>
                    <a:pt x="534" y="0"/>
                    <a:pt x="500" y="0"/>
                    <a:pt x="434"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 name="Google Shape;1805;p51">
              <a:extLst>
                <a:ext uri="{FF2B5EF4-FFF2-40B4-BE49-F238E27FC236}">
                  <a16:creationId xmlns:a16="http://schemas.microsoft.com/office/drawing/2014/main" id="{D1B20770-A869-9D4B-B208-A70CBCB040A9}"/>
                </a:ext>
              </a:extLst>
            </p:cNvPr>
            <p:cNvSpPr/>
            <p:nvPr/>
          </p:nvSpPr>
          <p:spPr>
            <a:xfrm>
              <a:off x="3397025" y="2920100"/>
              <a:ext cx="26700" cy="40875"/>
            </a:xfrm>
            <a:custGeom>
              <a:avLst/>
              <a:gdLst/>
              <a:ahLst/>
              <a:cxnLst/>
              <a:rect l="l" t="t" r="r" b="b"/>
              <a:pathLst>
                <a:path w="1068" h="1635" extrusionOk="0">
                  <a:moveTo>
                    <a:pt x="434" y="0"/>
                  </a:moveTo>
                  <a:lnTo>
                    <a:pt x="100" y="100"/>
                  </a:lnTo>
                  <a:cubicBezTo>
                    <a:pt x="33" y="100"/>
                    <a:pt x="0" y="134"/>
                    <a:pt x="0" y="200"/>
                  </a:cubicBezTo>
                  <a:lnTo>
                    <a:pt x="500" y="1568"/>
                  </a:lnTo>
                  <a:cubicBezTo>
                    <a:pt x="500" y="1602"/>
                    <a:pt x="567" y="1635"/>
                    <a:pt x="634" y="1635"/>
                  </a:cubicBezTo>
                  <a:lnTo>
                    <a:pt x="967" y="1535"/>
                  </a:lnTo>
                  <a:cubicBezTo>
                    <a:pt x="1034" y="1535"/>
                    <a:pt x="1067" y="1501"/>
                    <a:pt x="1067" y="1435"/>
                  </a:cubicBezTo>
                  <a:lnTo>
                    <a:pt x="567" y="67"/>
                  </a:lnTo>
                  <a:cubicBezTo>
                    <a:pt x="534" y="0"/>
                    <a:pt x="500" y="0"/>
                    <a:pt x="434" y="0"/>
                  </a:cubicBez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 name="Google Shape;1806;p51">
              <a:extLst>
                <a:ext uri="{FF2B5EF4-FFF2-40B4-BE49-F238E27FC236}">
                  <a16:creationId xmlns:a16="http://schemas.microsoft.com/office/drawing/2014/main" id="{CDA2949E-65E8-7F34-7B01-AB90505E8238}"/>
                </a:ext>
              </a:extLst>
            </p:cNvPr>
            <p:cNvSpPr/>
            <p:nvPr/>
          </p:nvSpPr>
          <p:spPr>
            <a:xfrm>
              <a:off x="3151850" y="2975975"/>
              <a:ext cx="26700" cy="40875"/>
            </a:xfrm>
            <a:custGeom>
              <a:avLst/>
              <a:gdLst/>
              <a:ahLst/>
              <a:cxnLst/>
              <a:rect l="l" t="t" r="r" b="b"/>
              <a:pathLst>
                <a:path w="1068" h="1635" extrusionOk="0">
                  <a:moveTo>
                    <a:pt x="434" y="0"/>
                  </a:moveTo>
                  <a:lnTo>
                    <a:pt x="100" y="100"/>
                  </a:lnTo>
                  <a:cubicBezTo>
                    <a:pt x="33" y="100"/>
                    <a:pt x="0" y="167"/>
                    <a:pt x="0" y="200"/>
                  </a:cubicBezTo>
                  <a:lnTo>
                    <a:pt x="467" y="1568"/>
                  </a:lnTo>
                  <a:cubicBezTo>
                    <a:pt x="500" y="1635"/>
                    <a:pt x="567" y="1635"/>
                    <a:pt x="634" y="1635"/>
                  </a:cubicBezTo>
                  <a:lnTo>
                    <a:pt x="967" y="1535"/>
                  </a:lnTo>
                  <a:cubicBezTo>
                    <a:pt x="1034" y="1535"/>
                    <a:pt x="1067" y="1501"/>
                    <a:pt x="1067" y="1435"/>
                  </a:cubicBezTo>
                  <a:lnTo>
                    <a:pt x="567" y="67"/>
                  </a:lnTo>
                  <a:cubicBezTo>
                    <a:pt x="534" y="0"/>
                    <a:pt x="467" y="0"/>
                    <a:pt x="434"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 name="Google Shape;1807;p51">
              <a:extLst>
                <a:ext uri="{FF2B5EF4-FFF2-40B4-BE49-F238E27FC236}">
                  <a16:creationId xmlns:a16="http://schemas.microsoft.com/office/drawing/2014/main" id="{1241D119-BC62-70A3-DE9C-CDE803BC76E5}"/>
                </a:ext>
              </a:extLst>
            </p:cNvPr>
            <p:cNvSpPr/>
            <p:nvPr/>
          </p:nvSpPr>
          <p:spPr>
            <a:xfrm>
              <a:off x="3151850" y="2975975"/>
              <a:ext cx="26700" cy="40875"/>
            </a:xfrm>
            <a:custGeom>
              <a:avLst/>
              <a:gdLst/>
              <a:ahLst/>
              <a:cxnLst/>
              <a:rect l="l" t="t" r="r" b="b"/>
              <a:pathLst>
                <a:path w="1068" h="1635" extrusionOk="0">
                  <a:moveTo>
                    <a:pt x="434" y="0"/>
                  </a:moveTo>
                  <a:lnTo>
                    <a:pt x="100" y="100"/>
                  </a:lnTo>
                  <a:cubicBezTo>
                    <a:pt x="33" y="100"/>
                    <a:pt x="0" y="167"/>
                    <a:pt x="0" y="200"/>
                  </a:cubicBezTo>
                  <a:lnTo>
                    <a:pt x="467" y="1568"/>
                  </a:lnTo>
                  <a:cubicBezTo>
                    <a:pt x="500" y="1635"/>
                    <a:pt x="567" y="1635"/>
                    <a:pt x="634" y="1635"/>
                  </a:cubicBezTo>
                  <a:lnTo>
                    <a:pt x="967" y="1535"/>
                  </a:lnTo>
                  <a:cubicBezTo>
                    <a:pt x="1034" y="1535"/>
                    <a:pt x="1067" y="1501"/>
                    <a:pt x="1067" y="1435"/>
                  </a:cubicBezTo>
                  <a:lnTo>
                    <a:pt x="567" y="67"/>
                  </a:lnTo>
                  <a:cubicBezTo>
                    <a:pt x="534" y="0"/>
                    <a:pt x="467" y="0"/>
                    <a:pt x="434" y="0"/>
                  </a:cubicBez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 name="Google Shape;1808;p51">
              <a:extLst>
                <a:ext uri="{FF2B5EF4-FFF2-40B4-BE49-F238E27FC236}">
                  <a16:creationId xmlns:a16="http://schemas.microsoft.com/office/drawing/2014/main" id="{AA329285-BF2C-56F6-26D5-7A748745C3F6}"/>
                </a:ext>
              </a:extLst>
            </p:cNvPr>
            <p:cNvSpPr/>
            <p:nvPr/>
          </p:nvSpPr>
          <p:spPr>
            <a:xfrm>
              <a:off x="3273600" y="2948450"/>
              <a:ext cx="26700" cy="40400"/>
            </a:xfrm>
            <a:custGeom>
              <a:avLst/>
              <a:gdLst/>
              <a:ahLst/>
              <a:cxnLst/>
              <a:rect l="l" t="t" r="r" b="b"/>
              <a:pathLst>
                <a:path w="1068" h="1616" extrusionOk="0">
                  <a:moveTo>
                    <a:pt x="434" y="1"/>
                  </a:moveTo>
                  <a:lnTo>
                    <a:pt x="100" y="67"/>
                  </a:lnTo>
                  <a:cubicBezTo>
                    <a:pt x="34" y="67"/>
                    <a:pt x="0" y="134"/>
                    <a:pt x="34" y="167"/>
                  </a:cubicBezTo>
                  <a:lnTo>
                    <a:pt x="501" y="1568"/>
                  </a:lnTo>
                  <a:cubicBezTo>
                    <a:pt x="524" y="1592"/>
                    <a:pt x="564" y="1615"/>
                    <a:pt x="598" y="1615"/>
                  </a:cubicBezTo>
                  <a:cubicBezTo>
                    <a:pt x="612" y="1615"/>
                    <a:pt x="624" y="1611"/>
                    <a:pt x="634" y="1602"/>
                  </a:cubicBezTo>
                  <a:lnTo>
                    <a:pt x="968" y="1535"/>
                  </a:lnTo>
                  <a:cubicBezTo>
                    <a:pt x="1034" y="1535"/>
                    <a:pt x="1068" y="1468"/>
                    <a:pt x="1068" y="1435"/>
                  </a:cubicBezTo>
                  <a:lnTo>
                    <a:pt x="601" y="34"/>
                  </a:lnTo>
                  <a:cubicBezTo>
                    <a:pt x="601" y="1"/>
                    <a:pt x="501" y="1"/>
                    <a:pt x="434" y="1"/>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 name="Google Shape;1809;p51">
              <a:extLst>
                <a:ext uri="{FF2B5EF4-FFF2-40B4-BE49-F238E27FC236}">
                  <a16:creationId xmlns:a16="http://schemas.microsoft.com/office/drawing/2014/main" id="{BF034831-52DF-7DE8-048B-BE7F5D1AB90C}"/>
                </a:ext>
              </a:extLst>
            </p:cNvPr>
            <p:cNvSpPr/>
            <p:nvPr/>
          </p:nvSpPr>
          <p:spPr>
            <a:xfrm>
              <a:off x="3273600" y="2948450"/>
              <a:ext cx="26700" cy="40400"/>
            </a:xfrm>
            <a:custGeom>
              <a:avLst/>
              <a:gdLst/>
              <a:ahLst/>
              <a:cxnLst/>
              <a:rect l="l" t="t" r="r" b="b"/>
              <a:pathLst>
                <a:path w="1068" h="1616" extrusionOk="0">
                  <a:moveTo>
                    <a:pt x="434" y="1"/>
                  </a:moveTo>
                  <a:lnTo>
                    <a:pt x="100" y="67"/>
                  </a:lnTo>
                  <a:cubicBezTo>
                    <a:pt x="34" y="67"/>
                    <a:pt x="0" y="134"/>
                    <a:pt x="34" y="167"/>
                  </a:cubicBezTo>
                  <a:lnTo>
                    <a:pt x="501" y="1568"/>
                  </a:lnTo>
                  <a:cubicBezTo>
                    <a:pt x="524" y="1592"/>
                    <a:pt x="564" y="1615"/>
                    <a:pt x="598" y="1615"/>
                  </a:cubicBezTo>
                  <a:cubicBezTo>
                    <a:pt x="612" y="1615"/>
                    <a:pt x="624" y="1611"/>
                    <a:pt x="634" y="1602"/>
                  </a:cubicBezTo>
                  <a:lnTo>
                    <a:pt x="968" y="1535"/>
                  </a:lnTo>
                  <a:cubicBezTo>
                    <a:pt x="1034" y="1535"/>
                    <a:pt x="1068" y="1468"/>
                    <a:pt x="1068" y="1435"/>
                  </a:cubicBezTo>
                  <a:lnTo>
                    <a:pt x="601" y="34"/>
                  </a:lnTo>
                  <a:cubicBezTo>
                    <a:pt x="601" y="1"/>
                    <a:pt x="501" y="1"/>
                    <a:pt x="434" y="1"/>
                  </a:cubicBez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 name="Google Shape;1810;p51">
              <a:extLst>
                <a:ext uri="{FF2B5EF4-FFF2-40B4-BE49-F238E27FC236}">
                  <a16:creationId xmlns:a16="http://schemas.microsoft.com/office/drawing/2014/main" id="{E7A68E40-541C-295F-60C0-0B6C254309AC}"/>
                </a:ext>
              </a:extLst>
            </p:cNvPr>
            <p:cNvSpPr/>
            <p:nvPr/>
          </p:nvSpPr>
          <p:spPr>
            <a:xfrm>
              <a:off x="2807425" y="3298700"/>
              <a:ext cx="96750" cy="65075"/>
            </a:xfrm>
            <a:custGeom>
              <a:avLst/>
              <a:gdLst/>
              <a:ahLst/>
              <a:cxnLst/>
              <a:rect l="l" t="t" r="r" b="b"/>
              <a:pathLst>
                <a:path w="3870" h="2603" extrusionOk="0">
                  <a:moveTo>
                    <a:pt x="1201" y="1"/>
                  </a:moveTo>
                  <a:lnTo>
                    <a:pt x="1" y="2002"/>
                  </a:lnTo>
                  <a:lnTo>
                    <a:pt x="2469" y="2602"/>
                  </a:lnTo>
                  <a:lnTo>
                    <a:pt x="3870" y="1435"/>
                  </a:lnTo>
                  <a:lnTo>
                    <a:pt x="1201" y="1"/>
                  </a:lnTo>
                  <a:close/>
                </a:path>
              </a:pathLst>
            </a:custGeom>
            <a:solidFill>
              <a:srgbClr val="FF8B7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 name="Google Shape;1811;p51">
              <a:extLst>
                <a:ext uri="{FF2B5EF4-FFF2-40B4-BE49-F238E27FC236}">
                  <a16:creationId xmlns:a16="http://schemas.microsoft.com/office/drawing/2014/main" id="{ED7CD2B3-DC88-925E-A8A5-80901A0BE2FB}"/>
                </a:ext>
              </a:extLst>
            </p:cNvPr>
            <p:cNvSpPr/>
            <p:nvPr/>
          </p:nvSpPr>
          <p:spPr>
            <a:xfrm>
              <a:off x="3232725" y="2787500"/>
              <a:ext cx="69250" cy="93850"/>
            </a:xfrm>
            <a:custGeom>
              <a:avLst/>
              <a:gdLst/>
              <a:ahLst/>
              <a:cxnLst/>
              <a:rect l="l" t="t" r="r" b="b"/>
              <a:pathLst>
                <a:path w="2770" h="3754" extrusionOk="0">
                  <a:moveTo>
                    <a:pt x="201" y="1"/>
                  </a:moveTo>
                  <a:lnTo>
                    <a:pt x="1" y="3103"/>
                  </a:lnTo>
                  <a:cubicBezTo>
                    <a:pt x="1" y="3103"/>
                    <a:pt x="1017" y="3753"/>
                    <a:pt x="1986" y="3753"/>
                  </a:cubicBezTo>
                  <a:cubicBezTo>
                    <a:pt x="2259" y="3753"/>
                    <a:pt x="2528" y="3702"/>
                    <a:pt x="2769" y="3570"/>
                  </a:cubicBezTo>
                  <a:lnTo>
                    <a:pt x="2603" y="2269"/>
                  </a:lnTo>
                  <a:lnTo>
                    <a:pt x="201" y="1"/>
                  </a:lnTo>
                  <a:close/>
                </a:path>
              </a:pathLst>
            </a:custGeom>
            <a:solidFill>
              <a:srgbClr val="FF8B7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 name="Google Shape;1812;p51">
              <a:extLst>
                <a:ext uri="{FF2B5EF4-FFF2-40B4-BE49-F238E27FC236}">
                  <a16:creationId xmlns:a16="http://schemas.microsoft.com/office/drawing/2014/main" id="{86360BF2-242F-95B2-C3C1-C1258E621E1B}"/>
                </a:ext>
              </a:extLst>
            </p:cNvPr>
            <p:cNvSpPr/>
            <p:nvPr/>
          </p:nvSpPr>
          <p:spPr>
            <a:xfrm>
              <a:off x="3276100" y="2539000"/>
              <a:ext cx="266875" cy="337500"/>
            </a:xfrm>
            <a:custGeom>
              <a:avLst/>
              <a:gdLst/>
              <a:ahLst/>
              <a:cxnLst/>
              <a:rect l="l" t="t" r="r" b="b"/>
              <a:pathLst>
                <a:path w="10675" h="13500" extrusionOk="0">
                  <a:moveTo>
                    <a:pt x="6838" y="0"/>
                  </a:moveTo>
                  <a:lnTo>
                    <a:pt x="4403" y="1935"/>
                  </a:lnTo>
                  <a:lnTo>
                    <a:pt x="4503" y="2135"/>
                  </a:lnTo>
                  <a:lnTo>
                    <a:pt x="4670" y="2335"/>
                  </a:lnTo>
                  <a:cubicBezTo>
                    <a:pt x="4770" y="2502"/>
                    <a:pt x="4870" y="2669"/>
                    <a:pt x="4970" y="2835"/>
                  </a:cubicBezTo>
                  <a:cubicBezTo>
                    <a:pt x="5137" y="3136"/>
                    <a:pt x="5337" y="3469"/>
                    <a:pt x="5504" y="3803"/>
                  </a:cubicBezTo>
                  <a:cubicBezTo>
                    <a:pt x="5871" y="4470"/>
                    <a:pt x="6238" y="5170"/>
                    <a:pt x="6538" y="5904"/>
                  </a:cubicBezTo>
                  <a:cubicBezTo>
                    <a:pt x="6805" y="6605"/>
                    <a:pt x="7139" y="7339"/>
                    <a:pt x="7406" y="8106"/>
                  </a:cubicBezTo>
                  <a:cubicBezTo>
                    <a:pt x="7539" y="8473"/>
                    <a:pt x="7639" y="8840"/>
                    <a:pt x="7772" y="9207"/>
                  </a:cubicBezTo>
                  <a:lnTo>
                    <a:pt x="7873" y="9507"/>
                  </a:lnTo>
                  <a:cubicBezTo>
                    <a:pt x="7873" y="9540"/>
                    <a:pt x="7873" y="9540"/>
                    <a:pt x="7873" y="9540"/>
                  </a:cubicBezTo>
                  <a:cubicBezTo>
                    <a:pt x="7906" y="9574"/>
                    <a:pt x="7839" y="9707"/>
                    <a:pt x="7639" y="9874"/>
                  </a:cubicBezTo>
                  <a:cubicBezTo>
                    <a:pt x="7372" y="10074"/>
                    <a:pt x="7105" y="10207"/>
                    <a:pt x="6838" y="10341"/>
                  </a:cubicBezTo>
                  <a:cubicBezTo>
                    <a:pt x="6171" y="10641"/>
                    <a:pt x="5437" y="10875"/>
                    <a:pt x="4704" y="11041"/>
                  </a:cubicBezTo>
                  <a:cubicBezTo>
                    <a:pt x="3970" y="11241"/>
                    <a:pt x="3169" y="11375"/>
                    <a:pt x="2402" y="11508"/>
                  </a:cubicBezTo>
                  <a:cubicBezTo>
                    <a:pt x="1601" y="11675"/>
                    <a:pt x="801" y="11775"/>
                    <a:pt x="0" y="11842"/>
                  </a:cubicBezTo>
                  <a:lnTo>
                    <a:pt x="0" y="13410"/>
                  </a:lnTo>
                  <a:cubicBezTo>
                    <a:pt x="733" y="13467"/>
                    <a:pt x="1471" y="13500"/>
                    <a:pt x="2211" y="13500"/>
                  </a:cubicBezTo>
                  <a:cubicBezTo>
                    <a:pt x="3189" y="13500"/>
                    <a:pt x="4168" y="13443"/>
                    <a:pt x="5137" y="13310"/>
                  </a:cubicBezTo>
                  <a:cubicBezTo>
                    <a:pt x="6038" y="13210"/>
                    <a:pt x="6905" y="13043"/>
                    <a:pt x="7772" y="12743"/>
                  </a:cubicBezTo>
                  <a:cubicBezTo>
                    <a:pt x="8273" y="12576"/>
                    <a:pt x="8740" y="12342"/>
                    <a:pt x="9173" y="12075"/>
                  </a:cubicBezTo>
                  <a:cubicBezTo>
                    <a:pt x="9774" y="11708"/>
                    <a:pt x="10208" y="11141"/>
                    <a:pt x="10474" y="10508"/>
                  </a:cubicBezTo>
                  <a:cubicBezTo>
                    <a:pt x="10608" y="10141"/>
                    <a:pt x="10675" y="9740"/>
                    <a:pt x="10675" y="9340"/>
                  </a:cubicBezTo>
                  <a:cubicBezTo>
                    <a:pt x="10675" y="9140"/>
                    <a:pt x="10641" y="8973"/>
                    <a:pt x="10608" y="8806"/>
                  </a:cubicBezTo>
                  <a:lnTo>
                    <a:pt x="10541" y="8606"/>
                  </a:lnTo>
                  <a:lnTo>
                    <a:pt x="10508" y="8439"/>
                  </a:lnTo>
                  <a:cubicBezTo>
                    <a:pt x="10408" y="8006"/>
                    <a:pt x="10308" y="7606"/>
                    <a:pt x="10174" y="7172"/>
                  </a:cubicBezTo>
                  <a:cubicBezTo>
                    <a:pt x="9941" y="6371"/>
                    <a:pt x="9674" y="5537"/>
                    <a:pt x="9340" y="4737"/>
                  </a:cubicBezTo>
                  <a:cubicBezTo>
                    <a:pt x="9040" y="3936"/>
                    <a:pt x="8673" y="3136"/>
                    <a:pt x="8306" y="2335"/>
                  </a:cubicBezTo>
                  <a:cubicBezTo>
                    <a:pt x="8073" y="1935"/>
                    <a:pt x="7873" y="1568"/>
                    <a:pt x="7639" y="1168"/>
                  </a:cubicBezTo>
                  <a:cubicBezTo>
                    <a:pt x="7539" y="1001"/>
                    <a:pt x="7406" y="801"/>
                    <a:pt x="7272" y="601"/>
                  </a:cubicBezTo>
                  <a:lnTo>
                    <a:pt x="7072" y="300"/>
                  </a:lnTo>
                  <a:cubicBezTo>
                    <a:pt x="7005" y="200"/>
                    <a:pt x="6939" y="134"/>
                    <a:pt x="6838" y="0"/>
                  </a:cubicBezTo>
                  <a:close/>
                </a:path>
              </a:pathLst>
            </a:custGeom>
            <a:solidFill>
              <a:srgbClr val="FF8B7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 name="Google Shape;1813;p51">
              <a:extLst>
                <a:ext uri="{FF2B5EF4-FFF2-40B4-BE49-F238E27FC236}">
                  <a16:creationId xmlns:a16="http://schemas.microsoft.com/office/drawing/2014/main" id="{ABFF7608-97BA-6AB9-8C0F-40C275A60CAF}"/>
                </a:ext>
              </a:extLst>
            </p:cNvPr>
            <p:cNvSpPr/>
            <p:nvPr/>
          </p:nvSpPr>
          <p:spPr>
            <a:xfrm>
              <a:off x="3328625" y="2467950"/>
              <a:ext cx="161825" cy="199500"/>
            </a:xfrm>
            <a:custGeom>
              <a:avLst/>
              <a:gdLst/>
              <a:ahLst/>
              <a:cxnLst/>
              <a:rect l="l" t="t" r="r" b="b"/>
              <a:pathLst>
                <a:path w="6473" h="7980" extrusionOk="0">
                  <a:moveTo>
                    <a:pt x="2626" y="0"/>
                  </a:moveTo>
                  <a:cubicBezTo>
                    <a:pt x="1207" y="0"/>
                    <a:pt x="297" y="1899"/>
                    <a:pt x="168" y="3609"/>
                  </a:cubicBezTo>
                  <a:cubicBezTo>
                    <a:pt x="1" y="5311"/>
                    <a:pt x="2769" y="7979"/>
                    <a:pt x="2769" y="7979"/>
                  </a:cubicBezTo>
                  <a:lnTo>
                    <a:pt x="6472" y="3976"/>
                  </a:lnTo>
                  <a:cubicBezTo>
                    <a:pt x="6472" y="3976"/>
                    <a:pt x="4070" y="73"/>
                    <a:pt x="2769" y="7"/>
                  </a:cubicBezTo>
                  <a:cubicBezTo>
                    <a:pt x="2721" y="2"/>
                    <a:pt x="2673" y="0"/>
                    <a:pt x="2626"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 name="Google Shape;1814;p51">
              <a:extLst>
                <a:ext uri="{FF2B5EF4-FFF2-40B4-BE49-F238E27FC236}">
                  <a16:creationId xmlns:a16="http://schemas.microsoft.com/office/drawing/2014/main" id="{D1853761-3FB0-F96D-9968-D60E00C219E1}"/>
                </a:ext>
              </a:extLst>
            </p:cNvPr>
            <p:cNvSpPr/>
            <p:nvPr/>
          </p:nvSpPr>
          <p:spPr>
            <a:xfrm>
              <a:off x="3172675" y="2780000"/>
              <a:ext cx="65075" cy="85075"/>
            </a:xfrm>
            <a:custGeom>
              <a:avLst/>
              <a:gdLst/>
              <a:ahLst/>
              <a:cxnLst/>
              <a:rect l="l" t="t" r="r" b="b"/>
              <a:pathLst>
                <a:path w="2603" h="3403" extrusionOk="0">
                  <a:moveTo>
                    <a:pt x="34" y="0"/>
                  </a:moveTo>
                  <a:lnTo>
                    <a:pt x="1" y="2636"/>
                  </a:lnTo>
                  <a:lnTo>
                    <a:pt x="2403" y="3403"/>
                  </a:lnTo>
                  <a:lnTo>
                    <a:pt x="2603" y="267"/>
                  </a:lnTo>
                  <a:lnTo>
                    <a:pt x="34" y="0"/>
                  </a:lnTo>
                  <a:close/>
                </a:path>
              </a:pathLst>
            </a:custGeom>
            <a:solidFill>
              <a:srgbClr val="FF8B7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 name="Google Shape;1815;p51">
              <a:extLst>
                <a:ext uri="{FF2B5EF4-FFF2-40B4-BE49-F238E27FC236}">
                  <a16:creationId xmlns:a16="http://schemas.microsoft.com/office/drawing/2014/main" id="{75EDF5B3-FB55-1F45-6806-AA7381CD18EB}"/>
                </a:ext>
              </a:extLst>
            </p:cNvPr>
            <p:cNvSpPr/>
            <p:nvPr/>
          </p:nvSpPr>
          <p:spPr>
            <a:xfrm>
              <a:off x="3913225" y="3739025"/>
              <a:ext cx="560425" cy="62550"/>
            </a:xfrm>
            <a:custGeom>
              <a:avLst/>
              <a:gdLst/>
              <a:ahLst/>
              <a:cxnLst/>
              <a:rect l="l" t="t" r="r" b="b"/>
              <a:pathLst>
                <a:path w="22417" h="2502" extrusionOk="0">
                  <a:moveTo>
                    <a:pt x="1668" y="0"/>
                  </a:moveTo>
                  <a:cubicBezTo>
                    <a:pt x="0" y="0"/>
                    <a:pt x="0" y="2502"/>
                    <a:pt x="1668" y="2502"/>
                  </a:cubicBezTo>
                  <a:lnTo>
                    <a:pt x="20748" y="2502"/>
                  </a:lnTo>
                  <a:cubicBezTo>
                    <a:pt x="22416" y="2502"/>
                    <a:pt x="22416" y="0"/>
                    <a:pt x="20748"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 name="Google Shape;1816;p51">
              <a:extLst>
                <a:ext uri="{FF2B5EF4-FFF2-40B4-BE49-F238E27FC236}">
                  <a16:creationId xmlns:a16="http://schemas.microsoft.com/office/drawing/2014/main" id="{67ACEE32-3250-D648-C99B-1F94405ACA9A}"/>
                </a:ext>
              </a:extLst>
            </p:cNvPr>
            <p:cNvSpPr/>
            <p:nvPr/>
          </p:nvSpPr>
          <p:spPr>
            <a:xfrm>
              <a:off x="3913225" y="3739025"/>
              <a:ext cx="560425" cy="62550"/>
            </a:xfrm>
            <a:custGeom>
              <a:avLst/>
              <a:gdLst/>
              <a:ahLst/>
              <a:cxnLst/>
              <a:rect l="l" t="t" r="r" b="b"/>
              <a:pathLst>
                <a:path w="22417" h="2502" extrusionOk="0">
                  <a:moveTo>
                    <a:pt x="1668" y="0"/>
                  </a:moveTo>
                  <a:cubicBezTo>
                    <a:pt x="0" y="0"/>
                    <a:pt x="0" y="2502"/>
                    <a:pt x="1668" y="2502"/>
                  </a:cubicBezTo>
                  <a:lnTo>
                    <a:pt x="20748" y="2502"/>
                  </a:lnTo>
                  <a:cubicBezTo>
                    <a:pt x="22416" y="2502"/>
                    <a:pt x="22416" y="0"/>
                    <a:pt x="20748"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 name="Google Shape;1817;p51">
              <a:extLst>
                <a:ext uri="{FF2B5EF4-FFF2-40B4-BE49-F238E27FC236}">
                  <a16:creationId xmlns:a16="http://schemas.microsoft.com/office/drawing/2014/main" id="{EC20A2AB-ED86-ABB1-E93E-D18A7AE539DD}"/>
                </a:ext>
              </a:extLst>
            </p:cNvPr>
            <p:cNvSpPr/>
            <p:nvPr/>
          </p:nvSpPr>
          <p:spPr>
            <a:xfrm>
              <a:off x="3693900" y="4421175"/>
              <a:ext cx="121775" cy="179325"/>
            </a:xfrm>
            <a:custGeom>
              <a:avLst/>
              <a:gdLst/>
              <a:ahLst/>
              <a:cxnLst/>
              <a:rect l="l" t="t" r="r" b="b"/>
              <a:pathLst>
                <a:path w="4871" h="7173" extrusionOk="0">
                  <a:moveTo>
                    <a:pt x="0" y="0"/>
                  </a:moveTo>
                  <a:lnTo>
                    <a:pt x="1768" y="7172"/>
                  </a:lnTo>
                  <a:lnTo>
                    <a:pt x="4870" y="7172"/>
                  </a:lnTo>
                  <a:lnTo>
                    <a:pt x="3069" y="0"/>
                  </a:lnTo>
                  <a:close/>
                </a:path>
              </a:pathLst>
            </a:custGeom>
            <a:solidFill>
              <a:srgbClr val="FFB5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 name="Google Shape;1818;p51">
              <a:extLst>
                <a:ext uri="{FF2B5EF4-FFF2-40B4-BE49-F238E27FC236}">
                  <a16:creationId xmlns:a16="http://schemas.microsoft.com/office/drawing/2014/main" id="{DCC2F18A-77A6-5D53-D2A4-45293572EF3B}"/>
                </a:ext>
              </a:extLst>
            </p:cNvPr>
            <p:cNvSpPr/>
            <p:nvPr/>
          </p:nvSpPr>
          <p:spPr>
            <a:xfrm>
              <a:off x="3543775" y="4581275"/>
              <a:ext cx="286075" cy="88425"/>
            </a:xfrm>
            <a:custGeom>
              <a:avLst/>
              <a:gdLst/>
              <a:ahLst/>
              <a:cxnLst/>
              <a:rect l="l" t="t" r="r" b="b"/>
              <a:pathLst>
                <a:path w="11443" h="3537" extrusionOk="0">
                  <a:moveTo>
                    <a:pt x="7573" y="1"/>
                  </a:moveTo>
                  <a:cubicBezTo>
                    <a:pt x="7373" y="1"/>
                    <a:pt x="7173" y="68"/>
                    <a:pt x="7006" y="201"/>
                  </a:cubicBezTo>
                  <a:cubicBezTo>
                    <a:pt x="6139" y="868"/>
                    <a:pt x="3103" y="1602"/>
                    <a:pt x="635" y="2136"/>
                  </a:cubicBezTo>
                  <a:cubicBezTo>
                    <a:pt x="68" y="2236"/>
                    <a:pt x="1" y="3537"/>
                    <a:pt x="1335" y="3537"/>
                  </a:cubicBezTo>
                  <a:cubicBezTo>
                    <a:pt x="2669" y="3537"/>
                    <a:pt x="6639" y="3437"/>
                    <a:pt x="7573" y="3437"/>
                  </a:cubicBezTo>
                  <a:cubicBezTo>
                    <a:pt x="9107" y="3437"/>
                    <a:pt x="9708" y="3503"/>
                    <a:pt x="10909" y="3503"/>
                  </a:cubicBezTo>
                  <a:cubicBezTo>
                    <a:pt x="11209" y="3503"/>
                    <a:pt x="11442" y="3270"/>
                    <a:pt x="11442" y="2970"/>
                  </a:cubicBezTo>
                  <a:lnTo>
                    <a:pt x="11276" y="234"/>
                  </a:lnTo>
                  <a:cubicBezTo>
                    <a:pt x="11276" y="101"/>
                    <a:pt x="11176" y="1"/>
                    <a:pt x="11042"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 name="Google Shape;1819;p51">
              <a:extLst>
                <a:ext uri="{FF2B5EF4-FFF2-40B4-BE49-F238E27FC236}">
                  <a16:creationId xmlns:a16="http://schemas.microsoft.com/office/drawing/2014/main" id="{5C9C7239-DE6F-F017-1F30-AFFA94B27A6E}"/>
                </a:ext>
              </a:extLst>
            </p:cNvPr>
            <p:cNvSpPr/>
            <p:nvPr/>
          </p:nvSpPr>
          <p:spPr>
            <a:xfrm>
              <a:off x="3693900" y="4421175"/>
              <a:ext cx="100100" cy="92575"/>
            </a:xfrm>
            <a:custGeom>
              <a:avLst/>
              <a:gdLst/>
              <a:ahLst/>
              <a:cxnLst/>
              <a:rect l="l" t="t" r="r" b="b"/>
              <a:pathLst>
                <a:path w="4004" h="3703" extrusionOk="0">
                  <a:moveTo>
                    <a:pt x="0" y="0"/>
                  </a:moveTo>
                  <a:lnTo>
                    <a:pt x="934" y="3703"/>
                  </a:lnTo>
                  <a:lnTo>
                    <a:pt x="4003" y="3703"/>
                  </a:lnTo>
                  <a:lnTo>
                    <a:pt x="3069" y="0"/>
                  </a:ln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 name="Google Shape;1820;p51">
              <a:extLst>
                <a:ext uri="{FF2B5EF4-FFF2-40B4-BE49-F238E27FC236}">
                  <a16:creationId xmlns:a16="http://schemas.microsoft.com/office/drawing/2014/main" id="{15883F3F-43DB-8EA7-E2AD-659C23C82518}"/>
                </a:ext>
              </a:extLst>
            </p:cNvPr>
            <p:cNvSpPr/>
            <p:nvPr/>
          </p:nvSpPr>
          <p:spPr>
            <a:xfrm>
              <a:off x="3392000" y="3439625"/>
              <a:ext cx="908175" cy="1051625"/>
            </a:xfrm>
            <a:custGeom>
              <a:avLst/>
              <a:gdLst/>
              <a:ahLst/>
              <a:cxnLst/>
              <a:rect l="l" t="t" r="r" b="b"/>
              <a:pathLst>
                <a:path w="36327" h="42065" extrusionOk="0">
                  <a:moveTo>
                    <a:pt x="25186" y="1"/>
                  </a:moveTo>
                  <a:cubicBezTo>
                    <a:pt x="25186" y="1"/>
                    <a:pt x="1" y="1735"/>
                    <a:pt x="535" y="10608"/>
                  </a:cubicBezTo>
                  <a:cubicBezTo>
                    <a:pt x="1102" y="20282"/>
                    <a:pt x="11676" y="42064"/>
                    <a:pt x="11676" y="42064"/>
                  </a:cubicBezTo>
                  <a:lnTo>
                    <a:pt x="17313" y="42064"/>
                  </a:lnTo>
                  <a:cubicBezTo>
                    <a:pt x="17313" y="42064"/>
                    <a:pt x="12176" y="23551"/>
                    <a:pt x="10942" y="13677"/>
                  </a:cubicBezTo>
                  <a:cubicBezTo>
                    <a:pt x="16946" y="11176"/>
                    <a:pt x="33225" y="13577"/>
                    <a:pt x="35126" y="8374"/>
                  </a:cubicBezTo>
                  <a:cubicBezTo>
                    <a:pt x="36060" y="5705"/>
                    <a:pt x="36327" y="2836"/>
                    <a:pt x="35860" y="34"/>
                  </a:cubicBezTo>
                  <a:lnTo>
                    <a:pt x="25186" y="1"/>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 name="Google Shape;1821;p51">
              <a:extLst>
                <a:ext uri="{FF2B5EF4-FFF2-40B4-BE49-F238E27FC236}">
                  <a16:creationId xmlns:a16="http://schemas.microsoft.com/office/drawing/2014/main" id="{983E57B3-DE50-58E4-963A-F2E6CCEB92EC}"/>
                </a:ext>
              </a:extLst>
            </p:cNvPr>
            <p:cNvSpPr/>
            <p:nvPr/>
          </p:nvSpPr>
          <p:spPr>
            <a:xfrm>
              <a:off x="3572975" y="3623100"/>
              <a:ext cx="180150" cy="266050"/>
            </a:xfrm>
            <a:custGeom>
              <a:avLst/>
              <a:gdLst/>
              <a:ahLst/>
              <a:cxnLst/>
              <a:rect l="l" t="t" r="r" b="b"/>
              <a:pathLst>
                <a:path w="7206" h="10642" extrusionOk="0">
                  <a:moveTo>
                    <a:pt x="6205" y="0"/>
                  </a:moveTo>
                  <a:cubicBezTo>
                    <a:pt x="3303" y="0"/>
                    <a:pt x="0" y="5004"/>
                    <a:pt x="4370" y="10641"/>
                  </a:cubicBezTo>
                  <a:cubicBezTo>
                    <a:pt x="4303" y="10241"/>
                    <a:pt x="4237" y="9874"/>
                    <a:pt x="4170" y="9507"/>
                  </a:cubicBezTo>
                  <a:cubicBezTo>
                    <a:pt x="4103" y="9174"/>
                    <a:pt x="4070" y="8807"/>
                    <a:pt x="4003" y="8507"/>
                  </a:cubicBezTo>
                  <a:cubicBezTo>
                    <a:pt x="3937" y="8040"/>
                    <a:pt x="3870" y="7606"/>
                    <a:pt x="3803" y="7206"/>
                  </a:cubicBezTo>
                  <a:cubicBezTo>
                    <a:pt x="3770" y="6905"/>
                    <a:pt x="3736" y="6605"/>
                    <a:pt x="3703" y="6338"/>
                  </a:cubicBezTo>
                  <a:cubicBezTo>
                    <a:pt x="4837" y="5905"/>
                    <a:pt x="6005" y="5605"/>
                    <a:pt x="7206" y="5471"/>
                  </a:cubicBezTo>
                  <a:cubicBezTo>
                    <a:pt x="6772" y="2636"/>
                    <a:pt x="6205" y="0"/>
                    <a:pt x="6205" y="0"/>
                  </a:cubicBez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 name="Google Shape;1822;p51">
              <a:extLst>
                <a:ext uri="{FF2B5EF4-FFF2-40B4-BE49-F238E27FC236}">
                  <a16:creationId xmlns:a16="http://schemas.microsoft.com/office/drawing/2014/main" id="{C65605DA-45AE-FB1C-84D5-2B29B49E67E2}"/>
                </a:ext>
              </a:extLst>
            </p:cNvPr>
            <p:cNvSpPr/>
            <p:nvPr/>
          </p:nvSpPr>
          <p:spPr>
            <a:xfrm>
              <a:off x="3637175" y="4415325"/>
              <a:ext cx="202675" cy="75925"/>
            </a:xfrm>
            <a:custGeom>
              <a:avLst/>
              <a:gdLst/>
              <a:ahLst/>
              <a:cxnLst/>
              <a:rect l="l" t="t" r="r" b="b"/>
              <a:pathLst>
                <a:path w="8107" h="3037" extrusionOk="0">
                  <a:moveTo>
                    <a:pt x="7406" y="1"/>
                  </a:moveTo>
                  <a:lnTo>
                    <a:pt x="1" y="601"/>
                  </a:lnTo>
                  <a:lnTo>
                    <a:pt x="668" y="3036"/>
                  </a:lnTo>
                  <a:lnTo>
                    <a:pt x="8107" y="3036"/>
                  </a:lnTo>
                  <a:lnTo>
                    <a:pt x="7406" y="1"/>
                  </a:ln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 name="Google Shape;1823;p51">
              <a:extLst>
                <a:ext uri="{FF2B5EF4-FFF2-40B4-BE49-F238E27FC236}">
                  <a16:creationId xmlns:a16="http://schemas.microsoft.com/office/drawing/2014/main" id="{7C90EE26-9E7E-8490-84BC-04F76BFCE8F6}"/>
                </a:ext>
              </a:extLst>
            </p:cNvPr>
            <p:cNvSpPr/>
            <p:nvPr/>
          </p:nvSpPr>
          <p:spPr>
            <a:xfrm>
              <a:off x="3688050" y="4575550"/>
              <a:ext cx="40050" cy="19325"/>
            </a:xfrm>
            <a:custGeom>
              <a:avLst/>
              <a:gdLst/>
              <a:ahLst/>
              <a:cxnLst/>
              <a:rect l="l" t="t" r="r" b="b"/>
              <a:pathLst>
                <a:path w="1602" h="773" extrusionOk="0">
                  <a:moveTo>
                    <a:pt x="375" y="142"/>
                  </a:moveTo>
                  <a:cubicBezTo>
                    <a:pt x="613" y="142"/>
                    <a:pt x="1022" y="365"/>
                    <a:pt x="1335" y="563"/>
                  </a:cubicBezTo>
                  <a:cubicBezTo>
                    <a:pt x="1072" y="610"/>
                    <a:pt x="845" y="635"/>
                    <a:pt x="663" y="635"/>
                  </a:cubicBezTo>
                  <a:cubicBezTo>
                    <a:pt x="454" y="635"/>
                    <a:pt x="306" y="602"/>
                    <a:pt x="234" y="530"/>
                  </a:cubicBezTo>
                  <a:cubicBezTo>
                    <a:pt x="167" y="430"/>
                    <a:pt x="134" y="330"/>
                    <a:pt x="167" y="263"/>
                  </a:cubicBezTo>
                  <a:cubicBezTo>
                    <a:pt x="167" y="197"/>
                    <a:pt x="201" y="163"/>
                    <a:pt x="268" y="163"/>
                  </a:cubicBezTo>
                  <a:cubicBezTo>
                    <a:pt x="297" y="148"/>
                    <a:pt x="334" y="142"/>
                    <a:pt x="375" y="142"/>
                  </a:cubicBezTo>
                  <a:close/>
                  <a:moveTo>
                    <a:pt x="365" y="1"/>
                  </a:moveTo>
                  <a:cubicBezTo>
                    <a:pt x="305" y="1"/>
                    <a:pt x="249" y="10"/>
                    <a:pt x="201" y="30"/>
                  </a:cubicBezTo>
                  <a:cubicBezTo>
                    <a:pt x="134" y="63"/>
                    <a:pt x="67" y="130"/>
                    <a:pt x="34" y="230"/>
                  </a:cubicBezTo>
                  <a:cubicBezTo>
                    <a:pt x="1" y="363"/>
                    <a:pt x="34" y="497"/>
                    <a:pt x="134" y="630"/>
                  </a:cubicBezTo>
                  <a:cubicBezTo>
                    <a:pt x="271" y="713"/>
                    <a:pt x="431" y="772"/>
                    <a:pt x="595" y="772"/>
                  </a:cubicBezTo>
                  <a:cubicBezTo>
                    <a:pt x="630" y="772"/>
                    <a:pt x="666" y="770"/>
                    <a:pt x="701" y="764"/>
                  </a:cubicBezTo>
                  <a:cubicBezTo>
                    <a:pt x="1001" y="764"/>
                    <a:pt x="1268" y="730"/>
                    <a:pt x="1535" y="664"/>
                  </a:cubicBezTo>
                  <a:cubicBezTo>
                    <a:pt x="1568" y="664"/>
                    <a:pt x="1602" y="630"/>
                    <a:pt x="1602" y="597"/>
                  </a:cubicBezTo>
                  <a:cubicBezTo>
                    <a:pt x="1602" y="597"/>
                    <a:pt x="1602" y="563"/>
                    <a:pt x="1568" y="530"/>
                  </a:cubicBezTo>
                  <a:cubicBezTo>
                    <a:pt x="1481" y="472"/>
                    <a:pt x="800" y="1"/>
                    <a:pt x="365" y="1"/>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 name="Google Shape;1824;p51">
              <a:extLst>
                <a:ext uri="{FF2B5EF4-FFF2-40B4-BE49-F238E27FC236}">
                  <a16:creationId xmlns:a16="http://schemas.microsoft.com/office/drawing/2014/main" id="{70DFB95C-3640-E15D-502E-0CA28D68427B}"/>
                </a:ext>
              </a:extLst>
            </p:cNvPr>
            <p:cNvSpPr/>
            <p:nvPr/>
          </p:nvSpPr>
          <p:spPr>
            <a:xfrm>
              <a:off x="3705575" y="4557625"/>
              <a:ext cx="24200" cy="34525"/>
            </a:xfrm>
            <a:custGeom>
              <a:avLst/>
              <a:gdLst/>
              <a:ahLst/>
              <a:cxnLst/>
              <a:rect l="l" t="t" r="r" b="b"/>
              <a:pathLst>
                <a:path w="968" h="1381" extrusionOk="0">
                  <a:moveTo>
                    <a:pt x="400" y="146"/>
                  </a:moveTo>
                  <a:cubicBezTo>
                    <a:pt x="467" y="146"/>
                    <a:pt x="501" y="146"/>
                    <a:pt x="567" y="213"/>
                  </a:cubicBezTo>
                  <a:cubicBezTo>
                    <a:pt x="734" y="480"/>
                    <a:pt x="801" y="847"/>
                    <a:pt x="767" y="1180"/>
                  </a:cubicBezTo>
                  <a:cubicBezTo>
                    <a:pt x="501" y="947"/>
                    <a:pt x="167" y="447"/>
                    <a:pt x="234" y="246"/>
                  </a:cubicBezTo>
                  <a:cubicBezTo>
                    <a:pt x="234" y="213"/>
                    <a:pt x="267" y="146"/>
                    <a:pt x="367" y="146"/>
                  </a:cubicBezTo>
                  <a:close/>
                  <a:moveTo>
                    <a:pt x="428" y="0"/>
                  </a:moveTo>
                  <a:cubicBezTo>
                    <a:pt x="398" y="0"/>
                    <a:pt x="367" y="5"/>
                    <a:pt x="334" y="13"/>
                  </a:cubicBezTo>
                  <a:cubicBezTo>
                    <a:pt x="200" y="13"/>
                    <a:pt x="100" y="80"/>
                    <a:pt x="67" y="213"/>
                  </a:cubicBezTo>
                  <a:cubicBezTo>
                    <a:pt x="0" y="547"/>
                    <a:pt x="467" y="1214"/>
                    <a:pt x="767" y="1381"/>
                  </a:cubicBezTo>
                  <a:lnTo>
                    <a:pt x="834" y="1381"/>
                  </a:lnTo>
                  <a:cubicBezTo>
                    <a:pt x="867" y="1381"/>
                    <a:pt x="867" y="1347"/>
                    <a:pt x="867" y="1314"/>
                  </a:cubicBezTo>
                  <a:cubicBezTo>
                    <a:pt x="867" y="1280"/>
                    <a:pt x="968" y="413"/>
                    <a:pt x="634" y="113"/>
                  </a:cubicBezTo>
                  <a:cubicBezTo>
                    <a:pt x="584" y="38"/>
                    <a:pt x="515" y="0"/>
                    <a:pt x="428"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 name="Google Shape;1825;p51">
              <a:extLst>
                <a:ext uri="{FF2B5EF4-FFF2-40B4-BE49-F238E27FC236}">
                  <a16:creationId xmlns:a16="http://schemas.microsoft.com/office/drawing/2014/main" id="{3858B352-2115-2CCD-5E6F-B2F73B09E4FD}"/>
                </a:ext>
              </a:extLst>
            </p:cNvPr>
            <p:cNvSpPr/>
            <p:nvPr/>
          </p:nvSpPr>
          <p:spPr>
            <a:xfrm>
              <a:off x="3599650" y="2810850"/>
              <a:ext cx="502900" cy="540425"/>
            </a:xfrm>
            <a:custGeom>
              <a:avLst/>
              <a:gdLst/>
              <a:ahLst/>
              <a:cxnLst/>
              <a:rect l="l" t="t" r="r" b="b"/>
              <a:pathLst>
                <a:path w="20116" h="21617" extrusionOk="0">
                  <a:moveTo>
                    <a:pt x="15712" y="1"/>
                  </a:moveTo>
                  <a:lnTo>
                    <a:pt x="14211" y="3770"/>
                  </a:lnTo>
                  <a:lnTo>
                    <a:pt x="12743" y="7573"/>
                  </a:lnTo>
                  <a:cubicBezTo>
                    <a:pt x="11781" y="9978"/>
                    <a:pt x="10819" y="12415"/>
                    <a:pt x="9827" y="14794"/>
                  </a:cubicBezTo>
                  <a:lnTo>
                    <a:pt x="9827" y="14794"/>
                  </a:lnTo>
                  <a:cubicBezTo>
                    <a:pt x="9324" y="15348"/>
                    <a:pt x="8769" y="15850"/>
                    <a:pt x="8140" y="16279"/>
                  </a:cubicBezTo>
                  <a:cubicBezTo>
                    <a:pt x="7373" y="16813"/>
                    <a:pt x="6572" y="17246"/>
                    <a:pt x="5705" y="17613"/>
                  </a:cubicBezTo>
                  <a:cubicBezTo>
                    <a:pt x="4804" y="18013"/>
                    <a:pt x="3904" y="18347"/>
                    <a:pt x="2936" y="18581"/>
                  </a:cubicBezTo>
                  <a:cubicBezTo>
                    <a:pt x="2469" y="18714"/>
                    <a:pt x="1969" y="18847"/>
                    <a:pt x="1502" y="18947"/>
                  </a:cubicBezTo>
                  <a:cubicBezTo>
                    <a:pt x="1002" y="19048"/>
                    <a:pt x="501" y="19114"/>
                    <a:pt x="34" y="19181"/>
                  </a:cubicBezTo>
                  <a:lnTo>
                    <a:pt x="1" y="21516"/>
                  </a:lnTo>
                  <a:cubicBezTo>
                    <a:pt x="568" y="21583"/>
                    <a:pt x="1168" y="21616"/>
                    <a:pt x="1735" y="21616"/>
                  </a:cubicBezTo>
                  <a:cubicBezTo>
                    <a:pt x="2302" y="21616"/>
                    <a:pt x="2870" y="21616"/>
                    <a:pt x="3437" y="21549"/>
                  </a:cubicBezTo>
                  <a:cubicBezTo>
                    <a:pt x="4604" y="21449"/>
                    <a:pt x="5738" y="21249"/>
                    <a:pt x="6872" y="20949"/>
                  </a:cubicBezTo>
                  <a:cubicBezTo>
                    <a:pt x="8007" y="20649"/>
                    <a:pt x="9141" y="20215"/>
                    <a:pt x="10208" y="19648"/>
                  </a:cubicBezTo>
                  <a:cubicBezTo>
                    <a:pt x="11309" y="19048"/>
                    <a:pt x="12310" y="18280"/>
                    <a:pt x="13210" y="17380"/>
                  </a:cubicBezTo>
                  <a:lnTo>
                    <a:pt x="13377" y="17213"/>
                  </a:lnTo>
                  <a:lnTo>
                    <a:pt x="13577" y="16846"/>
                  </a:lnTo>
                  <a:cubicBezTo>
                    <a:pt x="14811" y="14344"/>
                    <a:pt x="15946" y="11842"/>
                    <a:pt x="17013" y="9307"/>
                  </a:cubicBezTo>
                  <a:cubicBezTo>
                    <a:pt x="17580" y="8073"/>
                    <a:pt x="18114" y="6805"/>
                    <a:pt x="18614" y="5505"/>
                  </a:cubicBezTo>
                  <a:cubicBezTo>
                    <a:pt x="19114" y="4237"/>
                    <a:pt x="19615" y="2969"/>
                    <a:pt x="20115" y="1668"/>
                  </a:cubicBezTo>
                  <a:lnTo>
                    <a:pt x="15712" y="1"/>
                  </a:lnTo>
                  <a:close/>
                </a:path>
              </a:pathLst>
            </a:custGeom>
            <a:solidFill>
              <a:srgbClr val="F4B09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 name="Google Shape;1826;p51">
              <a:extLst>
                <a:ext uri="{FF2B5EF4-FFF2-40B4-BE49-F238E27FC236}">
                  <a16:creationId xmlns:a16="http://schemas.microsoft.com/office/drawing/2014/main" id="{A702BC2C-85F2-2BDF-3F95-BFBE3CE10F78}"/>
                </a:ext>
              </a:extLst>
            </p:cNvPr>
            <p:cNvSpPr/>
            <p:nvPr/>
          </p:nvSpPr>
          <p:spPr>
            <a:xfrm>
              <a:off x="3874850" y="2770650"/>
              <a:ext cx="274925" cy="326275"/>
            </a:xfrm>
            <a:custGeom>
              <a:avLst/>
              <a:gdLst/>
              <a:ahLst/>
              <a:cxnLst/>
              <a:rect l="l" t="t" r="r" b="b"/>
              <a:pathLst>
                <a:path w="10997" h="13051" extrusionOk="0">
                  <a:moveTo>
                    <a:pt x="8395" y="1"/>
                  </a:moveTo>
                  <a:cubicBezTo>
                    <a:pt x="7065" y="1"/>
                    <a:pt x="5450" y="707"/>
                    <a:pt x="4170" y="2176"/>
                  </a:cubicBezTo>
                  <a:cubicBezTo>
                    <a:pt x="1669" y="5044"/>
                    <a:pt x="1" y="9081"/>
                    <a:pt x="1" y="9081"/>
                  </a:cubicBezTo>
                  <a:lnTo>
                    <a:pt x="6572" y="13050"/>
                  </a:lnTo>
                  <a:cubicBezTo>
                    <a:pt x="8440" y="10715"/>
                    <a:pt x="10808" y="4611"/>
                    <a:pt x="10908" y="2543"/>
                  </a:cubicBezTo>
                  <a:cubicBezTo>
                    <a:pt x="10996" y="874"/>
                    <a:pt x="9873" y="1"/>
                    <a:pt x="8395"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 name="Google Shape;1827;p51">
              <a:extLst>
                <a:ext uri="{FF2B5EF4-FFF2-40B4-BE49-F238E27FC236}">
                  <a16:creationId xmlns:a16="http://schemas.microsoft.com/office/drawing/2014/main" id="{7C2EAE19-7F25-8111-05CA-4B5DE8EC58C3}"/>
                </a:ext>
              </a:extLst>
            </p:cNvPr>
            <p:cNvSpPr/>
            <p:nvPr/>
          </p:nvSpPr>
          <p:spPr>
            <a:xfrm>
              <a:off x="3964075" y="2890100"/>
              <a:ext cx="145150" cy="206825"/>
            </a:xfrm>
            <a:custGeom>
              <a:avLst/>
              <a:gdLst/>
              <a:ahLst/>
              <a:cxnLst/>
              <a:rect l="l" t="t" r="r" b="b"/>
              <a:pathLst>
                <a:path w="5806" h="8273" extrusionOk="0">
                  <a:moveTo>
                    <a:pt x="3678" y="1"/>
                  </a:moveTo>
                  <a:cubicBezTo>
                    <a:pt x="3434" y="1"/>
                    <a:pt x="3175" y="104"/>
                    <a:pt x="2903" y="333"/>
                  </a:cubicBezTo>
                  <a:cubicBezTo>
                    <a:pt x="1469" y="1534"/>
                    <a:pt x="468" y="4036"/>
                    <a:pt x="1" y="6471"/>
                  </a:cubicBezTo>
                  <a:lnTo>
                    <a:pt x="2970" y="8272"/>
                  </a:lnTo>
                  <a:cubicBezTo>
                    <a:pt x="3937" y="7105"/>
                    <a:pt x="4971" y="5036"/>
                    <a:pt x="5805" y="3002"/>
                  </a:cubicBezTo>
                  <a:cubicBezTo>
                    <a:pt x="5281" y="1378"/>
                    <a:pt x="4572" y="1"/>
                    <a:pt x="3678" y="1"/>
                  </a:cubicBez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 name="Google Shape;1828;p51">
              <a:extLst>
                <a:ext uri="{FF2B5EF4-FFF2-40B4-BE49-F238E27FC236}">
                  <a16:creationId xmlns:a16="http://schemas.microsoft.com/office/drawing/2014/main" id="{3817465E-CEA7-7F72-6A85-F6A3AAD15E39}"/>
                </a:ext>
              </a:extLst>
            </p:cNvPr>
            <p:cNvSpPr/>
            <p:nvPr/>
          </p:nvSpPr>
          <p:spPr>
            <a:xfrm>
              <a:off x="3969925" y="4386150"/>
              <a:ext cx="150975" cy="183475"/>
            </a:xfrm>
            <a:custGeom>
              <a:avLst/>
              <a:gdLst/>
              <a:ahLst/>
              <a:cxnLst/>
              <a:rect l="l" t="t" r="r" b="b"/>
              <a:pathLst>
                <a:path w="6039" h="7339" extrusionOk="0">
                  <a:moveTo>
                    <a:pt x="3003" y="0"/>
                  </a:moveTo>
                  <a:lnTo>
                    <a:pt x="0" y="701"/>
                  </a:lnTo>
                  <a:lnTo>
                    <a:pt x="3036" y="7339"/>
                  </a:lnTo>
                  <a:lnTo>
                    <a:pt x="6038" y="6638"/>
                  </a:lnTo>
                  <a:lnTo>
                    <a:pt x="3003" y="0"/>
                  </a:lnTo>
                  <a:close/>
                </a:path>
              </a:pathLst>
            </a:custGeom>
            <a:solidFill>
              <a:srgbClr val="FFB5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 name="Google Shape;1829;p51">
              <a:extLst>
                <a:ext uri="{FF2B5EF4-FFF2-40B4-BE49-F238E27FC236}">
                  <a16:creationId xmlns:a16="http://schemas.microsoft.com/office/drawing/2014/main" id="{86E508AD-CA7B-8239-AF61-B1C670207727}"/>
                </a:ext>
              </a:extLst>
            </p:cNvPr>
            <p:cNvSpPr/>
            <p:nvPr/>
          </p:nvSpPr>
          <p:spPr>
            <a:xfrm>
              <a:off x="3888200" y="4518450"/>
              <a:ext cx="262700" cy="148750"/>
            </a:xfrm>
            <a:custGeom>
              <a:avLst/>
              <a:gdLst/>
              <a:ahLst/>
              <a:cxnLst/>
              <a:rect l="l" t="t" r="r" b="b"/>
              <a:pathLst>
                <a:path w="10508" h="5950" extrusionOk="0">
                  <a:moveTo>
                    <a:pt x="9115" y="0"/>
                  </a:moveTo>
                  <a:cubicBezTo>
                    <a:pt x="9089" y="0"/>
                    <a:pt x="9064" y="4"/>
                    <a:pt x="9040" y="12"/>
                  </a:cubicBezTo>
                  <a:lnTo>
                    <a:pt x="5771" y="1213"/>
                  </a:lnTo>
                  <a:cubicBezTo>
                    <a:pt x="5604" y="1280"/>
                    <a:pt x="5438" y="1380"/>
                    <a:pt x="5338" y="1547"/>
                  </a:cubicBezTo>
                  <a:cubicBezTo>
                    <a:pt x="4737" y="2514"/>
                    <a:pt x="3203" y="4048"/>
                    <a:pt x="534" y="4749"/>
                  </a:cubicBezTo>
                  <a:cubicBezTo>
                    <a:pt x="0" y="4916"/>
                    <a:pt x="134" y="5950"/>
                    <a:pt x="1135" y="5950"/>
                  </a:cubicBezTo>
                  <a:lnTo>
                    <a:pt x="2802" y="5950"/>
                  </a:lnTo>
                  <a:cubicBezTo>
                    <a:pt x="4704" y="5950"/>
                    <a:pt x="6338" y="4582"/>
                    <a:pt x="6972" y="4415"/>
                  </a:cubicBezTo>
                  <a:cubicBezTo>
                    <a:pt x="8440" y="3948"/>
                    <a:pt x="9040" y="3915"/>
                    <a:pt x="10108" y="3348"/>
                  </a:cubicBezTo>
                  <a:cubicBezTo>
                    <a:pt x="10374" y="3214"/>
                    <a:pt x="10508" y="2914"/>
                    <a:pt x="10441" y="2647"/>
                  </a:cubicBezTo>
                  <a:lnTo>
                    <a:pt x="9340" y="146"/>
                  </a:lnTo>
                  <a:cubicBezTo>
                    <a:pt x="9289" y="44"/>
                    <a:pt x="9200" y="0"/>
                    <a:pt x="9115"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 name="Google Shape;1830;p51">
              <a:extLst>
                <a:ext uri="{FF2B5EF4-FFF2-40B4-BE49-F238E27FC236}">
                  <a16:creationId xmlns:a16="http://schemas.microsoft.com/office/drawing/2014/main" id="{7F3A85FF-0FA0-F576-8B4D-95F440CFBF38}"/>
                </a:ext>
              </a:extLst>
            </p:cNvPr>
            <p:cNvSpPr/>
            <p:nvPr/>
          </p:nvSpPr>
          <p:spPr>
            <a:xfrm>
              <a:off x="3969925" y="4386150"/>
              <a:ext cx="114275" cy="102600"/>
            </a:xfrm>
            <a:custGeom>
              <a:avLst/>
              <a:gdLst/>
              <a:ahLst/>
              <a:cxnLst/>
              <a:rect l="l" t="t" r="r" b="b"/>
              <a:pathLst>
                <a:path w="4571" h="4104" extrusionOk="0">
                  <a:moveTo>
                    <a:pt x="3003" y="0"/>
                  </a:moveTo>
                  <a:lnTo>
                    <a:pt x="0" y="701"/>
                  </a:lnTo>
                  <a:lnTo>
                    <a:pt x="1568" y="4103"/>
                  </a:lnTo>
                  <a:lnTo>
                    <a:pt x="4570" y="3403"/>
                  </a:lnTo>
                  <a:lnTo>
                    <a:pt x="3003" y="0"/>
                  </a:ln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 name="Google Shape;1831;p51">
              <a:extLst>
                <a:ext uri="{FF2B5EF4-FFF2-40B4-BE49-F238E27FC236}">
                  <a16:creationId xmlns:a16="http://schemas.microsoft.com/office/drawing/2014/main" id="{781DCFE8-1BFE-018F-7117-090D8154A0A0}"/>
                </a:ext>
              </a:extLst>
            </p:cNvPr>
            <p:cNvSpPr/>
            <p:nvPr/>
          </p:nvSpPr>
          <p:spPr>
            <a:xfrm>
              <a:off x="3663025" y="3439625"/>
              <a:ext cx="788100" cy="1035775"/>
            </a:xfrm>
            <a:custGeom>
              <a:avLst/>
              <a:gdLst/>
              <a:ahLst/>
              <a:cxnLst/>
              <a:rect l="l" t="t" r="r" b="b"/>
              <a:pathLst>
                <a:path w="31524" h="41431" extrusionOk="0">
                  <a:moveTo>
                    <a:pt x="20382" y="1"/>
                  </a:moveTo>
                  <a:cubicBezTo>
                    <a:pt x="20382" y="1"/>
                    <a:pt x="1" y="1735"/>
                    <a:pt x="501" y="10575"/>
                  </a:cubicBezTo>
                  <a:cubicBezTo>
                    <a:pt x="1068" y="20282"/>
                    <a:pt x="12343" y="41431"/>
                    <a:pt x="12343" y="41431"/>
                  </a:cubicBezTo>
                  <a:lnTo>
                    <a:pt x="17847" y="40130"/>
                  </a:lnTo>
                  <a:cubicBezTo>
                    <a:pt x="17847" y="40130"/>
                    <a:pt x="12010" y="22350"/>
                    <a:pt x="10742" y="12476"/>
                  </a:cubicBezTo>
                  <a:cubicBezTo>
                    <a:pt x="12458" y="12476"/>
                    <a:pt x="14716" y="12574"/>
                    <a:pt x="17093" y="12574"/>
                  </a:cubicBezTo>
                  <a:cubicBezTo>
                    <a:pt x="22712" y="12574"/>
                    <a:pt x="28996" y="12030"/>
                    <a:pt x="30356" y="8374"/>
                  </a:cubicBezTo>
                  <a:cubicBezTo>
                    <a:pt x="31290" y="5705"/>
                    <a:pt x="31523" y="2803"/>
                    <a:pt x="31056" y="1"/>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 name="Google Shape;1832;p51">
              <a:extLst>
                <a:ext uri="{FF2B5EF4-FFF2-40B4-BE49-F238E27FC236}">
                  <a16:creationId xmlns:a16="http://schemas.microsoft.com/office/drawing/2014/main" id="{BE5542A3-1540-3B29-AFBC-F1C4C092F128}"/>
                </a:ext>
              </a:extLst>
            </p:cNvPr>
            <p:cNvSpPr/>
            <p:nvPr/>
          </p:nvSpPr>
          <p:spPr>
            <a:xfrm>
              <a:off x="3923225" y="4366975"/>
              <a:ext cx="201000" cy="115100"/>
            </a:xfrm>
            <a:custGeom>
              <a:avLst/>
              <a:gdLst/>
              <a:ahLst/>
              <a:cxnLst/>
              <a:rect l="l" t="t" r="r" b="b"/>
              <a:pathLst>
                <a:path w="8040" h="4604" extrusionOk="0">
                  <a:moveTo>
                    <a:pt x="7339" y="0"/>
                  </a:moveTo>
                  <a:lnTo>
                    <a:pt x="0" y="2168"/>
                  </a:lnTo>
                  <a:lnTo>
                    <a:pt x="768" y="4603"/>
                  </a:lnTo>
                  <a:lnTo>
                    <a:pt x="8039" y="2902"/>
                  </a:lnTo>
                  <a:lnTo>
                    <a:pt x="7339" y="0"/>
                  </a:ln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 name="Google Shape;1833;p51">
              <a:extLst>
                <a:ext uri="{FF2B5EF4-FFF2-40B4-BE49-F238E27FC236}">
                  <a16:creationId xmlns:a16="http://schemas.microsoft.com/office/drawing/2014/main" id="{185322F3-16A0-C769-2AC7-DB1F441668EE}"/>
                </a:ext>
              </a:extLst>
            </p:cNvPr>
            <p:cNvSpPr/>
            <p:nvPr/>
          </p:nvSpPr>
          <p:spPr>
            <a:xfrm>
              <a:off x="3990775" y="4555000"/>
              <a:ext cx="40050" cy="18300"/>
            </a:xfrm>
            <a:custGeom>
              <a:avLst/>
              <a:gdLst/>
              <a:ahLst/>
              <a:cxnLst/>
              <a:rect l="l" t="t" r="r" b="b"/>
              <a:pathLst>
                <a:path w="1602" h="732" extrusionOk="0">
                  <a:moveTo>
                    <a:pt x="556" y="143"/>
                  </a:moveTo>
                  <a:cubicBezTo>
                    <a:pt x="794" y="143"/>
                    <a:pt x="1094" y="191"/>
                    <a:pt x="1335" y="251"/>
                  </a:cubicBezTo>
                  <a:cubicBezTo>
                    <a:pt x="948" y="472"/>
                    <a:pt x="607" y="602"/>
                    <a:pt x="406" y="602"/>
                  </a:cubicBezTo>
                  <a:cubicBezTo>
                    <a:pt x="365" y="602"/>
                    <a:pt x="329" y="596"/>
                    <a:pt x="301" y="585"/>
                  </a:cubicBezTo>
                  <a:cubicBezTo>
                    <a:pt x="200" y="518"/>
                    <a:pt x="167" y="451"/>
                    <a:pt x="167" y="351"/>
                  </a:cubicBezTo>
                  <a:cubicBezTo>
                    <a:pt x="134" y="285"/>
                    <a:pt x="167" y="251"/>
                    <a:pt x="200" y="218"/>
                  </a:cubicBezTo>
                  <a:cubicBezTo>
                    <a:pt x="267" y="165"/>
                    <a:pt x="398" y="143"/>
                    <a:pt x="556" y="143"/>
                  </a:cubicBezTo>
                  <a:close/>
                  <a:moveTo>
                    <a:pt x="572" y="1"/>
                  </a:moveTo>
                  <a:cubicBezTo>
                    <a:pt x="375" y="1"/>
                    <a:pt x="199" y="31"/>
                    <a:pt x="100" y="118"/>
                  </a:cubicBezTo>
                  <a:cubicBezTo>
                    <a:pt x="34" y="185"/>
                    <a:pt x="0" y="285"/>
                    <a:pt x="0" y="351"/>
                  </a:cubicBezTo>
                  <a:cubicBezTo>
                    <a:pt x="34" y="518"/>
                    <a:pt x="100" y="652"/>
                    <a:pt x="234" y="685"/>
                  </a:cubicBezTo>
                  <a:cubicBezTo>
                    <a:pt x="324" y="715"/>
                    <a:pt x="414" y="731"/>
                    <a:pt x="504" y="731"/>
                  </a:cubicBezTo>
                  <a:cubicBezTo>
                    <a:pt x="614" y="731"/>
                    <a:pt x="724" y="707"/>
                    <a:pt x="834" y="652"/>
                  </a:cubicBezTo>
                  <a:cubicBezTo>
                    <a:pt x="1101" y="552"/>
                    <a:pt x="1335" y="418"/>
                    <a:pt x="1568" y="251"/>
                  </a:cubicBezTo>
                  <a:cubicBezTo>
                    <a:pt x="1601" y="251"/>
                    <a:pt x="1601" y="218"/>
                    <a:pt x="1601" y="185"/>
                  </a:cubicBezTo>
                  <a:cubicBezTo>
                    <a:pt x="1601" y="151"/>
                    <a:pt x="1568" y="151"/>
                    <a:pt x="1535" y="151"/>
                  </a:cubicBezTo>
                  <a:cubicBezTo>
                    <a:pt x="1467" y="129"/>
                    <a:pt x="977" y="1"/>
                    <a:pt x="572" y="1"/>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 name="Google Shape;1834;p51">
              <a:extLst>
                <a:ext uri="{FF2B5EF4-FFF2-40B4-BE49-F238E27FC236}">
                  <a16:creationId xmlns:a16="http://schemas.microsoft.com/office/drawing/2014/main" id="{1477A98A-676A-7B29-450A-813179A98922}"/>
                </a:ext>
              </a:extLst>
            </p:cNvPr>
            <p:cNvSpPr/>
            <p:nvPr/>
          </p:nvSpPr>
          <p:spPr>
            <a:xfrm>
              <a:off x="4001600" y="4531675"/>
              <a:ext cx="29225" cy="30450"/>
            </a:xfrm>
            <a:custGeom>
              <a:avLst/>
              <a:gdLst/>
              <a:ahLst/>
              <a:cxnLst/>
              <a:rect l="l" t="t" r="r" b="b"/>
              <a:pathLst>
                <a:path w="1169" h="1218" extrusionOk="0">
                  <a:moveTo>
                    <a:pt x="234" y="150"/>
                  </a:moveTo>
                  <a:lnTo>
                    <a:pt x="301" y="184"/>
                  </a:lnTo>
                  <a:cubicBezTo>
                    <a:pt x="318" y="167"/>
                    <a:pt x="343" y="159"/>
                    <a:pt x="372" y="159"/>
                  </a:cubicBezTo>
                  <a:cubicBezTo>
                    <a:pt x="401" y="159"/>
                    <a:pt x="435" y="167"/>
                    <a:pt x="468" y="184"/>
                  </a:cubicBezTo>
                  <a:cubicBezTo>
                    <a:pt x="701" y="284"/>
                    <a:pt x="868" y="751"/>
                    <a:pt x="968" y="1018"/>
                  </a:cubicBezTo>
                  <a:cubicBezTo>
                    <a:pt x="668" y="884"/>
                    <a:pt x="201" y="551"/>
                    <a:pt x="134" y="317"/>
                  </a:cubicBezTo>
                  <a:cubicBezTo>
                    <a:pt x="134" y="284"/>
                    <a:pt x="134" y="217"/>
                    <a:pt x="234" y="150"/>
                  </a:cubicBezTo>
                  <a:close/>
                  <a:moveTo>
                    <a:pt x="335" y="0"/>
                  </a:moveTo>
                  <a:cubicBezTo>
                    <a:pt x="276" y="0"/>
                    <a:pt x="218" y="17"/>
                    <a:pt x="168" y="50"/>
                  </a:cubicBezTo>
                  <a:cubicBezTo>
                    <a:pt x="68" y="84"/>
                    <a:pt x="1" y="217"/>
                    <a:pt x="1" y="350"/>
                  </a:cubicBezTo>
                  <a:cubicBezTo>
                    <a:pt x="68" y="684"/>
                    <a:pt x="701" y="1118"/>
                    <a:pt x="1068" y="1184"/>
                  </a:cubicBezTo>
                  <a:lnTo>
                    <a:pt x="1135" y="1218"/>
                  </a:lnTo>
                  <a:cubicBezTo>
                    <a:pt x="1135" y="1184"/>
                    <a:pt x="1135" y="1184"/>
                    <a:pt x="1135" y="1184"/>
                  </a:cubicBezTo>
                  <a:cubicBezTo>
                    <a:pt x="1168" y="1151"/>
                    <a:pt x="1168" y="1151"/>
                    <a:pt x="1135" y="1118"/>
                  </a:cubicBezTo>
                  <a:cubicBezTo>
                    <a:pt x="1135" y="1084"/>
                    <a:pt x="902" y="217"/>
                    <a:pt x="501" y="50"/>
                  </a:cubicBezTo>
                  <a:cubicBezTo>
                    <a:pt x="451" y="17"/>
                    <a:pt x="393" y="0"/>
                    <a:pt x="335"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 name="Google Shape;1835;p51">
              <a:extLst>
                <a:ext uri="{FF2B5EF4-FFF2-40B4-BE49-F238E27FC236}">
                  <a16:creationId xmlns:a16="http://schemas.microsoft.com/office/drawing/2014/main" id="{F2741F03-C57B-07B8-906F-158690E6AF5E}"/>
                </a:ext>
              </a:extLst>
            </p:cNvPr>
            <p:cNvSpPr/>
            <p:nvPr/>
          </p:nvSpPr>
          <p:spPr>
            <a:xfrm>
              <a:off x="3527100" y="3271175"/>
              <a:ext cx="101775" cy="85225"/>
            </a:xfrm>
            <a:custGeom>
              <a:avLst/>
              <a:gdLst/>
              <a:ahLst/>
              <a:cxnLst/>
              <a:rect l="l" t="t" r="r" b="b"/>
              <a:pathLst>
                <a:path w="4071" h="3409" extrusionOk="0">
                  <a:moveTo>
                    <a:pt x="1" y="1"/>
                  </a:moveTo>
                  <a:lnTo>
                    <a:pt x="468" y="3403"/>
                  </a:lnTo>
                  <a:cubicBezTo>
                    <a:pt x="468" y="3403"/>
                    <a:pt x="610" y="3409"/>
                    <a:pt x="837" y="3409"/>
                  </a:cubicBezTo>
                  <a:cubicBezTo>
                    <a:pt x="1718" y="3409"/>
                    <a:pt x="3885" y="3324"/>
                    <a:pt x="4070" y="2503"/>
                  </a:cubicBezTo>
                  <a:lnTo>
                    <a:pt x="3503" y="735"/>
                  </a:lnTo>
                  <a:lnTo>
                    <a:pt x="1" y="1"/>
                  </a:lnTo>
                  <a:close/>
                </a:path>
              </a:pathLst>
            </a:custGeom>
            <a:solidFill>
              <a:srgbClr val="F4B09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 name="Google Shape;1836;p51">
              <a:extLst>
                <a:ext uri="{FF2B5EF4-FFF2-40B4-BE49-F238E27FC236}">
                  <a16:creationId xmlns:a16="http://schemas.microsoft.com/office/drawing/2014/main" id="{7015A354-1080-1753-56C9-3A79594595D2}"/>
                </a:ext>
              </a:extLst>
            </p:cNvPr>
            <p:cNvSpPr/>
            <p:nvPr/>
          </p:nvSpPr>
          <p:spPr>
            <a:xfrm>
              <a:off x="3463725" y="3271175"/>
              <a:ext cx="75075" cy="105100"/>
            </a:xfrm>
            <a:custGeom>
              <a:avLst/>
              <a:gdLst/>
              <a:ahLst/>
              <a:cxnLst/>
              <a:rect l="l" t="t" r="r" b="b"/>
              <a:pathLst>
                <a:path w="3003" h="4204" extrusionOk="0">
                  <a:moveTo>
                    <a:pt x="2536" y="1"/>
                  </a:moveTo>
                  <a:lnTo>
                    <a:pt x="1" y="1935"/>
                  </a:lnTo>
                  <a:lnTo>
                    <a:pt x="935" y="4204"/>
                  </a:lnTo>
                  <a:lnTo>
                    <a:pt x="3003" y="3403"/>
                  </a:lnTo>
                  <a:lnTo>
                    <a:pt x="2536" y="1"/>
                  </a:lnTo>
                  <a:close/>
                </a:path>
              </a:pathLst>
            </a:custGeom>
            <a:solidFill>
              <a:srgbClr val="F4B09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 name="Google Shape;1837;p51">
              <a:extLst>
                <a:ext uri="{FF2B5EF4-FFF2-40B4-BE49-F238E27FC236}">
                  <a16:creationId xmlns:a16="http://schemas.microsoft.com/office/drawing/2014/main" id="{49B8919D-4C37-ED48-FEF2-434575727AF7}"/>
                </a:ext>
              </a:extLst>
            </p:cNvPr>
            <p:cNvSpPr/>
            <p:nvPr/>
          </p:nvSpPr>
          <p:spPr>
            <a:xfrm>
              <a:off x="3949900" y="2752475"/>
              <a:ext cx="528750" cy="691350"/>
            </a:xfrm>
            <a:custGeom>
              <a:avLst/>
              <a:gdLst/>
              <a:ahLst/>
              <a:cxnLst/>
              <a:rect l="l" t="t" r="r" b="b"/>
              <a:pathLst>
                <a:path w="21150" h="27654" extrusionOk="0">
                  <a:moveTo>
                    <a:pt x="12276" y="1"/>
                  </a:moveTo>
                  <a:cubicBezTo>
                    <a:pt x="11109" y="1"/>
                    <a:pt x="9941" y="34"/>
                    <a:pt x="8774" y="101"/>
                  </a:cubicBezTo>
                  <a:cubicBezTo>
                    <a:pt x="7673" y="201"/>
                    <a:pt x="6639" y="367"/>
                    <a:pt x="5805" y="534"/>
                  </a:cubicBezTo>
                  <a:cubicBezTo>
                    <a:pt x="4704" y="734"/>
                    <a:pt x="4070" y="935"/>
                    <a:pt x="4070" y="935"/>
                  </a:cubicBezTo>
                  <a:cubicBezTo>
                    <a:pt x="4070" y="935"/>
                    <a:pt x="1" y="10275"/>
                    <a:pt x="2870" y="27654"/>
                  </a:cubicBezTo>
                  <a:lnTo>
                    <a:pt x="19415" y="27654"/>
                  </a:lnTo>
                  <a:cubicBezTo>
                    <a:pt x="19515" y="26186"/>
                    <a:pt x="19181" y="21383"/>
                    <a:pt x="19448" y="15245"/>
                  </a:cubicBezTo>
                  <a:cubicBezTo>
                    <a:pt x="19581" y="10708"/>
                    <a:pt x="20149" y="6205"/>
                    <a:pt x="21083" y="1768"/>
                  </a:cubicBezTo>
                  <a:cubicBezTo>
                    <a:pt x="21149" y="1435"/>
                    <a:pt x="20982" y="1201"/>
                    <a:pt x="21083" y="868"/>
                  </a:cubicBezTo>
                  <a:cubicBezTo>
                    <a:pt x="20482" y="668"/>
                    <a:pt x="19882" y="501"/>
                    <a:pt x="19281" y="434"/>
                  </a:cubicBezTo>
                  <a:cubicBezTo>
                    <a:pt x="18281" y="301"/>
                    <a:pt x="17013" y="134"/>
                    <a:pt x="15779" y="101"/>
                  </a:cubicBezTo>
                  <a:cubicBezTo>
                    <a:pt x="14611" y="34"/>
                    <a:pt x="13444" y="1"/>
                    <a:pt x="12276"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 name="Google Shape;1838;p51">
              <a:extLst>
                <a:ext uri="{FF2B5EF4-FFF2-40B4-BE49-F238E27FC236}">
                  <a16:creationId xmlns:a16="http://schemas.microsoft.com/office/drawing/2014/main" id="{A357F164-078D-FF84-362C-253AB7672D78}"/>
                </a:ext>
              </a:extLst>
            </p:cNvPr>
            <p:cNvSpPr/>
            <p:nvPr/>
          </p:nvSpPr>
          <p:spPr>
            <a:xfrm>
              <a:off x="4385225" y="2796000"/>
              <a:ext cx="91750" cy="337600"/>
            </a:xfrm>
            <a:custGeom>
              <a:avLst/>
              <a:gdLst/>
              <a:ahLst/>
              <a:cxnLst/>
              <a:rect l="l" t="t" r="r" b="b"/>
              <a:pathLst>
                <a:path w="3670" h="13504" extrusionOk="0">
                  <a:moveTo>
                    <a:pt x="3100" y="1"/>
                  </a:moveTo>
                  <a:cubicBezTo>
                    <a:pt x="2010" y="1"/>
                    <a:pt x="620" y="311"/>
                    <a:pt x="367" y="1829"/>
                  </a:cubicBezTo>
                  <a:cubicBezTo>
                    <a:pt x="0" y="3763"/>
                    <a:pt x="434" y="8267"/>
                    <a:pt x="2035" y="13504"/>
                  </a:cubicBezTo>
                  <a:cubicBezTo>
                    <a:pt x="2168" y="9001"/>
                    <a:pt x="2736" y="4464"/>
                    <a:pt x="3670" y="27"/>
                  </a:cubicBezTo>
                  <a:cubicBezTo>
                    <a:pt x="3496" y="12"/>
                    <a:pt x="3304" y="1"/>
                    <a:pt x="3100" y="1"/>
                  </a:cubicBez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 name="Google Shape;1839;p51">
              <a:extLst>
                <a:ext uri="{FF2B5EF4-FFF2-40B4-BE49-F238E27FC236}">
                  <a16:creationId xmlns:a16="http://schemas.microsoft.com/office/drawing/2014/main" id="{6F132C01-4042-E646-CEF1-5AF29455B020}"/>
                </a:ext>
              </a:extLst>
            </p:cNvPr>
            <p:cNvSpPr/>
            <p:nvPr/>
          </p:nvSpPr>
          <p:spPr>
            <a:xfrm>
              <a:off x="4230950" y="2831700"/>
              <a:ext cx="365275" cy="557925"/>
            </a:xfrm>
            <a:custGeom>
              <a:avLst/>
              <a:gdLst/>
              <a:ahLst/>
              <a:cxnLst/>
              <a:rect l="l" t="t" r="r" b="b"/>
              <a:pathLst>
                <a:path w="14611" h="22317" extrusionOk="0">
                  <a:moveTo>
                    <a:pt x="10423" y="15084"/>
                  </a:moveTo>
                  <a:cubicBezTo>
                    <a:pt x="10429" y="15084"/>
                    <a:pt x="10413" y="15120"/>
                    <a:pt x="10374" y="15178"/>
                  </a:cubicBezTo>
                  <a:cubicBezTo>
                    <a:pt x="10368" y="15185"/>
                    <a:pt x="10362" y="15192"/>
                    <a:pt x="10355" y="15199"/>
                  </a:cubicBezTo>
                  <a:lnTo>
                    <a:pt x="10355" y="15199"/>
                  </a:lnTo>
                  <a:cubicBezTo>
                    <a:pt x="10364" y="15181"/>
                    <a:pt x="10374" y="15163"/>
                    <a:pt x="10374" y="15145"/>
                  </a:cubicBezTo>
                  <a:cubicBezTo>
                    <a:pt x="10402" y="15103"/>
                    <a:pt x="10418" y="15084"/>
                    <a:pt x="10423" y="15084"/>
                  </a:cubicBezTo>
                  <a:close/>
                  <a:moveTo>
                    <a:pt x="11242" y="0"/>
                  </a:moveTo>
                  <a:lnTo>
                    <a:pt x="6838" y="1702"/>
                  </a:lnTo>
                  <a:cubicBezTo>
                    <a:pt x="7205" y="2769"/>
                    <a:pt x="7606" y="3903"/>
                    <a:pt x="7973" y="5004"/>
                  </a:cubicBezTo>
                  <a:cubicBezTo>
                    <a:pt x="8339" y="6105"/>
                    <a:pt x="8673" y="7239"/>
                    <a:pt x="9007" y="8340"/>
                  </a:cubicBezTo>
                  <a:cubicBezTo>
                    <a:pt x="9307" y="9441"/>
                    <a:pt x="9607" y="10575"/>
                    <a:pt x="9841" y="11676"/>
                  </a:cubicBezTo>
                  <a:cubicBezTo>
                    <a:pt x="10074" y="12743"/>
                    <a:pt x="10241" y="13844"/>
                    <a:pt x="10308" y="14945"/>
                  </a:cubicBezTo>
                  <a:lnTo>
                    <a:pt x="10331" y="15226"/>
                  </a:lnTo>
                  <a:lnTo>
                    <a:pt x="10331" y="15226"/>
                  </a:lnTo>
                  <a:cubicBezTo>
                    <a:pt x="10075" y="15507"/>
                    <a:pt x="9789" y="15758"/>
                    <a:pt x="9474" y="15979"/>
                  </a:cubicBezTo>
                  <a:cubicBezTo>
                    <a:pt x="8573" y="16579"/>
                    <a:pt x="7606" y="17079"/>
                    <a:pt x="6605" y="17513"/>
                  </a:cubicBezTo>
                  <a:cubicBezTo>
                    <a:pt x="5537" y="18013"/>
                    <a:pt x="4437" y="18414"/>
                    <a:pt x="3336" y="18847"/>
                  </a:cubicBezTo>
                  <a:cubicBezTo>
                    <a:pt x="2268" y="19248"/>
                    <a:pt x="1101" y="19648"/>
                    <a:pt x="0" y="20048"/>
                  </a:cubicBezTo>
                  <a:lnTo>
                    <a:pt x="501" y="22316"/>
                  </a:lnTo>
                  <a:cubicBezTo>
                    <a:pt x="2969" y="22050"/>
                    <a:pt x="5437" y="21549"/>
                    <a:pt x="7839" y="20849"/>
                  </a:cubicBezTo>
                  <a:cubicBezTo>
                    <a:pt x="9107" y="20482"/>
                    <a:pt x="10341" y="19981"/>
                    <a:pt x="11542" y="19348"/>
                  </a:cubicBezTo>
                  <a:cubicBezTo>
                    <a:pt x="12242" y="18981"/>
                    <a:pt x="12909" y="18514"/>
                    <a:pt x="13476" y="17913"/>
                  </a:cubicBezTo>
                  <a:cubicBezTo>
                    <a:pt x="13877" y="17513"/>
                    <a:pt x="14210" y="16979"/>
                    <a:pt x="14410" y="16446"/>
                  </a:cubicBezTo>
                  <a:cubicBezTo>
                    <a:pt x="14511" y="16079"/>
                    <a:pt x="14577" y="15712"/>
                    <a:pt x="14577" y="15345"/>
                  </a:cubicBezTo>
                  <a:lnTo>
                    <a:pt x="14577" y="14844"/>
                  </a:lnTo>
                  <a:cubicBezTo>
                    <a:pt x="14611" y="14144"/>
                    <a:pt x="14577" y="13477"/>
                    <a:pt x="14511" y="12810"/>
                  </a:cubicBezTo>
                  <a:cubicBezTo>
                    <a:pt x="14444" y="12176"/>
                    <a:pt x="14344" y="11509"/>
                    <a:pt x="14244" y="10875"/>
                  </a:cubicBezTo>
                  <a:cubicBezTo>
                    <a:pt x="14077" y="9607"/>
                    <a:pt x="13777" y="8373"/>
                    <a:pt x="13510" y="7172"/>
                  </a:cubicBezTo>
                  <a:cubicBezTo>
                    <a:pt x="13210" y="5938"/>
                    <a:pt x="12876" y="4737"/>
                    <a:pt x="12476" y="3536"/>
                  </a:cubicBezTo>
                  <a:cubicBezTo>
                    <a:pt x="12075" y="2369"/>
                    <a:pt x="11709" y="1201"/>
                    <a:pt x="11242" y="0"/>
                  </a:cubicBezTo>
                  <a:close/>
                </a:path>
              </a:pathLst>
            </a:custGeom>
            <a:solidFill>
              <a:srgbClr val="F4B09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 name="Google Shape;1840;p51">
              <a:extLst>
                <a:ext uri="{FF2B5EF4-FFF2-40B4-BE49-F238E27FC236}">
                  <a16:creationId xmlns:a16="http://schemas.microsoft.com/office/drawing/2014/main" id="{12F7FDCD-86A0-34D2-FB47-35B4AC1766B1}"/>
                </a:ext>
              </a:extLst>
            </p:cNvPr>
            <p:cNvSpPr/>
            <p:nvPr/>
          </p:nvSpPr>
          <p:spPr>
            <a:xfrm>
              <a:off x="4362525" y="2768725"/>
              <a:ext cx="241200" cy="334025"/>
            </a:xfrm>
            <a:custGeom>
              <a:avLst/>
              <a:gdLst/>
              <a:ahLst/>
              <a:cxnLst/>
              <a:rect l="l" t="t" r="r" b="b"/>
              <a:pathLst>
                <a:path w="9648" h="13361" extrusionOk="0">
                  <a:moveTo>
                    <a:pt x="3296" y="0"/>
                  </a:moveTo>
                  <a:cubicBezTo>
                    <a:pt x="1094" y="0"/>
                    <a:pt x="1" y="2217"/>
                    <a:pt x="708" y="5755"/>
                  </a:cubicBezTo>
                  <a:cubicBezTo>
                    <a:pt x="1275" y="8424"/>
                    <a:pt x="2243" y="10992"/>
                    <a:pt x="3543" y="13361"/>
                  </a:cubicBezTo>
                  <a:lnTo>
                    <a:pt x="9648" y="10492"/>
                  </a:lnTo>
                  <a:cubicBezTo>
                    <a:pt x="9081" y="6389"/>
                    <a:pt x="7646" y="1185"/>
                    <a:pt x="4578" y="218"/>
                  </a:cubicBezTo>
                  <a:cubicBezTo>
                    <a:pt x="4117" y="71"/>
                    <a:pt x="3689" y="0"/>
                    <a:pt x="3296"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 name="Google Shape;1841;p51">
              <a:extLst>
                <a:ext uri="{FF2B5EF4-FFF2-40B4-BE49-F238E27FC236}">
                  <a16:creationId xmlns:a16="http://schemas.microsoft.com/office/drawing/2014/main" id="{65DA52D6-569D-5D09-D605-86BFB8CBA2B8}"/>
                </a:ext>
              </a:extLst>
            </p:cNvPr>
            <p:cNvSpPr/>
            <p:nvPr/>
          </p:nvSpPr>
          <p:spPr>
            <a:xfrm>
              <a:off x="4127525" y="2579025"/>
              <a:ext cx="224350" cy="223550"/>
            </a:xfrm>
            <a:custGeom>
              <a:avLst/>
              <a:gdLst/>
              <a:ahLst/>
              <a:cxnLst/>
              <a:rect l="l" t="t" r="r" b="b"/>
              <a:pathLst>
                <a:path w="8974" h="8942" extrusionOk="0">
                  <a:moveTo>
                    <a:pt x="8674" y="0"/>
                  </a:moveTo>
                  <a:lnTo>
                    <a:pt x="6806" y="1535"/>
                  </a:lnTo>
                  <a:lnTo>
                    <a:pt x="4237" y="3670"/>
                  </a:lnTo>
                  <a:cubicBezTo>
                    <a:pt x="4304" y="4003"/>
                    <a:pt x="4371" y="4370"/>
                    <a:pt x="4404" y="4704"/>
                  </a:cubicBezTo>
                  <a:cubicBezTo>
                    <a:pt x="4537" y="6105"/>
                    <a:pt x="3403" y="6738"/>
                    <a:pt x="2002" y="7005"/>
                  </a:cubicBezTo>
                  <a:cubicBezTo>
                    <a:pt x="2002" y="7005"/>
                    <a:pt x="1" y="8873"/>
                    <a:pt x="4004" y="8940"/>
                  </a:cubicBezTo>
                  <a:cubicBezTo>
                    <a:pt x="4071" y="8941"/>
                    <a:pt x="4137" y="8942"/>
                    <a:pt x="4203" y="8942"/>
                  </a:cubicBezTo>
                  <a:cubicBezTo>
                    <a:pt x="8071" y="8942"/>
                    <a:pt x="8974" y="7039"/>
                    <a:pt x="8974" y="7039"/>
                  </a:cubicBezTo>
                  <a:cubicBezTo>
                    <a:pt x="7440" y="5538"/>
                    <a:pt x="8173" y="2235"/>
                    <a:pt x="8674" y="0"/>
                  </a:cubicBezTo>
                  <a:close/>
                </a:path>
              </a:pathLst>
            </a:custGeom>
            <a:solidFill>
              <a:srgbClr val="F4B09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 name="Google Shape;1842;p51">
              <a:extLst>
                <a:ext uri="{FF2B5EF4-FFF2-40B4-BE49-F238E27FC236}">
                  <a16:creationId xmlns:a16="http://schemas.microsoft.com/office/drawing/2014/main" id="{A730E327-12F6-AD05-13E7-68275BDD819C}"/>
                </a:ext>
              </a:extLst>
            </p:cNvPr>
            <p:cNvSpPr/>
            <p:nvPr/>
          </p:nvSpPr>
          <p:spPr>
            <a:xfrm>
              <a:off x="4233450" y="2749775"/>
              <a:ext cx="145125" cy="120300"/>
            </a:xfrm>
            <a:custGeom>
              <a:avLst/>
              <a:gdLst/>
              <a:ahLst/>
              <a:cxnLst/>
              <a:rect l="l" t="t" r="r" b="b"/>
              <a:pathLst>
                <a:path w="5805" h="4812" extrusionOk="0">
                  <a:moveTo>
                    <a:pt x="4968" y="0"/>
                  </a:moveTo>
                  <a:cubicBezTo>
                    <a:pt x="4740" y="0"/>
                    <a:pt x="4503" y="70"/>
                    <a:pt x="4337" y="209"/>
                  </a:cubicBezTo>
                  <a:cubicBezTo>
                    <a:pt x="3036" y="1109"/>
                    <a:pt x="1568" y="1743"/>
                    <a:pt x="0" y="2110"/>
                  </a:cubicBezTo>
                  <a:cubicBezTo>
                    <a:pt x="801" y="2877"/>
                    <a:pt x="1301" y="4812"/>
                    <a:pt x="1301" y="4812"/>
                  </a:cubicBezTo>
                  <a:cubicBezTo>
                    <a:pt x="1301" y="4812"/>
                    <a:pt x="5671" y="3778"/>
                    <a:pt x="5804" y="242"/>
                  </a:cubicBezTo>
                  <a:cubicBezTo>
                    <a:pt x="5571" y="142"/>
                    <a:pt x="5337" y="75"/>
                    <a:pt x="5104" y="8"/>
                  </a:cubicBezTo>
                  <a:cubicBezTo>
                    <a:pt x="5059" y="3"/>
                    <a:pt x="5014" y="0"/>
                    <a:pt x="4968"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 name="Google Shape;1843;p51">
              <a:extLst>
                <a:ext uri="{FF2B5EF4-FFF2-40B4-BE49-F238E27FC236}">
                  <a16:creationId xmlns:a16="http://schemas.microsoft.com/office/drawing/2014/main" id="{8C621962-C3A6-8955-5AB3-36C549D74BE8}"/>
                </a:ext>
              </a:extLst>
            </p:cNvPr>
            <p:cNvSpPr/>
            <p:nvPr/>
          </p:nvSpPr>
          <p:spPr>
            <a:xfrm>
              <a:off x="4124200" y="2748225"/>
              <a:ext cx="109275" cy="116850"/>
            </a:xfrm>
            <a:custGeom>
              <a:avLst/>
              <a:gdLst/>
              <a:ahLst/>
              <a:cxnLst/>
              <a:rect l="l" t="t" r="r" b="b"/>
              <a:pathLst>
                <a:path w="4371" h="4674" extrusionOk="0">
                  <a:moveTo>
                    <a:pt x="2206" y="0"/>
                  </a:moveTo>
                  <a:cubicBezTo>
                    <a:pt x="2194" y="0"/>
                    <a:pt x="2181" y="1"/>
                    <a:pt x="2169" y="4"/>
                  </a:cubicBezTo>
                  <a:cubicBezTo>
                    <a:pt x="1868" y="70"/>
                    <a:pt x="1635" y="137"/>
                    <a:pt x="1368" y="237"/>
                  </a:cubicBezTo>
                  <a:cubicBezTo>
                    <a:pt x="0" y="2305"/>
                    <a:pt x="2669" y="4674"/>
                    <a:pt x="2669" y="4674"/>
                  </a:cubicBezTo>
                  <a:cubicBezTo>
                    <a:pt x="2669" y="4674"/>
                    <a:pt x="3203" y="2839"/>
                    <a:pt x="4370" y="2172"/>
                  </a:cubicBezTo>
                  <a:cubicBezTo>
                    <a:pt x="2436" y="1738"/>
                    <a:pt x="2335" y="838"/>
                    <a:pt x="2436" y="337"/>
                  </a:cubicBezTo>
                  <a:cubicBezTo>
                    <a:pt x="2497" y="183"/>
                    <a:pt x="2359" y="0"/>
                    <a:pt x="2206"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 name="Google Shape;1844;p51">
              <a:extLst>
                <a:ext uri="{FF2B5EF4-FFF2-40B4-BE49-F238E27FC236}">
                  <a16:creationId xmlns:a16="http://schemas.microsoft.com/office/drawing/2014/main" id="{B3BB77C3-1890-149A-B9AB-87FF0A0D6D3F}"/>
                </a:ext>
              </a:extLst>
            </p:cNvPr>
            <p:cNvSpPr/>
            <p:nvPr/>
          </p:nvSpPr>
          <p:spPr>
            <a:xfrm>
              <a:off x="4233450" y="2617375"/>
              <a:ext cx="74250" cy="79250"/>
            </a:xfrm>
            <a:custGeom>
              <a:avLst/>
              <a:gdLst/>
              <a:ahLst/>
              <a:cxnLst/>
              <a:rect l="l" t="t" r="r" b="b"/>
              <a:pathLst>
                <a:path w="2970" h="3170" extrusionOk="0">
                  <a:moveTo>
                    <a:pt x="2569" y="1"/>
                  </a:moveTo>
                  <a:lnTo>
                    <a:pt x="0" y="2136"/>
                  </a:lnTo>
                  <a:cubicBezTo>
                    <a:pt x="67" y="2469"/>
                    <a:pt x="134" y="2803"/>
                    <a:pt x="167" y="3170"/>
                  </a:cubicBezTo>
                  <a:cubicBezTo>
                    <a:pt x="1735" y="2903"/>
                    <a:pt x="2769" y="1969"/>
                    <a:pt x="2902" y="1001"/>
                  </a:cubicBezTo>
                  <a:cubicBezTo>
                    <a:pt x="2969" y="634"/>
                    <a:pt x="2602" y="268"/>
                    <a:pt x="2569" y="1"/>
                  </a:cubicBez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 name="Google Shape;1845;p51">
              <a:extLst>
                <a:ext uri="{FF2B5EF4-FFF2-40B4-BE49-F238E27FC236}">
                  <a16:creationId xmlns:a16="http://schemas.microsoft.com/office/drawing/2014/main" id="{64552D3B-CE7E-5C8B-7CD6-E31DD7AFE0AE}"/>
                </a:ext>
              </a:extLst>
            </p:cNvPr>
            <p:cNvSpPr/>
            <p:nvPr/>
          </p:nvSpPr>
          <p:spPr>
            <a:xfrm>
              <a:off x="4116700" y="2403225"/>
              <a:ext cx="121925" cy="153650"/>
            </a:xfrm>
            <a:custGeom>
              <a:avLst/>
              <a:gdLst/>
              <a:ahLst/>
              <a:cxnLst/>
              <a:rect l="l" t="t" r="r" b="b"/>
              <a:pathLst>
                <a:path w="4877" h="6146" extrusionOk="0">
                  <a:moveTo>
                    <a:pt x="2323" y="1"/>
                  </a:moveTo>
                  <a:cubicBezTo>
                    <a:pt x="1648" y="1"/>
                    <a:pt x="979" y="369"/>
                    <a:pt x="667" y="1095"/>
                  </a:cubicBezTo>
                  <a:cubicBezTo>
                    <a:pt x="0" y="2496"/>
                    <a:pt x="801" y="4831"/>
                    <a:pt x="2269" y="5931"/>
                  </a:cubicBezTo>
                  <a:cubicBezTo>
                    <a:pt x="2468" y="6079"/>
                    <a:pt x="2658" y="6145"/>
                    <a:pt x="2837" y="6145"/>
                  </a:cubicBezTo>
                  <a:cubicBezTo>
                    <a:pt x="4161" y="6145"/>
                    <a:pt x="4877" y="2518"/>
                    <a:pt x="3936" y="961"/>
                  </a:cubicBezTo>
                  <a:cubicBezTo>
                    <a:pt x="3583" y="318"/>
                    <a:pt x="2951" y="1"/>
                    <a:pt x="2323"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 name="Google Shape;1846;p51">
              <a:extLst>
                <a:ext uri="{FF2B5EF4-FFF2-40B4-BE49-F238E27FC236}">
                  <a16:creationId xmlns:a16="http://schemas.microsoft.com/office/drawing/2014/main" id="{83050B55-A796-55D9-A997-F27951A72D53}"/>
                </a:ext>
              </a:extLst>
            </p:cNvPr>
            <p:cNvSpPr/>
            <p:nvPr/>
          </p:nvSpPr>
          <p:spPr>
            <a:xfrm>
              <a:off x="4122525" y="2376425"/>
              <a:ext cx="230200" cy="304700"/>
            </a:xfrm>
            <a:custGeom>
              <a:avLst/>
              <a:gdLst/>
              <a:ahLst/>
              <a:cxnLst/>
              <a:rect l="l" t="t" r="r" b="b"/>
              <a:pathLst>
                <a:path w="9208" h="12188" extrusionOk="0">
                  <a:moveTo>
                    <a:pt x="4957" y="0"/>
                  </a:moveTo>
                  <a:cubicBezTo>
                    <a:pt x="4293" y="0"/>
                    <a:pt x="3612" y="167"/>
                    <a:pt x="2970" y="532"/>
                  </a:cubicBezTo>
                  <a:cubicBezTo>
                    <a:pt x="67" y="2067"/>
                    <a:pt x="1" y="6637"/>
                    <a:pt x="835" y="9305"/>
                  </a:cubicBezTo>
                  <a:cubicBezTo>
                    <a:pt x="1372" y="11156"/>
                    <a:pt x="3013" y="12187"/>
                    <a:pt x="4682" y="12187"/>
                  </a:cubicBezTo>
                  <a:cubicBezTo>
                    <a:pt x="5811" y="12187"/>
                    <a:pt x="6952" y="11715"/>
                    <a:pt x="7773" y="10706"/>
                  </a:cubicBezTo>
                  <a:cubicBezTo>
                    <a:pt x="9207" y="8972"/>
                    <a:pt x="9041" y="7170"/>
                    <a:pt x="9007" y="4101"/>
                  </a:cubicBezTo>
                  <a:cubicBezTo>
                    <a:pt x="9033" y="1712"/>
                    <a:pt x="7082" y="0"/>
                    <a:pt x="4957" y="0"/>
                  </a:cubicBezTo>
                  <a:close/>
                </a:path>
              </a:pathLst>
            </a:custGeom>
            <a:solidFill>
              <a:srgbClr val="F4B09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 name="Google Shape;1847;p51">
              <a:extLst>
                <a:ext uri="{FF2B5EF4-FFF2-40B4-BE49-F238E27FC236}">
                  <a16:creationId xmlns:a16="http://schemas.microsoft.com/office/drawing/2014/main" id="{C9AEBBF6-49D6-641A-9627-B28F2C8944D1}"/>
                </a:ext>
              </a:extLst>
            </p:cNvPr>
            <p:cNvSpPr/>
            <p:nvPr/>
          </p:nvSpPr>
          <p:spPr>
            <a:xfrm>
              <a:off x="4290975" y="2396675"/>
              <a:ext cx="116225" cy="153150"/>
            </a:xfrm>
            <a:custGeom>
              <a:avLst/>
              <a:gdLst/>
              <a:ahLst/>
              <a:cxnLst/>
              <a:rect l="l" t="t" r="r" b="b"/>
              <a:pathLst>
                <a:path w="4649" h="6126" extrusionOk="0">
                  <a:moveTo>
                    <a:pt x="2389" y="0"/>
                  </a:moveTo>
                  <a:cubicBezTo>
                    <a:pt x="1883" y="0"/>
                    <a:pt x="1373" y="208"/>
                    <a:pt x="1002" y="656"/>
                  </a:cubicBezTo>
                  <a:cubicBezTo>
                    <a:pt x="1" y="1824"/>
                    <a:pt x="101" y="4259"/>
                    <a:pt x="1202" y="5726"/>
                  </a:cubicBezTo>
                  <a:cubicBezTo>
                    <a:pt x="1413" y="6005"/>
                    <a:pt x="1652" y="6126"/>
                    <a:pt x="1902" y="6126"/>
                  </a:cubicBezTo>
                  <a:cubicBezTo>
                    <a:pt x="3148" y="6126"/>
                    <a:pt x="4649" y="3097"/>
                    <a:pt x="4204" y="1457"/>
                  </a:cubicBezTo>
                  <a:cubicBezTo>
                    <a:pt x="3999" y="532"/>
                    <a:pt x="3199" y="0"/>
                    <a:pt x="2389"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 name="Google Shape;1848;p51">
              <a:extLst>
                <a:ext uri="{FF2B5EF4-FFF2-40B4-BE49-F238E27FC236}">
                  <a16:creationId xmlns:a16="http://schemas.microsoft.com/office/drawing/2014/main" id="{8801804B-F098-CE42-71A8-6693CCC8DC1A}"/>
                </a:ext>
              </a:extLst>
            </p:cNvPr>
            <p:cNvSpPr/>
            <p:nvPr/>
          </p:nvSpPr>
          <p:spPr>
            <a:xfrm>
              <a:off x="4127525" y="2332825"/>
              <a:ext cx="309425" cy="150325"/>
            </a:xfrm>
            <a:custGeom>
              <a:avLst/>
              <a:gdLst/>
              <a:ahLst/>
              <a:cxnLst/>
              <a:rect l="l" t="t" r="r" b="b"/>
              <a:pathLst>
                <a:path w="12377" h="6013" extrusionOk="0">
                  <a:moveTo>
                    <a:pt x="6412" y="1"/>
                  </a:moveTo>
                  <a:cubicBezTo>
                    <a:pt x="5913" y="1"/>
                    <a:pt x="5417" y="65"/>
                    <a:pt x="4938" y="208"/>
                  </a:cubicBezTo>
                  <a:cubicBezTo>
                    <a:pt x="2169" y="1009"/>
                    <a:pt x="1" y="2910"/>
                    <a:pt x="935" y="3477"/>
                  </a:cubicBezTo>
                  <a:cubicBezTo>
                    <a:pt x="2836" y="4611"/>
                    <a:pt x="10642" y="5612"/>
                    <a:pt x="10642" y="5612"/>
                  </a:cubicBezTo>
                  <a:cubicBezTo>
                    <a:pt x="10875" y="4911"/>
                    <a:pt x="12376" y="6012"/>
                    <a:pt x="12176" y="3777"/>
                  </a:cubicBezTo>
                  <a:cubicBezTo>
                    <a:pt x="12007" y="1997"/>
                    <a:pt x="9179" y="1"/>
                    <a:pt x="6412" y="1"/>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 name="Google Shape;1849;p51">
              <a:extLst>
                <a:ext uri="{FF2B5EF4-FFF2-40B4-BE49-F238E27FC236}">
                  <a16:creationId xmlns:a16="http://schemas.microsoft.com/office/drawing/2014/main" id="{7A06F11C-C5C0-C2CF-5589-16E531F5D10A}"/>
                </a:ext>
              </a:extLst>
            </p:cNvPr>
            <p:cNvSpPr/>
            <p:nvPr/>
          </p:nvSpPr>
          <p:spPr>
            <a:xfrm>
              <a:off x="4127525" y="2407900"/>
              <a:ext cx="275825" cy="97275"/>
            </a:xfrm>
            <a:custGeom>
              <a:avLst/>
              <a:gdLst/>
              <a:ahLst/>
              <a:cxnLst/>
              <a:rect l="l" t="t" r="r" b="b"/>
              <a:pathLst>
                <a:path w="11033" h="3891" extrusionOk="0">
                  <a:moveTo>
                    <a:pt x="580" y="0"/>
                  </a:moveTo>
                  <a:cubicBezTo>
                    <a:pt x="554" y="0"/>
                    <a:pt x="539" y="2"/>
                    <a:pt x="535" y="7"/>
                  </a:cubicBezTo>
                  <a:cubicBezTo>
                    <a:pt x="234" y="374"/>
                    <a:pt x="34" y="774"/>
                    <a:pt x="1" y="1241"/>
                  </a:cubicBezTo>
                  <a:cubicBezTo>
                    <a:pt x="34" y="1575"/>
                    <a:pt x="9241" y="2676"/>
                    <a:pt x="10275" y="3876"/>
                  </a:cubicBezTo>
                  <a:cubicBezTo>
                    <a:pt x="10283" y="3886"/>
                    <a:pt x="10292" y="3891"/>
                    <a:pt x="10303" y="3891"/>
                  </a:cubicBezTo>
                  <a:cubicBezTo>
                    <a:pt x="10480" y="3891"/>
                    <a:pt x="11032" y="2701"/>
                    <a:pt x="10875" y="2576"/>
                  </a:cubicBezTo>
                  <a:cubicBezTo>
                    <a:pt x="9941" y="1770"/>
                    <a:pt x="1291" y="0"/>
                    <a:pt x="580"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 name="Google Shape;1850;p51">
              <a:extLst>
                <a:ext uri="{FF2B5EF4-FFF2-40B4-BE49-F238E27FC236}">
                  <a16:creationId xmlns:a16="http://schemas.microsoft.com/office/drawing/2014/main" id="{65C29D14-1686-B1D3-7048-64CDDD5920AC}"/>
                </a:ext>
              </a:extLst>
            </p:cNvPr>
            <p:cNvSpPr/>
            <p:nvPr/>
          </p:nvSpPr>
          <p:spPr>
            <a:xfrm>
              <a:off x="4127525" y="2407900"/>
              <a:ext cx="275825" cy="97275"/>
            </a:xfrm>
            <a:custGeom>
              <a:avLst/>
              <a:gdLst/>
              <a:ahLst/>
              <a:cxnLst/>
              <a:rect l="l" t="t" r="r" b="b"/>
              <a:pathLst>
                <a:path w="11033" h="3891" extrusionOk="0">
                  <a:moveTo>
                    <a:pt x="580" y="0"/>
                  </a:moveTo>
                  <a:cubicBezTo>
                    <a:pt x="554" y="0"/>
                    <a:pt x="539" y="2"/>
                    <a:pt x="535" y="7"/>
                  </a:cubicBezTo>
                  <a:cubicBezTo>
                    <a:pt x="234" y="374"/>
                    <a:pt x="34" y="774"/>
                    <a:pt x="1" y="1241"/>
                  </a:cubicBezTo>
                  <a:cubicBezTo>
                    <a:pt x="34" y="1575"/>
                    <a:pt x="9241" y="2676"/>
                    <a:pt x="10275" y="3876"/>
                  </a:cubicBezTo>
                  <a:cubicBezTo>
                    <a:pt x="10283" y="3886"/>
                    <a:pt x="10292" y="3891"/>
                    <a:pt x="10303" y="3891"/>
                  </a:cubicBezTo>
                  <a:cubicBezTo>
                    <a:pt x="10480" y="3891"/>
                    <a:pt x="11032" y="2701"/>
                    <a:pt x="10875" y="2576"/>
                  </a:cubicBezTo>
                  <a:cubicBezTo>
                    <a:pt x="9941" y="1770"/>
                    <a:pt x="1291" y="0"/>
                    <a:pt x="580" y="0"/>
                  </a:cubicBez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 name="Google Shape;1851;p51">
              <a:extLst>
                <a:ext uri="{FF2B5EF4-FFF2-40B4-BE49-F238E27FC236}">
                  <a16:creationId xmlns:a16="http://schemas.microsoft.com/office/drawing/2014/main" id="{0D9E89C7-BBA7-B3A7-1BD4-C7A76C89C954}"/>
                </a:ext>
              </a:extLst>
            </p:cNvPr>
            <p:cNvSpPr/>
            <p:nvPr/>
          </p:nvSpPr>
          <p:spPr>
            <a:xfrm>
              <a:off x="4108350" y="2490425"/>
              <a:ext cx="266875" cy="32250"/>
            </a:xfrm>
            <a:custGeom>
              <a:avLst/>
              <a:gdLst/>
              <a:ahLst/>
              <a:cxnLst/>
              <a:rect l="l" t="t" r="r" b="b"/>
              <a:pathLst>
                <a:path w="10675" h="1290" extrusionOk="0">
                  <a:moveTo>
                    <a:pt x="5836" y="0"/>
                  </a:moveTo>
                  <a:cubicBezTo>
                    <a:pt x="4914" y="0"/>
                    <a:pt x="3992" y="74"/>
                    <a:pt x="3070" y="242"/>
                  </a:cubicBezTo>
                  <a:cubicBezTo>
                    <a:pt x="2964" y="202"/>
                    <a:pt x="2854" y="184"/>
                    <a:pt x="2742" y="184"/>
                  </a:cubicBezTo>
                  <a:cubicBezTo>
                    <a:pt x="2571" y="184"/>
                    <a:pt x="2397" y="228"/>
                    <a:pt x="2236" y="309"/>
                  </a:cubicBezTo>
                  <a:cubicBezTo>
                    <a:pt x="1535" y="309"/>
                    <a:pt x="801" y="375"/>
                    <a:pt x="101" y="542"/>
                  </a:cubicBezTo>
                  <a:cubicBezTo>
                    <a:pt x="67" y="542"/>
                    <a:pt x="1" y="609"/>
                    <a:pt x="34" y="642"/>
                  </a:cubicBezTo>
                  <a:cubicBezTo>
                    <a:pt x="34" y="709"/>
                    <a:pt x="101" y="742"/>
                    <a:pt x="167" y="742"/>
                  </a:cubicBezTo>
                  <a:cubicBezTo>
                    <a:pt x="723" y="603"/>
                    <a:pt x="1326" y="534"/>
                    <a:pt x="1916" y="534"/>
                  </a:cubicBezTo>
                  <a:cubicBezTo>
                    <a:pt x="2035" y="534"/>
                    <a:pt x="2152" y="537"/>
                    <a:pt x="2269" y="542"/>
                  </a:cubicBezTo>
                  <a:lnTo>
                    <a:pt x="2336" y="542"/>
                  </a:lnTo>
                  <a:cubicBezTo>
                    <a:pt x="2469" y="453"/>
                    <a:pt x="2617" y="409"/>
                    <a:pt x="2771" y="409"/>
                  </a:cubicBezTo>
                  <a:cubicBezTo>
                    <a:pt x="2847" y="409"/>
                    <a:pt x="2925" y="420"/>
                    <a:pt x="3003" y="442"/>
                  </a:cubicBezTo>
                  <a:lnTo>
                    <a:pt x="3070" y="442"/>
                  </a:lnTo>
                  <a:cubicBezTo>
                    <a:pt x="3870" y="292"/>
                    <a:pt x="4689" y="217"/>
                    <a:pt x="5513" y="217"/>
                  </a:cubicBezTo>
                  <a:cubicBezTo>
                    <a:pt x="5788" y="217"/>
                    <a:pt x="6063" y="225"/>
                    <a:pt x="6339" y="242"/>
                  </a:cubicBezTo>
                  <a:cubicBezTo>
                    <a:pt x="7373" y="309"/>
                    <a:pt x="10075" y="642"/>
                    <a:pt x="10441" y="1243"/>
                  </a:cubicBezTo>
                  <a:cubicBezTo>
                    <a:pt x="10465" y="1266"/>
                    <a:pt x="10505" y="1290"/>
                    <a:pt x="10539" y="1290"/>
                  </a:cubicBezTo>
                  <a:cubicBezTo>
                    <a:pt x="10553" y="1290"/>
                    <a:pt x="10565" y="1286"/>
                    <a:pt x="10575" y="1276"/>
                  </a:cubicBezTo>
                  <a:lnTo>
                    <a:pt x="10608" y="1276"/>
                  </a:lnTo>
                  <a:cubicBezTo>
                    <a:pt x="10675" y="1243"/>
                    <a:pt x="10675" y="1176"/>
                    <a:pt x="10642" y="1143"/>
                  </a:cubicBezTo>
                  <a:cubicBezTo>
                    <a:pt x="10141" y="342"/>
                    <a:pt x="6739" y="42"/>
                    <a:pt x="6372" y="8"/>
                  </a:cubicBezTo>
                  <a:cubicBezTo>
                    <a:pt x="6193" y="3"/>
                    <a:pt x="6015" y="0"/>
                    <a:pt x="5836"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 name="Google Shape;1852;p51">
              <a:extLst>
                <a:ext uri="{FF2B5EF4-FFF2-40B4-BE49-F238E27FC236}">
                  <a16:creationId xmlns:a16="http://schemas.microsoft.com/office/drawing/2014/main" id="{A381CC2D-6E84-4890-F723-035083CEAEB8}"/>
                </a:ext>
              </a:extLst>
            </p:cNvPr>
            <p:cNvSpPr/>
            <p:nvPr/>
          </p:nvSpPr>
          <p:spPr>
            <a:xfrm>
              <a:off x="4185075" y="2492300"/>
              <a:ext cx="90100" cy="70500"/>
            </a:xfrm>
            <a:custGeom>
              <a:avLst/>
              <a:gdLst/>
              <a:ahLst/>
              <a:cxnLst/>
              <a:rect l="l" t="t" r="r" b="b"/>
              <a:pathLst>
                <a:path w="3604" h="2820" extrusionOk="0">
                  <a:moveTo>
                    <a:pt x="3169" y="0"/>
                  </a:moveTo>
                  <a:cubicBezTo>
                    <a:pt x="3136" y="0"/>
                    <a:pt x="3136" y="33"/>
                    <a:pt x="3136" y="67"/>
                  </a:cubicBezTo>
                  <a:cubicBezTo>
                    <a:pt x="3136" y="67"/>
                    <a:pt x="3503" y="1334"/>
                    <a:pt x="2969" y="2102"/>
                  </a:cubicBezTo>
                  <a:cubicBezTo>
                    <a:pt x="2769" y="2435"/>
                    <a:pt x="2402" y="2669"/>
                    <a:pt x="2002" y="2702"/>
                  </a:cubicBezTo>
                  <a:cubicBezTo>
                    <a:pt x="1927" y="2716"/>
                    <a:pt x="1851" y="2722"/>
                    <a:pt x="1774" y="2722"/>
                  </a:cubicBezTo>
                  <a:cubicBezTo>
                    <a:pt x="1476" y="2722"/>
                    <a:pt x="1173" y="2621"/>
                    <a:pt x="935" y="2435"/>
                  </a:cubicBezTo>
                  <a:cubicBezTo>
                    <a:pt x="167" y="1768"/>
                    <a:pt x="101" y="267"/>
                    <a:pt x="101" y="267"/>
                  </a:cubicBezTo>
                  <a:cubicBezTo>
                    <a:pt x="101" y="234"/>
                    <a:pt x="67" y="200"/>
                    <a:pt x="34" y="200"/>
                  </a:cubicBezTo>
                  <a:cubicBezTo>
                    <a:pt x="34" y="200"/>
                    <a:pt x="1" y="234"/>
                    <a:pt x="1" y="267"/>
                  </a:cubicBezTo>
                  <a:cubicBezTo>
                    <a:pt x="1" y="334"/>
                    <a:pt x="34" y="1835"/>
                    <a:pt x="868" y="2502"/>
                  </a:cubicBezTo>
                  <a:cubicBezTo>
                    <a:pt x="1116" y="2695"/>
                    <a:pt x="1409" y="2819"/>
                    <a:pt x="1729" y="2819"/>
                  </a:cubicBezTo>
                  <a:cubicBezTo>
                    <a:pt x="1797" y="2819"/>
                    <a:pt x="1866" y="2814"/>
                    <a:pt x="1935" y="2802"/>
                  </a:cubicBezTo>
                  <a:lnTo>
                    <a:pt x="2035" y="2802"/>
                  </a:lnTo>
                  <a:cubicBezTo>
                    <a:pt x="2436" y="2769"/>
                    <a:pt x="2836" y="2535"/>
                    <a:pt x="3069" y="2168"/>
                  </a:cubicBezTo>
                  <a:cubicBezTo>
                    <a:pt x="3603" y="1368"/>
                    <a:pt x="3236" y="100"/>
                    <a:pt x="3236" y="33"/>
                  </a:cubicBezTo>
                  <a:cubicBezTo>
                    <a:pt x="3236" y="0"/>
                    <a:pt x="3203" y="0"/>
                    <a:pt x="3169"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 name="Google Shape;1853;p51">
              <a:extLst>
                <a:ext uri="{FF2B5EF4-FFF2-40B4-BE49-F238E27FC236}">
                  <a16:creationId xmlns:a16="http://schemas.microsoft.com/office/drawing/2014/main" id="{CEE32D3A-D2FF-4F59-2D25-FE7159A05203}"/>
                </a:ext>
              </a:extLst>
            </p:cNvPr>
            <p:cNvSpPr/>
            <p:nvPr/>
          </p:nvSpPr>
          <p:spPr>
            <a:xfrm>
              <a:off x="4107525" y="2501875"/>
              <a:ext cx="68400" cy="68150"/>
            </a:xfrm>
            <a:custGeom>
              <a:avLst/>
              <a:gdLst/>
              <a:ahLst/>
              <a:cxnLst/>
              <a:rect l="l" t="t" r="r" b="b"/>
              <a:pathLst>
                <a:path w="2736" h="2726" extrusionOk="0">
                  <a:moveTo>
                    <a:pt x="2306" y="1"/>
                  </a:moveTo>
                  <a:cubicBezTo>
                    <a:pt x="2285" y="1"/>
                    <a:pt x="2269" y="17"/>
                    <a:pt x="2269" y="51"/>
                  </a:cubicBezTo>
                  <a:cubicBezTo>
                    <a:pt x="2269" y="51"/>
                    <a:pt x="2602" y="1485"/>
                    <a:pt x="2068" y="2219"/>
                  </a:cubicBezTo>
                  <a:cubicBezTo>
                    <a:pt x="1902" y="2486"/>
                    <a:pt x="1568" y="2619"/>
                    <a:pt x="1235" y="2619"/>
                  </a:cubicBezTo>
                  <a:cubicBezTo>
                    <a:pt x="1209" y="2624"/>
                    <a:pt x="1182" y="2626"/>
                    <a:pt x="1156" y="2626"/>
                  </a:cubicBezTo>
                  <a:cubicBezTo>
                    <a:pt x="976" y="2626"/>
                    <a:pt x="784" y="2531"/>
                    <a:pt x="667" y="2386"/>
                  </a:cubicBezTo>
                  <a:cubicBezTo>
                    <a:pt x="100" y="1785"/>
                    <a:pt x="334" y="184"/>
                    <a:pt x="334" y="184"/>
                  </a:cubicBezTo>
                  <a:cubicBezTo>
                    <a:pt x="334" y="151"/>
                    <a:pt x="301" y="117"/>
                    <a:pt x="267" y="117"/>
                  </a:cubicBezTo>
                  <a:cubicBezTo>
                    <a:pt x="234" y="117"/>
                    <a:pt x="234" y="151"/>
                    <a:pt x="234" y="151"/>
                  </a:cubicBezTo>
                  <a:cubicBezTo>
                    <a:pt x="234" y="218"/>
                    <a:pt x="0" y="1819"/>
                    <a:pt x="601" y="2452"/>
                  </a:cubicBezTo>
                  <a:cubicBezTo>
                    <a:pt x="746" y="2627"/>
                    <a:pt x="943" y="2726"/>
                    <a:pt x="1168" y="2726"/>
                  </a:cubicBezTo>
                  <a:cubicBezTo>
                    <a:pt x="1201" y="2726"/>
                    <a:pt x="1234" y="2724"/>
                    <a:pt x="1268" y="2719"/>
                  </a:cubicBezTo>
                  <a:lnTo>
                    <a:pt x="1335" y="2686"/>
                  </a:lnTo>
                  <a:cubicBezTo>
                    <a:pt x="1668" y="2686"/>
                    <a:pt x="1968" y="2519"/>
                    <a:pt x="2169" y="2286"/>
                  </a:cubicBezTo>
                  <a:cubicBezTo>
                    <a:pt x="2736" y="1518"/>
                    <a:pt x="2369" y="84"/>
                    <a:pt x="2369" y="51"/>
                  </a:cubicBezTo>
                  <a:cubicBezTo>
                    <a:pt x="2352" y="17"/>
                    <a:pt x="2327" y="1"/>
                    <a:pt x="2306"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 name="Google Shape;1854;p51">
              <a:extLst>
                <a:ext uri="{FF2B5EF4-FFF2-40B4-BE49-F238E27FC236}">
                  <a16:creationId xmlns:a16="http://schemas.microsoft.com/office/drawing/2014/main" id="{745C5AA6-D490-A238-E31E-99F2FD27BECF}"/>
                </a:ext>
              </a:extLst>
            </p:cNvPr>
            <p:cNvSpPr/>
            <p:nvPr/>
          </p:nvSpPr>
          <p:spPr>
            <a:xfrm>
              <a:off x="4310900" y="2503125"/>
              <a:ext cx="72675" cy="77200"/>
            </a:xfrm>
            <a:custGeom>
              <a:avLst/>
              <a:gdLst/>
              <a:ahLst/>
              <a:cxnLst/>
              <a:rect l="l" t="t" r="r" b="b"/>
              <a:pathLst>
                <a:path w="2907" h="3088" extrusionOk="0">
                  <a:moveTo>
                    <a:pt x="1772" y="1"/>
                  </a:moveTo>
                  <a:cubicBezTo>
                    <a:pt x="972" y="1"/>
                    <a:pt x="338" y="1068"/>
                    <a:pt x="138" y="1802"/>
                  </a:cubicBezTo>
                  <a:cubicBezTo>
                    <a:pt x="0" y="2490"/>
                    <a:pt x="249" y="3088"/>
                    <a:pt x="790" y="3088"/>
                  </a:cubicBezTo>
                  <a:cubicBezTo>
                    <a:pt x="905" y="3088"/>
                    <a:pt x="1032" y="3061"/>
                    <a:pt x="1172" y="3003"/>
                  </a:cubicBezTo>
                  <a:cubicBezTo>
                    <a:pt x="1772" y="2736"/>
                    <a:pt x="2273" y="2236"/>
                    <a:pt x="2573" y="1635"/>
                  </a:cubicBezTo>
                  <a:cubicBezTo>
                    <a:pt x="2907" y="868"/>
                    <a:pt x="2573" y="34"/>
                    <a:pt x="1772" y="1"/>
                  </a:cubicBezTo>
                  <a:close/>
                </a:path>
              </a:pathLst>
            </a:custGeom>
            <a:solidFill>
              <a:srgbClr val="F4B09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 name="Google Shape;1855;p51">
              <a:extLst>
                <a:ext uri="{FF2B5EF4-FFF2-40B4-BE49-F238E27FC236}">
                  <a16:creationId xmlns:a16="http://schemas.microsoft.com/office/drawing/2014/main" id="{0AE48BF8-6648-8CB3-44CD-333A0CDBF4A0}"/>
                </a:ext>
              </a:extLst>
            </p:cNvPr>
            <p:cNvSpPr/>
            <p:nvPr/>
          </p:nvSpPr>
          <p:spPr>
            <a:xfrm>
              <a:off x="4208425" y="2503125"/>
              <a:ext cx="15025" cy="22650"/>
            </a:xfrm>
            <a:custGeom>
              <a:avLst/>
              <a:gdLst/>
              <a:ahLst/>
              <a:cxnLst/>
              <a:rect l="l" t="t" r="r" b="b"/>
              <a:pathLst>
                <a:path w="601" h="906" extrusionOk="0">
                  <a:moveTo>
                    <a:pt x="301" y="1"/>
                  </a:moveTo>
                  <a:cubicBezTo>
                    <a:pt x="134" y="34"/>
                    <a:pt x="1" y="234"/>
                    <a:pt x="34" y="501"/>
                  </a:cubicBezTo>
                  <a:cubicBezTo>
                    <a:pt x="34" y="717"/>
                    <a:pt x="177" y="905"/>
                    <a:pt x="304" y="905"/>
                  </a:cubicBezTo>
                  <a:cubicBezTo>
                    <a:pt x="314" y="905"/>
                    <a:pt x="324" y="904"/>
                    <a:pt x="334" y="901"/>
                  </a:cubicBezTo>
                  <a:cubicBezTo>
                    <a:pt x="501" y="901"/>
                    <a:pt x="601" y="668"/>
                    <a:pt x="601" y="434"/>
                  </a:cubicBezTo>
                  <a:cubicBezTo>
                    <a:pt x="601" y="168"/>
                    <a:pt x="434" y="1"/>
                    <a:pt x="301"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 name="Google Shape;1856;p51">
              <a:extLst>
                <a:ext uri="{FF2B5EF4-FFF2-40B4-BE49-F238E27FC236}">
                  <a16:creationId xmlns:a16="http://schemas.microsoft.com/office/drawing/2014/main" id="{E30D9FB9-4DA3-6C80-FD81-5C51F5BD4DBC}"/>
                </a:ext>
              </a:extLst>
            </p:cNvPr>
            <p:cNvSpPr/>
            <p:nvPr/>
          </p:nvSpPr>
          <p:spPr>
            <a:xfrm>
              <a:off x="4138375" y="2510625"/>
              <a:ext cx="15025" cy="22650"/>
            </a:xfrm>
            <a:custGeom>
              <a:avLst/>
              <a:gdLst/>
              <a:ahLst/>
              <a:cxnLst/>
              <a:rect l="l" t="t" r="r" b="b"/>
              <a:pathLst>
                <a:path w="601" h="906" extrusionOk="0">
                  <a:moveTo>
                    <a:pt x="301" y="1"/>
                  </a:moveTo>
                  <a:cubicBezTo>
                    <a:pt x="134" y="34"/>
                    <a:pt x="1" y="234"/>
                    <a:pt x="34" y="501"/>
                  </a:cubicBezTo>
                  <a:cubicBezTo>
                    <a:pt x="34" y="718"/>
                    <a:pt x="177" y="905"/>
                    <a:pt x="304" y="905"/>
                  </a:cubicBezTo>
                  <a:cubicBezTo>
                    <a:pt x="314" y="905"/>
                    <a:pt x="324" y="904"/>
                    <a:pt x="334" y="902"/>
                  </a:cubicBezTo>
                  <a:cubicBezTo>
                    <a:pt x="501" y="902"/>
                    <a:pt x="601" y="668"/>
                    <a:pt x="601" y="435"/>
                  </a:cubicBezTo>
                  <a:cubicBezTo>
                    <a:pt x="601" y="168"/>
                    <a:pt x="434" y="1"/>
                    <a:pt x="301"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 name="Google Shape;1857;p51">
              <a:extLst>
                <a:ext uri="{FF2B5EF4-FFF2-40B4-BE49-F238E27FC236}">
                  <a16:creationId xmlns:a16="http://schemas.microsoft.com/office/drawing/2014/main" id="{3517E4DE-2AF4-D745-C6C3-E1090B021389}"/>
                </a:ext>
              </a:extLst>
            </p:cNvPr>
            <p:cNvSpPr/>
            <p:nvPr/>
          </p:nvSpPr>
          <p:spPr>
            <a:xfrm>
              <a:off x="4155050" y="2524825"/>
              <a:ext cx="30050" cy="61125"/>
            </a:xfrm>
            <a:custGeom>
              <a:avLst/>
              <a:gdLst/>
              <a:ahLst/>
              <a:cxnLst/>
              <a:rect l="l" t="t" r="r" b="b"/>
              <a:pathLst>
                <a:path w="1202" h="2445" extrusionOk="0">
                  <a:moveTo>
                    <a:pt x="868" y="0"/>
                  </a:moveTo>
                  <a:cubicBezTo>
                    <a:pt x="668" y="801"/>
                    <a:pt x="368" y="1568"/>
                    <a:pt x="1" y="2302"/>
                  </a:cubicBezTo>
                  <a:cubicBezTo>
                    <a:pt x="202" y="2393"/>
                    <a:pt x="424" y="2445"/>
                    <a:pt x="649" y="2445"/>
                  </a:cubicBezTo>
                  <a:cubicBezTo>
                    <a:pt x="834" y="2445"/>
                    <a:pt x="1021" y="2410"/>
                    <a:pt x="1202" y="2335"/>
                  </a:cubicBezTo>
                  <a:lnTo>
                    <a:pt x="868" y="0"/>
                  </a:lnTo>
                  <a:close/>
                </a:path>
              </a:pathLst>
            </a:custGeom>
            <a:solidFill>
              <a:srgbClr val="ED89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 name="Google Shape;1858;p51">
              <a:extLst>
                <a:ext uri="{FF2B5EF4-FFF2-40B4-BE49-F238E27FC236}">
                  <a16:creationId xmlns:a16="http://schemas.microsoft.com/office/drawing/2014/main" id="{3709AF68-AFDA-6CFB-B050-361643E93ABF}"/>
                </a:ext>
              </a:extLst>
            </p:cNvPr>
            <p:cNvSpPr/>
            <p:nvPr/>
          </p:nvSpPr>
          <p:spPr>
            <a:xfrm>
              <a:off x="4207600" y="2566175"/>
              <a:ext cx="44225" cy="28225"/>
            </a:xfrm>
            <a:custGeom>
              <a:avLst/>
              <a:gdLst/>
              <a:ahLst/>
              <a:cxnLst/>
              <a:rect l="l" t="t" r="r" b="b"/>
              <a:pathLst>
                <a:path w="1769" h="1129" extrusionOk="0">
                  <a:moveTo>
                    <a:pt x="1672" y="0"/>
                  </a:moveTo>
                  <a:cubicBezTo>
                    <a:pt x="1649" y="0"/>
                    <a:pt x="1625" y="24"/>
                    <a:pt x="1601" y="47"/>
                  </a:cubicBezTo>
                  <a:cubicBezTo>
                    <a:pt x="1268" y="581"/>
                    <a:pt x="701" y="915"/>
                    <a:pt x="67" y="981"/>
                  </a:cubicBezTo>
                  <a:cubicBezTo>
                    <a:pt x="34" y="981"/>
                    <a:pt x="0" y="1015"/>
                    <a:pt x="0" y="1081"/>
                  </a:cubicBezTo>
                  <a:cubicBezTo>
                    <a:pt x="0" y="1105"/>
                    <a:pt x="17" y="1129"/>
                    <a:pt x="38" y="1129"/>
                  </a:cubicBezTo>
                  <a:cubicBezTo>
                    <a:pt x="47" y="1129"/>
                    <a:pt x="57" y="1124"/>
                    <a:pt x="67" y="1115"/>
                  </a:cubicBezTo>
                  <a:cubicBezTo>
                    <a:pt x="167" y="1115"/>
                    <a:pt x="267" y="1115"/>
                    <a:pt x="367" y="1081"/>
                  </a:cubicBezTo>
                  <a:cubicBezTo>
                    <a:pt x="934" y="948"/>
                    <a:pt x="1435" y="614"/>
                    <a:pt x="1735" y="114"/>
                  </a:cubicBezTo>
                  <a:cubicBezTo>
                    <a:pt x="1768" y="81"/>
                    <a:pt x="1735" y="47"/>
                    <a:pt x="1701" y="14"/>
                  </a:cubicBezTo>
                  <a:cubicBezTo>
                    <a:pt x="1692" y="4"/>
                    <a:pt x="1682" y="0"/>
                    <a:pt x="1672"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 name="Google Shape;1859;p51">
              <a:extLst>
                <a:ext uri="{FF2B5EF4-FFF2-40B4-BE49-F238E27FC236}">
                  <a16:creationId xmlns:a16="http://schemas.microsoft.com/office/drawing/2014/main" id="{705D883E-E6C0-C309-B799-21E53DA98A47}"/>
                </a:ext>
              </a:extLst>
            </p:cNvPr>
            <p:cNvSpPr/>
            <p:nvPr/>
          </p:nvSpPr>
          <p:spPr>
            <a:xfrm>
              <a:off x="4220100" y="2470600"/>
              <a:ext cx="38375" cy="13725"/>
            </a:xfrm>
            <a:custGeom>
              <a:avLst/>
              <a:gdLst/>
              <a:ahLst/>
              <a:cxnLst/>
              <a:rect l="l" t="t" r="r" b="b"/>
              <a:pathLst>
                <a:path w="1535" h="549" extrusionOk="0">
                  <a:moveTo>
                    <a:pt x="582" y="1"/>
                  </a:moveTo>
                  <a:cubicBezTo>
                    <a:pt x="430" y="1"/>
                    <a:pt x="279" y="23"/>
                    <a:pt x="134" y="68"/>
                  </a:cubicBezTo>
                  <a:cubicBezTo>
                    <a:pt x="34" y="101"/>
                    <a:pt x="1" y="201"/>
                    <a:pt x="34" y="268"/>
                  </a:cubicBezTo>
                  <a:cubicBezTo>
                    <a:pt x="58" y="317"/>
                    <a:pt x="119" y="347"/>
                    <a:pt x="175" y="347"/>
                  </a:cubicBezTo>
                  <a:cubicBezTo>
                    <a:pt x="196" y="347"/>
                    <a:pt x="216" y="343"/>
                    <a:pt x="234" y="334"/>
                  </a:cubicBezTo>
                  <a:cubicBezTo>
                    <a:pt x="348" y="303"/>
                    <a:pt x="461" y="288"/>
                    <a:pt x="573" y="288"/>
                  </a:cubicBezTo>
                  <a:cubicBezTo>
                    <a:pt x="822" y="288"/>
                    <a:pt x="1061" y="363"/>
                    <a:pt x="1268" y="501"/>
                  </a:cubicBezTo>
                  <a:cubicBezTo>
                    <a:pt x="1292" y="525"/>
                    <a:pt x="1332" y="548"/>
                    <a:pt x="1365" y="548"/>
                  </a:cubicBezTo>
                  <a:cubicBezTo>
                    <a:pt x="1379" y="548"/>
                    <a:pt x="1392" y="544"/>
                    <a:pt x="1402" y="535"/>
                  </a:cubicBezTo>
                  <a:cubicBezTo>
                    <a:pt x="1502" y="468"/>
                    <a:pt x="1535" y="334"/>
                    <a:pt x="1435" y="268"/>
                  </a:cubicBezTo>
                  <a:cubicBezTo>
                    <a:pt x="1190" y="90"/>
                    <a:pt x="886" y="1"/>
                    <a:pt x="582"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 name="Google Shape;1860;p51">
              <a:extLst>
                <a:ext uri="{FF2B5EF4-FFF2-40B4-BE49-F238E27FC236}">
                  <a16:creationId xmlns:a16="http://schemas.microsoft.com/office/drawing/2014/main" id="{6FBA8BE5-DAAA-68A5-D867-D17972436684}"/>
                </a:ext>
              </a:extLst>
            </p:cNvPr>
            <p:cNvSpPr/>
            <p:nvPr/>
          </p:nvSpPr>
          <p:spPr>
            <a:xfrm>
              <a:off x="4118350" y="2474775"/>
              <a:ext cx="35050" cy="21700"/>
            </a:xfrm>
            <a:custGeom>
              <a:avLst/>
              <a:gdLst/>
              <a:ahLst/>
              <a:cxnLst/>
              <a:rect l="l" t="t" r="r" b="b"/>
              <a:pathLst>
                <a:path w="1402" h="868" extrusionOk="0">
                  <a:moveTo>
                    <a:pt x="1269" y="1"/>
                  </a:moveTo>
                  <a:cubicBezTo>
                    <a:pt x="768" y="1"/>
                    <a:pt x="335" y="234"/>
                    <a:pt x="68" y="634"/>
                  </a:cubicBezTo>
                  <a:cubicBezTo>
                    <a:pt x="1" y="701"/>
                    <a:pt x="1" y="768"/>
                    <a:pt x="101" y="835"/>
                  </a:cubicBezTo>
                  <a:cubicBezTo>
                    <a:pt x="101" y="835"/>
                    <a:pt x="134" y="868"/>
                    <a:pt x="168" y="868"/>
                  </a:cubicBezTo>
                  <a:cubicBezTo>
                    <a:pt x="201" y="868"/>
                    <a:pt x="268" y="835"/>
                    <a:pt x="301" y="801"/>
                  </a:cubicBezTo>
                  <a:cubicBezTo>
                    <a:pt x="501" y="501"/>
                    <a:pt x="868" y="301"/>
                    <a:pt x="1235" y="301"/>
                  </a:cubicBezTo>
                  <a:cubicBezTo>
                    <a:pt x="1335" y="301"/>
                    <a:pt x="1402" y="234"/>
                    <a:pt x="1402" y="167"/>
                  </a:cubicBezTo>
                  <a:cubicBezTo>
                    <a:pt x="1402" y="67"/>
                    <a:pt x="1335" y="1"/>
                    <a:pt x="1269"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 name="Google Shape;1861;p51">
              <a:extLst>
                <a:ext uri="{FF2B5EF4-FFF2-40B4-BE49-F238E27FC236}">
                  <a16:creationId xmlns:a16="http://schemas.microsoft.com/office/drawing/2014/main" id="{0A6D220D-9480-AF21-9638-1EC51C499E59}"/>
                </a:ext>
              </a:extLst>
            </p:cNvPr>
            <p:cNvSpPr/>
            <p:nvPr/>
          </p:nvSpPr>
          <p:spPr>
            <a:xfrm>
              <a:off x="4184250" y="3297875"/>
              <a:ext cx="75900" cy="95600"/>
            </a:xfrm>
            <a:custGeom>
              <a:avLst/>
              <a:gdLst/>
              <a:ahLst/>
              <a:cxnLst/>
              <a:rect l="l" t="t" r="r" b="b"/>
              <a:pathLst>
                <a:path w="3036" h="3824" extrusionOk="0">
                  <a:moveTo>
                    <a:pt x="100" y="0"/>
                  </a:moveTo>
                  <a:lnTo>
                    <a:pt x="0" y="3336"/>
                  </a:lnTo>
                  <a:cubicBezTo>
                    <a:pt x="0" y="3336"/>
                    <a:pt x="1029" y="3823"/>
                    <a:pt x="1906" y="3823"/>
                  </a:cubicBezTo>
                  <a:cubicBezTo>
                    <a:pt x="2405" y="3823"/>
                    <a:pt x="2854" y="3665"/>
                    <a:pt x="3036" y="3169"/>
                  </a:cubicBezTo>
                  <a:lnTo>
                    <a:pt x="2669" y="1268"/>
                  </a:lnTo>
                  <a:lnTo>
                    <a:pt x="100" y="0"/>
                  </a:lnTo>
                  <a:close/>
                </a:path>
              </a:pathLst>
            </a:custGeom>
            <a:solidFill>
              <a:srgbClr val="F4B09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 name="Google Shape;1862;p51">
              <a:extLst>
                <a:ext uri="{FF2B5EF4-FFF2-40B4-BE49-F238E27FC236}">
                  <a16:creationId xmlns:a16="http://schemas.microsoft.com/office/drawing/2014/main" id="{7259AA99-0E11-2BBC-DEEF-5C85B1CEDF32}"/>
                </a:ext>
              </a:extLst>
            </p:cNvPr>
            <p:cNvSpPr/>
            <p:nvPr/>
          </p:nvSpPr>
          <p:spPr>
            <a:xfrm>
              <a:off x="4104175" y="3297025"/>
              <a:ext cx="82600" cy="87600"/>
            </a:xfrm>
            <a:custGeom>
              <a:avLst/>
              <a:gdLst/>
              <a:ahLst/>
              <a:cxnLst/>
              <a:rect l="l" t="t" r="r" b="b"/>
              <a:pathLst>
                <a:path w="3304" h="3504" extrusionOk="0">
                  <a:moveTo>
                    <a:pt x="3303" y="1"/>
                  </a:moveTo>
                  <a:lnTo>
                    <a:pt x="1" y="568"/>
                  </a:lnTo>
                  <a:lnTo>
                    <a:pt x="34" y="3503"/>
                  </a:lnTo>
                  <a:lnTo>
                    <a:pt x="3203" y="3337"/>
                  </a:lnTo>
                  <a:lnTo>
                    <a:pt x="3303" y="1"/>
                  </a:lnTo>
                  <a:close/>
                </a:path>
              </a:pathLst>
            </a:custGeom>
            <a:solidFill>
              <a:srgbClr val="F4B09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 name="Google Shape;1863;p51">
              <a:extLst>
                <a:ext uri="{FF2B5EF4-FFF2-40B4-BE49-F238E27FC236}">
                  <a16:creationId xmlns:a16="http://schemas.microsoft.com/office/drawing/2014/main" id="{FD1A3F41-9288-E0B1-C9EC-A5C94127473E}"/>
                </a:ext>
              </a:extLst>
            </p:cNvPr>
            <p:cNvSpPr/>
            <p:nvPr/>
          </p:nvSpPr>
          <p:spPr>
            <a:xfrm>
              <a:off x="1676625" y="3347900"/>
              <a:ext cx="2807025" cy="1349325"/>
            </a:xfrm>
            <a:custGeom>
              <a:avLst/>
              <a:gdLst/>
              <a:ahLst/>
              <a:cxnLst/>
              <a:rect l="l" t="t" r="r" b="b"/>
              <a:pathLst>
                <a:path w="112281" h="53973" extrusionOk="0">
                  <a:moveTo>
                    <a:pt x="6238" y="1"/>
                  </a:moveTo>
                  <a:cubicBezTo>
                    <a:pt x="2802" y="1"/>
                    <a:pt x="0" y="2803"/>
                    <a:pt x="0" y="6272"/>
                  </a:cubicBezTo>
                  <a:lnTo>
                    <a:pt x="0" y="53973"/>
                  </a:lnTo>
                  <a:lnTo>
                    <a:pt x="2502" y="53973"/>
                  </a:lnTo>
                  <a:lnTo>
                    <a:pt x="2502" y="6272"/>
                  </a:lnTo>
                  <a:cubicBezTo>
                    <a:pt x="2502" y="4204"/>
                    <a:pt x="4170" y="2502"/>
                    <a:pt x="6238" y="2502"/>
                  </a:cubicBezTo>
                  <a:lnTo>
                    <a:pt x="106009" y="2502"/>
                  </a:lnTo>
                  <a:cubicBezTo>
                    <a:pt x="108077" y="2502"/>
                    <a:pt x="109779" y="4204"/>
                    <a:pt x="109779" y="6272"/>
                  </a:cubicBezTo>
                  <a:lnTo>
                    <a:pt x="109779" y="53973"/>
                  </a:lnTo>
                  <a:lnTo>
                    <a:pt x="112280" y="53973"/>
                  </a:lnTo>
                  <a:lnTo>
                    <a:pt x="112280" y="6272"/>
                  </a:lnTo>
                  <a:cubicBezTo>
                    <a:pt x="112280" y="2803"/>
                    <a:pt x="109478" y="1"/>
                    <a:pt x="10600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 name="Google Shape;1864;p51">
              <a:extLst>
                <a:ext uri="{FF2B5EF4-FFF2-40B4-BE49-F238E27FC236}">
                  <a16:creationId xmlns:a16="http://schemas.microsoft.com/office/drawing/2014/main" id="{802957D7-5CB5-2997-3ACC-BCB4964328E4}"/>
                </a:ext>
              </a:extLst>
            </p:cNvPr>
            <p:cNvSpPr/>
            <p:nvPr/>
          </p:nvSpPr>
          <p:spPr>
            <a:xfrm>
              <a:off x="1452300" y="3347900"/>
              <a:ext cx="2806175" cy="1349325"/>
            </a:xfrm>
            <a:custGeom>
              <a:avLst/>
              <a:gdLst/>
              <a:ahLst/>
              <a:cxnLst/>
              <a:rect l="l" t="t" r="r" b="b"/>
              <a:pathLst>
                <a:path w="112247" h="53973" extrusionOk="0">
                  <a:moveTo>
                    <a:pt x="6238" y="1"/>
                  </a:moveTo>
                  <a:cubicBezTo>
                    <a:pt x="2769" y="1"/>
                    <a:pt x="0" y="2803"/>
                    <a:pt x="0" y="6272"/>
                  </a:cubicBezTo>
                  <a:lnTo>
                    <a:pt x="0" y="53973"/>
                  </a:lnTo>
                  <a:lnTo>
                    <a:pt x="2502" y="53973"/>
                  </a:lnTo>
                  <a:lnTo>
                    <a:pt x="2502" y="6272"/>
                  </a:lnTo>
                  <a:cubicBezTo>
                    <a:pt x="2502" y="4204"/>
                    <a:pt x="4170" y="2502"/>
                    <a:pt x="6238" y="2502"/>
                  </a:cubicBezTo>
                  <a:lnTo>
                    <a:pt x="106009" y="2502"/>
                  </a:lnTo>
                  <a:cubicBezTo>
                    <a:pt x="108077" y="2502"/>
                    <a:pt x="109745" y="4204"/>
                    <a:pt x="109745" y="6272"/>
                  </a:cubicBezTo>
                  <a:lnTo>
                    <a:pt x="109745" y="53973"/>
                  </a:lnTo>
                  <a:lnTo>
                    <a:pt x="112247" y="53973"/>
                  </a:lnTo>
                  <a:lnTo>
                    <a:pt x="112247" y="6272"/>
                  </a:lnTo>
                  <a:cubicBezTo>
                    <a:pt x="112247" y="2803"/>
                    <a:pt x="109445" y="1"/>
                    <a:pt x="10600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 name="Google Shape;1865;p51">
              <a:extLst>
                <a:ext uri="{FF2B5EF4-FFF2-40B4-BE49-F238E27FC236}">
                  <a16:creationId xmlns:a16="http://schemas.microsoft.com/office/drawing/2014/main" id="{173C9000-055D-AF21-0658-DB7711FD738B}"/>
                </a:ext>
              </a:extLst>
            </p:cNvPr>
            <p:cNvSpPr/>
            <p:nvPr/>
          </p:nvSpPr>
          <p:spPr>
            <a:xfrm>
              <a:off x="2288800" y="2929225"/>
              <a:ext cx="633725" cy="393675"/>
            </a:xfrm>
            <a:custGeom>
              <a:avLst/>
              <a:gdLst/>
              <a:ahLst/>
              <a:cxnLst/>
              <a:rect l="l" t="t" r="r" b="b"/>
              <a:pathLst>
                <a:path w="25349" h="15747" extrusionOk="0">
                  <a:moveTo>
                    <a:pt x="1045" y="1"/>
                  </a:moveTo>
                  <a:cubicBezTo>
                    <a:pt x="468" y="1"/>
                    <a:pt x="0" y="521"/>
                    <a:pt x="97" y="1103"/>
                  </a:cubicBezTo>
                  <a:lnTo>
                    <a:pt x="1532" y="14646"/>
                  </a:lnTo>
                  <a:cubicBezTo>
                    <a:pt x="1599" y="15280"/>
                    <a:pt x="2132" y="15747"/>
                    <a:pt x="2766" y="15747"/>
                  </a:cubicBezTo>
                  <a:lnTo>
                    <a:pt x="24281" y="15747"/>
                  </a:lnTo>
                  <a:cubicBezTo>
                    <a:pt x="24882" y="15747"/>
                    <a:pt x="25349" y="15247"/>
                    <a:pt x="25249" y="14646"/>
                  </a:cubicBezTo>
                  <a:lnTo>
                    <a:pt x="23814" y="1103"/>
                  </a:lnTo>
                  <a:cubicBezTo>
                    <a:pt x="23748" y="469"/>
                    <a:pt x="23214" y="2"/>
                    <a:pt x="22580" y="2"/>
                  </a:cubicBezTo>
                  <a:lnTo>
                    <a:pt x="1098" y="2"/>
                  </a:lnTo>
                  <a:cubicBezTo>
                    <a:pt x="1080" y="1"/>
                    <a:pt x="1062" y="1"/>
                    <a:pt x="1045" y="1"/>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 name="Google Shape;1866;p51">
              <a:extLst>
                <a:ext uri="{FF2B5EF4-FFF2-40B4-BE49-F238E27FC236}">
                  <a16:creationId xmlns:a16="http://schemas.microsoft.com/office/drawing/2014/main" id="{62BF3283-E9E7-F4D9-D01D-C8F7BFDD8803}"/>
                </a:ext>
              </a:extLst>
            </p:cNvPr>
            <p:cNvSpPr/>
            <p:nvPr/>
          </p:nvSpPr>
          <p:spPr>
            <a:xfrm>
              <a:off x="2288800" y="2929225"/>
              <a:ext cx="633725" cy="393675"/>
            </a:xfrm>
            <a:custGeom>
              <a:avLst/>
              <a:gdLst/>
              <a:ahLst/>
              <a:cxnLst/>
              <a:rect l="l" t="t" r="r" b="b"/>
              <a:pathLst>
                <a:path w="25349" h="15747" extrusionOk="0">
                  <a:moveTo>
                    <a:pt x="1045" y="1"/>
                  </a:moveTo>
                  <a:cubicBezTo>
                    <a:pt x="468" y="1"/>
                    <a:pt x="0" y="521"/>
                    <a:pt x="97" y="1103"/>
                  </a:cubicBezTo>
                  <a:lnTo>
                    <a:pt x="1532" y="14646"/>
                  </a:lnTo>
                  <a:cubicBezTo>
                    <a:pt x="1599" y="15280"/>
                    <a:pt x="2132" y="15747"/>
                    <a:pt x="2766" y="15747"/>
                  </a:cubicBezTo>
                  <a:lnTo>
                    <a:pt x="24281" y="15747"/>
                  </a:lnTo>
                  <a:cubicBezTo>
                    <a:pt x="24882" y="15747"/>
                    <a:pt x="25349" y="15247"/>
                    <a:pt x="25249" y="14646"/>
                  </a:cubicBezTo>
                  <a:lnTo>
                    <a:pt x="23814" y="1103"/>
                  </a:lnTo>
                  <a:cubicBezTo>
                    <a:pt x="23748" y="469"/>
                    <a:pt x="23214" y="2"/>
                    <a:pt x="22580" y="2"/>
                  </a:cubicBezTo>
                  <a:lnTo>
                    <a:pt x="1098" y="2"/>
                  </a:lnTo>
                  <a:cubicBezTo>
                    <a:pt x="1080" y="1"/>
                    <a:pt x="1062" y="1"/>
                    <a:pt x="1045" y="1"/>
                  </a:cubicBez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 name="Google Shape;1867;p51">
              <a:extLst>
                <a:ext uri="{FF2B5EF4-FFF2-40B4-BE49-F238E27FC236}">
                  <a16:creationId xmlns:a16="http://schemas.microsoft.com/office/drawing/2014/main" id="{787A6C54-3F12-D3AA-5687-BA41B028B2EB}"/>
                </a:ext>
              </a:extLst>
            </p:cNvPr>
            <p:cNvSpPr/>
            <p:nvPr/>
          </p:nvSpPr>
          <p:spPr>
            <a:xfrm>
              <a:off x="2494700" y="2892575"/>
              <a:ext cx="43400" cy="10025"/>
            </a:xfrm>
            <a:custGeom>
              <a:avLst/>
              <a:gdLst/>
              <a:ahLst/>
              <a:cxnLst/>
              <a:rect l="l" t="t" r="r" b="b"/>
              <a:pathLst>
                <a:path w="1736" h="401" extrusionOk="0">
                  <a:moveTo>
                    <a:pt x="1" y="1"/>
                  </a:moveTo>
                  <a:lnTo>
                    <a:pt x="1" y="401"/>
                  </a:lnTo>
                  <a:lnTo>
                    <a:pt x="1735" y="401"/>
                  </a:lnTo>
                  <a:lnTo>
                    <a:pt x="1735" y="1"/>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 name="Google Shape;1868;p51">
              <a:extLst>
                <a:ext uri="{FF2B5EF4-FFF2-40B4-BE49-F238E27FC236}">
                  <a16:creationId xmlns:a16="http://schemas.microsoft.com/office/drawing/2014/main" id="{D7365787-A185-2BB0-9185-4FA9033B58DA}"/>
                </a:ext>
              </a:extLst>
            </p:cNvPr>
            <p:cNvSpPr/>
            <p:nvPr/>
          </p:nvSpPr>
          <p:spPr>
            <a:xfrm>
              <a:off x="2356275" y="2892575"/>
              <a:ext cx="100925" cy="10025"/>
            </a:xfrm>
            <a:custGeom>
              <a:avLst/>
              <a:gdLst/>
              <a:ahLst/>
              <a:cxnLst/>
              <a:rect l="l" t="t" r="r" b="b"/>
              <a:pathLst>
                <a:path w="4037" h="401" extrusionOk="0">
                  <a:moveTo>
                    <a:pt x="0" y="1"/>
                  </a:moveTo>
                  <a:lnTo>
                    <a:pt x="0" y="401"/>
                  </a:lnTo>
                  <a:lnTo>
                    <a:pt x="4037" y="401"/>
                  </a:lnTo>
                  <a:lnTo>
                    <a:pt x="4037" y="1"/>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 name="Google Shape;1869;p51">
              <a:extLst>
                <a:ext uri="{FF2B5EF4-FFF2-40B4-BE49-F238E27FC236}">
                  <a16:creationId xmlns:a16="http://schemas.microsoft.com/office/drawing/2014/main" id="{2A7C8866-FA18-F742-77E3-097C24A25662}"/>
                </a:ext>
              </a:extLst>
            </p:cNvPr>
            <p:cNvSpPr/>
            <p:nvPr/>
          </p:nvSpPr>
          <p:spPr>
            <a:xfrm>
              <a:off x="2274600" y="2929225"/>
              <a:ext cx="632925" cy="393675"/>
            </a:xfrm>
            <a:custGeom>
              <a:avLst/>
              <a:gdLst/>
              <a:ahLst/>
              <a:cxnLst/>
              <a:rect l="l" t="t" r="r" b="b"/>
              <a:pathLst>
                <a:path w="25317" h="15747" extrusionOk="0">
                  <a:moveTo>
                    <a:pt x="1012" y="1"/>
                  </a:moveTo>
                  <a:cubicBezTo>
                    <a:pt x="438" y="1"/>
                    <a:pt x="0" y="521"/>
                    <a:pt x="65" y="1103"/>
                  </a:cubicBezTo>
                  <a:lnTo>
                    <a:pt x="1499" y="14646"/>
                  </a:lnTo>
                  <a:cubicBezTo>
                    <a:pt x="1566" y="15280"/>
                    <a:pt x="2100" y="15747"/>
                    <a:pt x="2767" y="15747"/>
                  </a:cubicBezTo>
                  <a:lnTo>
                    <a:pt x="24249" y="15747"/>
                  </a:lnTo>
                  <a:cubicBezTo>
                    <a:pt x="24849" y="15747"/>
                    <a:pt x="25316" y="15247"/>
                    <a:pt x="25250" y="14646"/>
                  </a:cubicBezTo>
                  <a:lnTo>
                    <a:pt x="23815" y="1103"/>
                  </a:lnTo>
                  <a:cubicBezTo>
                    <a:pt x="23715" y="469"/>
                    <a:pt x="23182" y="2"/>
                    <a:pt x="22548" y="2"/>
                  </a:cubicBezTo>
                  <a:lnTo>
                    <a:pt x="1066" y="2"/>
                  </a:lnTo>
                  <a:cubicBezTo>
                    <a:pt x="1048" y="1"/>
                    <a:pt x="1030" y="1"/>
                    <a:pt x="1012" y="1"/>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 name="Google Shape;1870;p51">
              <a:extLst>
                <a:ext uri="{FF2B5EF4-FFF2-40B4-BE49-F238E27FC236}">
                  <a16:creationId xmlns:a16="http://schemas.microsoft.com/office/drawing/2014/main" id="{20BCB753-7820-FA88-9E26-FFFF66D6BDBE}"/>
                </a:ext>
              </a:extLst>
            </p:cNvPr>
            <p:cNvSpPr/>
            <p:nvPr/>
          </p:nvSpPr>
          <p:spPr>
            <a:xfrm>
              <a:off x="2340425" y="3320375"/>
              <a:ext cx="592950" cy="28375"/>
            </a:xfrm>
            <a:custGeom>
              <a:avLst/>
              <a:gdLst/>
              <a:ahLst/>
              <a:cxnLst/>
              <a:rect l="l" t="t" r="r" b="b"/>
              <a:pathLst>
                <a:path w="23718" h="1135" extrusionOk="0">
                  <a:moveTo>
                    <a:pt x="1101" y="1"/>
                  </a:moveTo>
                  <a:cubicBezTo>
                    <a:pt x="501" y="1"/>
                    <a:pt x="1" y="501"/>
                    <a:pt x="1" y="1135"/>
                  </a:cubicBezTo>
                  <a:lnTo>
                    <a:pt x="23717" y="1135"/>
                  </a:lnTo>
                  <a:cubicBezTo>
                    <a:pt x="23717" y="501"/>
                    <a:pt x="23217" y="1"/>
                    <a:pt x="22583" y="1"/>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 name="Google Shape;1871;p51">
              <a:extLst>
                <a:ext uri="{FF2B5EF4-FFF2-40B4-BE49-F238E27FC236}">
                  <a16:creationId xmlns:a16="http://schemas.microsoft.com/office/drawing/2014/main" id="{29196577-3A03-1024-2AD0-486A627D18A0}"/>
                </a:ext>
              </a:extLst>
            </p:cNvPr>
            <p:cNvSpPr/>
            <p:nvPr/>
          </p:nvSpPr>
          <p:spPr>
            <a:xfrm>
              <a:off x="2869125" y="3320375"/>
              <a:ext cx="247725" cy="28375"/>
            </a:xfrm>
            <a:custGeom>
              <a:avLst/>
              <a:gdLst/>
              <a:ahLst/>
              <a:cxnLst/>
              <a:rect l="l" t="t" r="r" b="b"/>
              <a:pathLst>
                <a:path w="9909" h="1135" extrusionOk="0">
                  <a:moveTo>
                    <a:pt x="1135" y="1"/>
                  </a:moveTo>
                  <a:cubicBezTo>
                    <a:pt x="501" y="1"/>
                    <a:pt x="1" y="501"/>
                    <a:pt x="1" y="1135"/>
                  </a:cubicBezTo>
                  <a:lnTo>
                    <a:pt x="9908" y="1135"/>
                  </a:lnTo>
                  <a:cubicBezTo>
                    <a:pt x="9908" y="501"/>
                    <a:pt x="9408" y="1"/>
                    <a:pt x="8807" y="1"/>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 name="Google Shape;1872;p51">
              <a:extLst>
                <a:ext uri="{FF2B5EF4-FFF2-40B4-BE49-F238E27FC236}">
                  <a16:creationId xmlns:a16="http://schemas.microsoft.com/office/drawing/2014/main" id="{18F609B7-30EF-FF5A-671D-B218B5A198A0}"/>
                </a:ext>
              </a:extLst>
            </p:cNvPr>
            <p:cNvSpPr/>
            <p:nvPr/>
          </p:nvSpPr>
          <p:spPr>
            <a:xfrm>
              <a:off x="2869125" y="3320375"/>
              <a:ext cx="247725" cy="28375"/>
            </a:xfrm>
            <a:custGeom>
              <a:avLst/>
              <a:gdLst/>
              <a:ahLst/>
              <a:cxnLst/>
              <a:rect l="l" t="t" r="r" b="b"/>
              <a:pathLst>
                <a:path w="9909" h="1135" extrusionOk="0">
                  <a:moveTo>
                    <a:pt x="1135" y="1"/>
                  </a:moveTo>
                  <a:cubicBezTo>
                    <a:pt x="501" y="1"/>
                    <a:pt x="1" y="501"/>
                    <a:pt x="1" y="1135"/>
                  </a:cubicBezTo>
                  <a:lnTo>
                    <a:pt x="9908" y="1135"/>
                  </a:lnTo>
                  <a:cubicBezTo>
                    <a:pt x="9908" y="501"/>
                    <a:pt x="9408" y="1"/>
                    <a:pt x="8807" y="1"/>
                  </a:cubicBez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5904385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494"/>
        <p:cNvGrpSpPr/>
        <p:nvPr/>
      </p:nvGrpSpPr>
      <p:grpSpPr>
        <a:xfrm>
          <a:off x="0" y="0"/>
          <a:ext cx="0" cy="0"/>
          <a:chOff x="0" y="0"/>
          <a:chExt cx="0" cy="0"/>
        </a:xfrm>
      </p:grpSpPr>
      <p:sp>
        <p:nvSpPr>
          <p:cNvPr id="495" name="Google Shape;495;p31"/>
          <p:cNvSpPr txBox="1">
            <a:spLocks noGrp="1"/>
          </p:cNvSpPr>
          <p:nvPr>
            <p:ph type="title"/>
          </p:nvPr>
        </p:nvSpPr>
        <p:spPr>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US">
                <a:solidFill>
                  <a:schemeClr val="tx1"/>
                </a:solidFill>
              </a:rPr>
              <a:t>Data Analysis Process</a:t>
            </a:r>
          </a:p>
        </p:txBody>
      </p:sp>
      <p:sp>
        <p:nvSpPr>
          <p:cNvPr id="496" name="Google Shape;496;p31"/>
          <p:cNvSpPr txBox="1"/>
          <p:nvPr/>
        </p:nvSpPr>
        <p:spPr>
          <a:xfrm>
            <a:off x="5085247" y="3464859"/>
            <a:ext cx="2577093" cy="290484"/>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it-IT" sz="1600">
                <a:solidFill>
                  <a:schemeClr val="lt1"/>
                </a:solidFill>
                <a:latin typeface="Hammersmith One"/>
                <a:ea typeface="Hammersmith One"/>
                <a:cs typeface="Hammersmith One"/>
                <a:sym typeface="Hammersmith One"/>
              </a:rPr>
              <a:t>Categorical Analysis</a:t>
            </a:r>
          </a:p>
        </p:txBody>
      </p:sp>
      <p:sp>
        <p:nvSpPr>
          <p:cNvPr id="497" name="Google Shape;497;p31"/>
          <p:cNvSpPr txBox="1"/>
          <p:nvPr/>
        </p:nvSpPr>
        <p:spPr>
          <a:xfrm>
            <a:off x="713225" y="3445787"/>
            <a:ext cx="1963800" cy="2835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it-IT" sz="1600">
                <a:solidFill>
                  <a:schemeClr val="lt1"/>
                </a:solidFill>
                <a:latin typeface="Hammersmith One"/>
                <a:ea typeface="Hammersmith One"/>
                <a:cs typeface="Hammersmith One"/>
                <a:sym typeface="Hammersmith One"/>
              </a:rPr>
              <a:t>Data Collection</a:t>
            </a:r>
          </a:p>
        </p:txBody>
      </p:sp>
      <p:sp>
        <p:nvSpPr>
          <p:cNvPr id="498" name="Google Shape;498;p31"/>
          <p:cNvSpPr txBox="1"/>
          <p:nvPr/>
        </p:nvSpPr>
        <p:spPr>
          <a:xfrm>
            <a:off x="713237" y="3737533"/>
            <a:ext cx="1963800" cy="6219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1200">
                <a:solidFill>
                  <a:schemeClr val="lt1"/>
                </a:solidFill>
                <a:latin typeface="Source Sans Pro"/>
                <a:ea typeface="Source Sans Pro"/>
                <a:cs typeface="Source Sans Pro"/>
                <a:sym typeface="Source Sans Pro"/>
              </a:rPr>
              <a:t>Collect Data and metrics from website</a:t>
            </a:r>
          </a:p>
        </p:txBody>
      </p:sp>
      <p:sp>
        <p:nvSpPr>
          <p:cNvPr id="499" name="Google Shape;499;p31"/>
          <p:cNvSpPr txBox="1"/>
          <p:nvPr/>
        </p:nvSpPr>
        <p:spPr>
          <a:xfrm>
            <a:off x="2899609" y="3514168"/>
            <a:ext cx="2305987" cy="315997"/>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it-IT" sz="1600">
                <a:solidFill>
                  <a:schemeClr val="lt1"/>
                </a:solidFill>
                <a:latin typeface="Hammersmith One"/>
                <a:ea typeface="Hammersmith One"/>
                <a:cs typeface="Hammersmith One"/>
                <a:sym typeface="Hammersmith One"/>
              </a:rPr>
              <a:t>Variable Analysis</a:t>
            </a:r>
          </a:p>
        </p:txBody>
      </p:sp>
      <p:sp>
        <p:nvSpPr>
          <p:cNvPr id="500" name="Google Shape;500;p31"/>
          <p:cNvSpPr txBox="1"/>
          <p:nvPr/>
        </p:nvSpPr>
        <p:spPr>
          <a:xfrm>
            <a:off x="3060942" y="3795461"/>
            <a:ext cx="1963800" cy="6219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1200">
                <a:solidFill>
                  <a:schemeClr val="lt1"/>
                </a:solidFill>
                <a:latin typeface="Source Sans Pro"/>
                <a:ea typeface="Source Sans Pro"/>
                <a:cs typeface="Source Sans Pro"/>
                <a:sym typeface="Source Sans Pro"/>
              </a:rPr>
              <a:t>Review 2 variables at a time to find  correlations</a:t>
            </a:r>
          </a:p>
        </p:txBody>
      </p:sp>
      <p:sp>
        <p:nvSpPr>
          <p:cNvPr id="501" name="Google Shape;501;p31"/>
          <p:cNvSpPr txBox="1"/>
          <p:nvPr/>
        </p:nvSpPr>
        <p:spPr>
          <a:xfrm>
            <a:off x="5332535" y="3743192"/>
            <a:ext cx="1965600" cy="6219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1200">
                <a:solidFill>
                  <a:schemeClr val="lt1"/>
                </a:solidFill>
                <a:latin typeface="Source Sans Pro"/>
                <a:ea typeface="Source Sans Pro"/>
                <a:cs typeface="Source Sans Pro"/>
                <a:sym typeface="Source Sans Pro"/>
              </a:rPr>
              <a:t>Split data into clusters or groups to further determine category behaviours</a:t>
            </a:r>
          </a:p>
        </p:txBody>
      </p:sp>
      <p:sp>
        <p:nvSpPr>
          <p:cNvPr id="502" name="Google Shape;502;p31"/>
          <p:cNvSpPr txBox="1"/>
          <p:nvPr/>
        </p:nvSpPr>
        <p:spPr>
          <a:xfrm>
            <a:off x="4206051" y="1528618"/>
            <a:ext cx="1965300" cy="6228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1200">
                <a:solidFill>
                  <a:schemeClr val="lt1"/>
                </a:solidFill>
                <a:latin typeface="Source Sans Pro"/>
                <a:ea typeface="Source Sans Pro"/>
                <a:cs typeface="Source Sans Pro"/>
                <a:sym typeface="Source Sans Pro"/>
              </a:rPr>
              <a:t>Develop Models to help predict future datapoints</a:t>
            </a:r>
          </a:p>
        </p:txBody>
      </p:sp>
      <p:sp>
        <p:nvSpPr>
          <p:cNvPr id="503" name="Google Shape;503;p31"/>
          <p:cNvSpPr txBox="1"/>
          <p:nvPr/>
        </p:nvSpPr>
        <p:spPr>
          <a:xfrm>
            <a:off x="1980226" y="1526942"/>
            <a:ext cx="1963800" cy="877436"/>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1200">
                <a:solidFill>
                  <a:schemeClr val="lt1"/>
                </a:solidFill>
                <a:latin typeface="Source Sans Pro"/>
                <a:ea typeface="Source Sans Pro"/>
                <a:cs typeface="Source Sans Pro"/>
                <a:sym typeface="Source Sans Pro"/>
              </a:rPr>
              <a:t>Remove missing values and reformat to usable form (String to Binary)</a:t>
            </a:r>
          </a:p>
        </p:txBody>
      </p:sp>
      <p:sp>
        <p:nvSpPr>
          <p:cNvPr id="504" name="Google Shape;504;p31"/>
          <p:cNvSpPr txBox="1"/>
          <p:nvPr/>
        </p:nvSpPr>
        <p:spPr>
          <a:xfrm>
            <a:off x="3969608" y="1259074"/>
            <a:ext cx="2533077" cy="404218"/>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CA" sz="1600">
                <a:solidFill>
                  <a:schemeClr val="lt1"/>
                </a:solidFill>
                <a:latin typeface="Hammersmith One"/>
                <a:ea typeface="Hammersmith One"/>
                <a:cs typeface="Hammersmith One"/>
                <a:sym typeface="Hammersmith One"/>
              </a:rPr>
              <a:t>Data Modelling</a:t>
            </a:r>
          </a:p>
        </p:txBody>
      </p:sp>
      <p:sp>
        <p:nvSpPr>
          <p:cNvPr id="505" name="Google Shape;505;p31"/>
          <p:cNvSpPr txBox="1"/>
          <p:nvPr/>
        </p:nvSpPr>
        <p:spPr>
          <a:xfrm>
            <a:off x="1979946" y="1242280"/>
            <a:ext cx="1965600" cy="2835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it-IT" sz="1600">
                <a:solidFill>
                  <a:schemeClr val="lt1"/>
                </a:solidFill>
                <a:latin typeface="Hammersmith One"/>
                <a:ea typeface="Hammersmith One"/>
                <a:cs typeface="Hammersmith One"/>
                <a:sym typeface="Hammersmith One"/>
              </a:rPr>
              <a:t>Data Cleaning</a:t>
            </a:r>
          </a:p>
        </p:txBody>
      </p:sp>
      <p:grpSp>
        <p:nvGrpSpPr>
          <p:cNvPr id="506" name="Google Shape;506;p31"/>
          <p:cNvGrpSpPr/>
          <p:nvPr/>
        </p:nvGrpSpPr>
        <p:grpSpPr>
          <a:xfrm>
            <a:off x="1118866" y="2231494"/>
            <a:ext cx="6925419" cy="1214296"/>
            <a:chOff x="1054974" y="2300817"/>
            <a:chExt cx="7042931" cy="1260440"/>
          </a:xfrm>
        </p:grpSpPr>
        <p:sp>
          <p:nvSpPr>
            <p:cNvPr id="507" name="Google Shape;507;p31"/>
            <p:cNvSpPr/>
            <p:nvPr/>
          </p:nvSpPr>
          <p:spPr>
            <a:xfrm>
              <a:off x="1226448" y="2525710"/>
              <a:ext cx="918181" cy="918445"/>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600"/>
            </a:p>
          </p:txBody>
        </p:sp>
        <p:sp>
          <p:nvSpPr>
            <p:cNvPr id="508" name="Google Shape;508;p31"/>
            <p:cNvSpPr/>
            <p:nvPr/>
          </p:nvSpPr>
          <p:spPr>
            <a:xfrm>
              <a:off x="4523235" y="2931112"/>
              <a:ext cx="1260095" cy="630145"/>
            </a:xfrm>
            <a:custGeom>
              <a:avLst/>
              <a:gdLst/>
              <a:ahLst/>
              <a:cxnLst/>
              <a:rect l="l" t="t" r="r" b="b"/>
              <a:pathLst>
                <a:path w="7904" h="3951" extrusionOk="0">
                  <a:moveTo>
                    <a:pt x="1" y="0"/>
                  </a:moveTo>
                  <a:cubicBezTo>
                    <a:pt x="1" y="540"/>
                    <a:pt x="113" y="1075"/>
                    <a:pt x="327" y="1571"/>
                  </a:cubicBezTo>
                  <a:cubicBezTo>
                    <a:pt x="938" y="2971"/>
                    <a:pt x="2332" y="3951"/>
                    <a:pt x="3953" y="3951"/>
                  </a:cubicBezTo>
                  <a:cubicBezTo>
                    <a:pt x="6132" y="3951"/>
                    <a:pt x="7903" y="2178"/>
                    <a:pt x="7903" y="0"/>
                  </a:cubicBezTo>
                  <a:lnTo>
                    <a:pt x="7248" y="0"/>
                  </a:lnTo>
                  <a:cubicBezTo>
                    <a:pt x="7248" y="1818"/>
                    <a:pt x="5770" y="3296"/>
                    <a:pt x="3953" y="3296"/>
                  </a:cubicBezTo>
                  <a:cubicBezTo>
                    <a:pt x="2135" y="3296"/>
                    <a:pt x="657" y="1818"/>
                    <a:pt x="657"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600"/>
            </a:p>
          </p:txBody>
        </p:sp>
        <p:sp>
          <p:nvSpPr>
            <p:cNvPr id="509" name="Google Shape;509;p31"/>
            <p:cNvSpPr/>
            <p:nvPr/>
          </p:nvSpPr>
          <p:spPr>
            <a:xfrm>
              <a:off x="3367892" y="2300817"/>
              <a:ext cx="1259776" cy="630145"/>
            </a:xfrm>
            <a:custGeom>
              <a:avLst/>
              <a:gdLst/>
              <a:ahLst/>
              <a:cxnLst/>
              <a:rect l="l" t="t" r="r" b="b"/>
              <a:pathLst>
                <a:path w="7902" h="3951" extrusionOk="0">
                  <a:moveTo>
                    <a:pt x="3951" y="0"/>
                  </a:moveTo>
                  <a:cubicBezTo>
                    <a:pt x="2330" y="0"/>
                    <a:pt x="935" y="982"/>
                    <a:pt x="327" y="2380"/>
                  </a:cubicBezTo>
                  <a:cubicBezTo>
                    <a:pt x="111" y="2874"/>
                    <a:pt x="0" y="3409"/>
                    <a:pt x="0" y="3951"/>
                  </a:cubicBezTo>
                  <a:lnTo>
                    <a:pt x="653" y="3951"/>
                  </a:lnTo>
                  <a:cubicBezTo>
                    <a:pt x="653" y="2135"/>
                    <a:pt x="2133" y="657"/>
                    <a:pt x="3951" y="657"/>
                  </a:cubicBezTo>
                  <a:cubicBezTo>
                    <a:pt x="5767" y="657"/>
                    <a:pt x="7246" y="2135"/>
                    <a:pt x="7246" y="3951"/>
                  </a:cubicBezTo>
                  <a:lnTo>
                    <a:pt x="7901" y="3951"/>
                  </a:lnTo>
                  <a:cubicBezTo>
                    <a:pt x="7901" y="3411"/>
                    <a:pt x="7791" y="2876"/>
                    <a:pt x="7574" y="2381"/>
                  </a:cubicBezTo>
                  <a:cubicBezTo>
                    <a:pt x="6966" y="982"/>
                    <a:pt x="5571" y="0"/>
                    <a:pt x="3951" y="0"/>
                  </a:cubicBezTo>
                  <a:close/>
                </a:path>
              </a:pathLst>
            </a:custGeom>
            <a:solidFill>
              <a:srgbClr val="7BD9C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600"/>
            </a:p>
          </p:txBody>
        </p:sp>
        <p:sp>
          <p:nvSpPr>
            <p:cNvPr id="510" name="Google Shape;510;p31"/>
            <p:cNvSpPr/>
            <p:nvPr/>
          </p:nvSpPr>
          <p:spPr>
            <a:xfrm>
              <a:off x="1054974" y="2308250"/>
              <a:ext cx="1261052" cy="632218"/>
            </a:xfrm>
            <a:custGeom>
              <a:avLst/>
              <a:gdLst/>
              <a:ahLst/>
              <a:cxnLst/>
              <a:rect l="l" t="t" r="r" b="b"/>
              <a:pathLst>
                <a:path w="7910" h="3964" extrusionOk="0">
                  <a:moveTo>
                    <a:pt x="3958" y="0"/>
                  </a:moveTo>
                  <a:cubicBezTo>
                    <a:pt x="3954" y="0"/>
                    <a:pt x="3950" y="0"/>
                    <a:pt x="3946" y="0"/>
                  </a:cubicBezTo>
                  <a:cubicBezTo>
                    <a:pt x="1768" y="6"/>
                    <a:pt x="0" y="1784"/>
                    <a:pt x="6" y="3963"/>
                  </a:cubicBezTo>
                  <a:lnTo>
                    <a:pt x="661" y="3962"/>
                  </a:lnTo>
                  <a:cubicBezTo>
                    <a:pt x="657" y="2144"/>
                    <a:pt x="2131" y="661"/>
                    <a:pt x="3947" y="655"/>
                  </a:cubicBezTo>
                  <a:cubicBezTo>
                    <a:pt x="3951" y="655"/>
                    <a:pt x="3955" y="655"/>
                    <a:pt x="3959" y="655"/>
                  </a:cubicBezTo>
                  <a:cubicBezTo>
                    <a:pt x="5771" y="655"/>
                    <a:pt x="7248" y="2127"/>
                    <a:pt x="7254" y="3939"/>
                  </a:cubicBezTo>
                  <a:lnTo>
                    <a:pt x="7256" y="3939"/>
                  </a:lnTo>
                  <a:lnTo>
                    <a:pt x="7909" y="3938"/>
                  </a:lnTo>
                  <a:cubicBezTo>
                    <a:pt x="7907" y="3398"/>
                    <a:pt x="7795" y="2863"/>
                    <a:pt x="7578" y="2368"/>
                  </a:cubicBezTo>
                  <a:cubicBezTo>
                    <a:pt x="6966" y="976"/>
                    <a:pt x="5573" y="0"/>
                    <a:pt x="395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600"/>
            </a:p>
          </p:txBody>
        </p:sp>
        <p:sp>
          <p:nvSpPr>
            <p:cNvPr id="511" name="Google Shape;511;p31"/>
            <p:cNvSpPr/>
            <p:nvPr/>
          </p:nvSpPr>
          <p:spPr>
            <a:xfrm>
              <a:off x="2212396" y="2931112"/>
              <a:ext cx="1260095" cy="630145"/>
            </a:xfrm>
            <a:custGeom>
              <a:avLst/>
              <a:gdLst/>
              <a:ahLst/>
              <a:cxnLst/>
              <a:rect l="l" t="t" r="r" b="b"/>
              <a:pathLst>
                <a:path w="7904" h="3951" extrusionOk="0">
                  <a:moveTo>
                    <a:pt x="1" y="0"/>
                  </a:moveTo>
                  <a:cubicBezTo>
                    <a:pt x="1" y="540"/>
                    <a:pt x="111" y="1075"/>
                    <a:pt x="328" y="1571"/>
                  </a:cubicBezTo>
                  <a:cubicBezTo>
                    <a:pt x="938" y="2971"/>
                    <a:pt x="2332" y="3951"/>
                    <a:pt x="3953" y="3951"/>
                  </a:cubicBezTo>
                  <a:cubicBezTo>
                    <a:pt x="5574" y="3951"/>
                    <a:pt x="6967" y="2971"/>
                    <a:pt x="7575" y="1573"/>
                  </a:cubicBezTo>
                  <a:cubicBezTo>
                    <a:pt x="7791" y="1076"/>
                    <a:pt x="7903" y="541"/>
                    <a:pt x="7903" y="0"/>
                  </a:cubicBezTo>
                  <a:lnTo>
                    <a:pt x="7249" y="0"/>
                  </a:lnTo>
                  <a:cubicBezTo>
                    <a:pt x="7249" y="1818"/>
                    <a:pt x="5770" y="3296"/>
                    <a:pt x="3953" y="3296"/>
                  </a:cubicBezTo>
                  <a:cubicBezTo>
                    <a:pt x="2135" y="3296"/>
                    <a:pt x="657" y="1818"/>
                    <a:pt x="65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600"/>
            </a:p>
          </p:txBody>
        </p:sp>
        <p:sp>
          <p:nvSpPr>
            <p:cNvPr id="512" name="Google Shape;512;p31"/>
            <p:cNvSpPr/>
            <p:nvPr/>
          </p:nvSpPr>
          <p:spPr>
            <a:xfrm>
              <a:off x="5677621" y="2300817"/>
              <a:ext cx="1261052" cy="632218"/>
            </a:xfrm>
            <a:custGeom>
              <a:avLst/>
              <a:gdLst/>
              <a:ahLst/>
              <a:cxnLst/>
              <a:rect l="l" t="t" r="r" b="b"/>
              <a:pathLst>
                <a:path w="7910" h="3964" extrusionOk="0">
                  <a:moveTo>
                    <a:pt x="3959" y="0"/>
                  </a:moveTo>
                  <a:cubicBezTo>
                    <a:pt x="3955" y="0"/>
                    <a:pt x="3951" y="0"/>
                    <a:pt x="3947" y="0"/>
                  </a:cubicBezTo>
                  <a:cubicBezTo>
                    <a:pt x="1769" y="8"/>
                    <a:pt x="1" y="1786"/>
                    <a:pt x="7" y="3963"/>
                  </a:cubicBezTo>
                  <a:lnTo>
                    <a:pt x="664" y="3962"/>
                  </a:lnTo>
                  <a:cubicBezTo>
                    <a:pt x="658" y="2144"/>
                    <a:pt x="2132" y="661"/>
                    <a:pt x="3948" y="657"/>
                  </a:cubicBezTo>
                  <a:cubicBezTo>
                    <a:pt x="3952" y="657"/>
                    <a:pt x="3956" y="657"/>
                    <a:pt x="3960" y="657"/>
                  </a:cubicBezTo>
                  <a:cubicBezTo>
                    <a:pt x="5772" y="657"/>
                    <a:pt x="7249" y="2127"/>
                    <a:pt x="7255" y="3941"/>
                  </a:cubicBezTo>
                  <a:lnTo>
                    <a:pt x="7257" y="3941"/>
                  </a:lnTo>
                  <a:lnTo>
                    <a:pt x="7910" y="3939"/>
                  </a:lnTo>
                  <a:cubicBezTo>
                    <a:pt x="7908" y="3398"/>
                    <a:pt x="7796" y="2865"/>
                    <a:pt x="7578" y="2370"/>
                  </a:cubicBezTo>
                  <a:cubicBezTo>
                    <a:pt x="6967" y="976"/>
                    <a:pt x="5574" y="0"/>
                    <a:pt x="3959" y="0"/>
                  </a:cubicBezTo>
                  <a:close/>
                </a:path>
              </a:pathLst>
            </a:custGeom>
            <a:solidFill>
              <a:srgbClr val="2F9C8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600"/>
            </a:p>
          </p:txBody>
        </p:sp>
        <p:sp>
          <p:nvSpPr>
            <p:cNvPr id="513" name="Google Shape;513;p31"/>
            <p:cNvSpPr/>
            <p:nvPr/>
          </p:nvSpPr>
          <p:spPr>
            <a:xfrm>
              <a:off x="2382864" y="2400507"/>
              <a:ext cx="918181" cy="918445"/>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600"/>
            </a:p>
          </p:txBody>
        </p:sp>
        <p:sp>
          <p:nvSpPr>
            <p:cNvPr id="514" name="Google Shape;514;p31"/>
            <p:cNvSpPr/>
            <p:nvPr/>
          </p:nvSpPr>
          <p:spPr>
            <a:xfrm>
              <a:off x="3540252" y="2525710"/>
              <a:ext cx="918181" cy="918445"/>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solidFill>
              <a:srgbClr val="7BD9C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600"/>
            </a:p>
          </p:txBody>
        </p:sp>
        <p:sp>
          <p:nvSpPr>
            <p:cNvPr id="515" name="Google Shape;515;p31"/>
            <p:cNvSpPr/>
            <p:nvPr/>
          </p:nvSpPr>
          <p:spPr>
            <a:xfrm>
              <a:off x="4696668" y="2400507"/>
              <a:ext cx="918181" cy="918445"/>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600"/>
            </a:p>
          </p:txBody>
        </p:sp>
        <p:sp>
          <p:nvSpPr>
            <p:cNvPr id="516" name="Google Shape;516;p31"/>
            <p:cNvSpPr/>
            <p:nvPr/>
          </p:nvSpPr>
          <p:spPr>
            <a:xfrm>
              <a:off x="5860153" y="2525710"/>
              <a:ext cx="918181" cy="918445"/>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solidFill>
              <a:srgbClr val="2F9C8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600"/>
            </a:p>
          </p:txBody>
        </p:sp>
        <p:sp>
          <p:nvSpPr>
            <p:cNvPr id="517" name="Google Shape;517;p31"/>
            <p:cNvSpPr txBox="1"/>
            <p:nvPr/>
          </p:nvSpPr>
          <p:spPr>
            <a:xfrm>
              <a:off x="1443256" y="2828025"/>
              <a:ext cx="484500" cy="3138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a:solidFill>
                    <a:srgbClr val="FF9287"/>
                  </a:solidFill>
                  <a:latin typeface="Fira Sans Extra Condensed Medium"/>
                  <a:ea typeface="Fira Sans Extra Condensed Medium"/>
                  <a:cs typeface="Fira Sans Extra Condensed Medium"/>
                  <a:sym typeface="Fira Sans Extra Condensed Medium"/>
                </a:rPr>
                <a:t>01</a:t>
              </a:r>
              <a:endParaRPr>
                <a:solidFill>
                  <a:srgbClr val="FF9287"/>
                </a:solidFill>
                <a:latin typeface="Fira Sans Extra Condensed Medium"/>
                <a:ea typeface="Fira Sans Extra Condensed Medium"/>
                <a:cs typeface="Fira Sans Extra Condensed Medium"/>
                <a:sym typeface="Fira Sans Extra Condensed Medium"/>
              </a:endParaRPr>
            </a:p>
          </p:txBody>
        </p:sp>
        <p:sp>
          <p:nvSpPr>
            <p:cNvPr id="518" name="Google Shape;518;p31"/>
            <p:cNvSpPr txBox="1"/>
            <p:nvPr/>
          </p:nvSpPr>
          <p:spPr>
            <a:xfrm>
              <a:off x="3755946" y="2828025"/>
              <a:ext cx="484500" cy="3138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a:solidFill>
                    <a:srgbClr val="FF9287"/>
                  </a:solidFill>
                  <a:latin typeface="Fira Sans Extra Condensed Medium"/>
                  <a:ea typeface="Fira Sans Extra Condensed Medium"/>
                  <a:cs typeface="Fira Sans Extra Condensed Medium"/>
                  <a:sym typeface="Fira Sans Extra Condensed Medium"/>
                </a:rPr>
                <a:t>03</a:t>
              </a:r>
              <a:endParaRPr>
                <a:solidFill>
                  <a:srgbClr val="FF9287"/>
                </a:solidFill>
                <a:latin typeface="Fira Sans Extra Condensed Medium"/>
                <a:ea typeface="Fira Sans Extra Condensed Medium"/>
                <a:cs typeface="Fira Sans Extra Condensed Medium"/>
                <a:sym typeface="Fira Sans Extra Condensed Medium"/>
              </a:endParaRPr>
            </a:p>
          </p:txBody>
        </p:sp>
        <p:sp>
          <p:nvSpPr>
            <p:cNvPr id="519" name="Google Shape;519;p31"/>
            <p:cNvSpPr txBox="1"/>
            <p:nvPr/>
          </p:nvSpPr>
          <p:spPr>
            <a:xfrm>
              <a:off x="6068636" y="2828025"/>
              <a:ext cx="484500" cy="3138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a:solidFill>
                    <a:srgbClr val="FF9287"/>
                  </a:solidFill>
                  <a:latin typeface="Fira Sans Extra Condensed Medium"/>
                  <a:ea typeface="Fira Sans Extra Condensed Medium"/>
                  <a:cs typeface="Fira Sans Extra Condensed Medium"/>
                  <a:sym typeface="Fira Sans Extra Condensed Medium"/>
                </a:rPr>
                <a:t>05</a:t>
              </a:r>
              <a:endParaRPr>
                <a:solidFill>
                  <a:srgbClr val="FF9287"/>
                </a:solidFill>
                <a:latin typeface="Fira Sans Extra Condensed Medium"/>
                <a:ea typeface="Fira Sans Extra Condensed Medium"/>
                <a:cs typeface="Fira Sans Extra Condensed Medium"/>
                <a:sym typeface="Fira Sans Extra Condensed Medium"/>
              </a:endParaRPr>
            </a:p>
          </p:txBody>
        </p:sp>
        <p:sp>
          <p:nvSpPr>
            <p:cNvPr id="520" name="Google Shape;520;p31"/>
            <p:cNvSpPr txBox="1"/>
            <p:nvPr/>
          </p:nvSpPr>
          <p:spPr>
            <a:xfrm>
              <a:off x="4912291" y="2702825"/>
              <a:ext cx="484500" cy="3138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a:solidFill>
                    <a:srgbClr val="FF9287"/>
                  </a:solidFill>
                  <a:latin typeface="Fira Sans Extra Condensed Medium"/>
                  <a:ea typeface="Fira Sans Extra Condensed Medium"/>
                  <a:cs typeface="Fira Sans Extra Condensed Medium"/>
                  <a:sym typeface="Fira Sans Extra Condensed Medium"/>
                </a:rPr>
                <a:t>04</a:t>
              </a:r>
              <a:endParaRPr>
                <a:solidFill>
                  <a:srgbClr val="FF9287"/>
                </a:solidFill>
                <a:latin typeface="Fira Sans Extra Condensed Medium"/>
                <a:ea typeface="Fira Sans Extra Condensed Medium"/>
                <a:cs typeface="Fira Sans Extra Condensed Medium"/>
                <a:sym typeface="Fira Sans Extra Condensed Medium"/>
              </a:endParaRPr>
            </a:p>
          </p:txBody>
        </p:sp>
        <p:sp>
          <p:nvSpPr>
            <p:cNvPr id="521" name="Google Shape;521;p31"/>
            <p:cNvSpPr txBox="1"/>
            <p:nvPr/>
          </p:nvSpPr>
          <p:spPr>
            <a:xfrm>
              <a:off x="2599601" y="2702825"/>
              <a:ext cx="484500" cy="3138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a:solidFill>
                    <a:srgbClr val="FF9287"/>
                  </a:solidFill>
                  <a:latin typeface="Fira Sans Extra Condensed Medium"/>
                  <a:ea typeface="Fira Sans Extra Condensed Medium"/>
                  <a:cs typeface="Fira Sans Extra Condensed Medium"/>
                  <a:sym typeface="Fira Sans Extra Condensed Medium"/>
                </a:rPr>
                <a:t>02</a:t>
              </a:r>
              <a:endParaRPr>
                <a:solidFill>
                  <a:srgbClr val="FF9287"/>
                </a:solidFill>
                <a:latin typeface="Fira Sans Extra Condensed Medium"/>
                <a:ea typeface="Fira Sans Extra Condensed Medium"/>
                <a:cs typeface="Fira Sans Extra Condensed Medium"/>
                <a:sym typeface="Fira Sans Extra Condensed Medium"/>
              </a:endParaRPr>
            </a:p>
          </p:txBody>
        </p:sp>
        <p:sp>
          <p:nvSpPr>
            <p:cNvPr id="522" name="Google Shape;522;p31"/>
            <p:cNvSpPr/>
            <p:nvPr/>
          </p:nvSpPr>
          <p:spPr>
            <a:xfrm>
              <a:off x="6837810" y="2931112"/>
              <a:ext cx="1260095" cy="630145"/>
            </a:xfrm>
            <a:custGeom>
              <a:avLst/>
              <a:gdLst/>
              <a:ahLst/>
              <a:cxnLst/>
              <a:rect l="l" t="t" r="r" b="b"/>
              <a:pathLst>
                <a:path w="7904" h="3951" extrusionOk="0">
                  <a:moveTo>
                    <a:pt x="1" y="0"/>
                  </a:moveTo>
                  <a:cubicBezTo>
                    <a:pt x="1" y="540"/>
                    <a:pt x="113" y="1075"/>
                    <a:pt x="327" y="1571"/>
                  </a:cubicBezTo>
                  <a:cubicBezTo>
                    <a:pt x="938" y="2971"/>
                    <a:pt x="2332" y="3951"/>
                    <a:pt x="3953" y="3951"/>
                  </a:cubicBezTo>
                  <a:cubicBezTo>
                    <a:pt x="6132" y="3951"/>
                    <a:pt x="7903" y="2178"/>
                    <a:pt x="7903" y="0"/>
                  </a:cubicBezTo>
                  <a:lnTo>
                    <a:pt x="7248" y="0"/>
                  </a:lnTo>
                  <a:cubicBezTo>
                    <a:pt x="7248" y="1818"/>
                    <a:pt x="5770" y="3296"/>
                    <a:pt x="3953" y="3296"/>
                  </a:cubicBezTo>
                  <a:cubicBezTo>
                    <a:pt x="2135" y="3296"/>
                    <a:pt x="657" y="1818"/>
                    <a:pt x="65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600"/>
            </a:p>
          </p:txBody>
        </p:sp>
        <p:sp>
          <p:nvSpPr>
            <p:cNvPr id="523" name="Google Shape;523;p31"/>
            <p:cNvSpPr/>
            <p:nvPr/>
          </p:nvSpPr>
          <p:spPr>
            <a:xfrm>
              <a:off x="6998616" y="2400507"/>
              <a:ext cx="918181" cy="918445"/>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600"/>
            </a:p>
          </p:txBody>
        </p:sp>
        <p:sp>
          <p:nvSpPr>
            <p:cNvPr id="524" name="Google Shape;524;p31"/>
            <p:cNvSpPr txBox="1"/>
            <p:nvPr/>
          </p:nvSpPr>
          <p:spPr>
            <a:xfrm>
              <a:off x="7224981" y="2702825"/>
              <a:ext cx="484500" cy="3138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a:solidFill>
                    <a:srgbClr val="FF9287"/>
                  </a:solidFill>
                  <a:latin typeface="Fira Sans Extra Condensed Medium"/>
                  <a:ea typeface="Fira Sans Extra Condensed Medium"/>
                  <a:cs typeface="Fira Sans Extra Condensed Medium"/>
                  <a:sym typeface="Fira Sans Extra Condensed Medium"/>
                </a:rPr>
                <a:t>06</a:t>
              </a:r>
              <a:endParaRPr>
                <a:solidFill>
                  <a:srgbClr val="FF9287"/>
                </a:solidFill>
                <a:latin typeface="Fira Sans Extra Condensed Medium"/>
                <a:ea typeface="Fira Sans Extra Condensed Medium"/>
                <a:cs typeface="Fira Sans Extra Condensed Medium"/>
                <a:sym typeface="Fira Sans Extra Condensed Medium"/>
              </a:endParaRPr>
            </a:p>
          </p:txBody>
        </p:sp>
      </p:grpSp>
      <p:sp>
        <p:nvSpPr>
          <p:cNvPr id="525" name="Google Shape;525;p31"/>
          <p:cNvSpPr txBox="1"/>
          <p:nvPr/>
        </p:nvSpPr>
        <p:spPr>
          <a:xfrm>
            <a:off x="6390321" y="1568534"/>
            <a:ext cx="2217840" cy="6228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1200">
                <a:solidFill>
                  <a:schemeClr val="lt1"/>
                </a:solidFill>
                <a:latin typeface="Source Sans Pro"/>
                <a:ea typeface="Source Sans Pro"/>
                <a:cs typeface="Source Sans Pro"/>
                <a:sym typeface="Source Sans Pro"/>
              </a:rPr>
              <a:t>Develop machine learning models for future insights </a:t>
            </a:r>
          </a:p>
        </p:txBody>
      </p:sp>
      <p:sp>
        <p:nvSpPr>
          <p:cNvPr id="526" name="Google Shape;526;p31"/>
          <p:cNvSpPr txBox="1"/>
          <p:nvPr/>
        </p:nvSpPr>
        <p:spPr>
          <a:xfrm>
            <a:off x="6407794" y="1269741"/>
            <a:ext cx="2181720" cy="341872"/>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it-IT" sz="1600">
                <a:solidFill>
                  <a:schemeClr val="lt1"/>
                </a:solidFill>
                <a:latin typeface="Hammersmith One"/>
                <a:ea typeface="Hammersmith One"/>
                <a:cs typeface="Hammersmith One"/>
                <a:sym typeface="Hammersmith One"/>
              </a:rPr>
              <a:t>Machine Learning</a:t>
            </a:r>
          </a:p>
        </p:txBody>
      </p:sp>
    </p:spTree>
    <p:extLst>
      <p:ext uri="{BB962C8B-B14F-4D97-AF65-F5344CB8AC3E}">
        <p14:creationId xmlns:p14="http://schemas.microsoft.com/office/powerpoint/2010/main" val="8113421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8EAAD777-729A-5300-3C0B-856BB7396D33}"/>
              </a:ext>
            </a:extLst>
          </p:cNvPr>
          <p:cNvGrpSpPr/>
          <p:nvPr/>
        </p:nvGrpSpPr>
        <p:grpSpPr>
          <a:xfrm>
            <a:off x="241477" y="977711"/>
            <a:ext cx="1209600" cy="775521"/>
            <a:chOff x="2258261" y="1873730"/>
            <a:chExt cx="882830" cy="586536"/>
          </a:xfrm>
        </p:grpSpPr>
        <p:sp>
          <p:nvSpPr>
            <p:cNvPr id="4" name="Cube 3">
              <a:extLst>
                <a:ext uri="{FF2B5EF4-FFF2-40B4-BE49-F238E27FC236}">
                  <a16:creationId xmlns:a16="http://schemas.microsoft.com/office/drawing/2014/main" id="{C53EE233-188A-16FE-897D-1396D49D06E3}"/>
                </a:ext>
              </a:extLst>
            </p:cNvPr>
            <p:cNvSpPr/>
            <p:nvPr/>
          </p:nvSpPr>
          <p:spPr>
            <a:xfrm>
              <a:off x="2476384" y="1873730"/>
              <a:ext cx="599726" cy="586536"/>
            </a:xfrm>
            <a:prstGeom prst="cube">
              <a:avLst>
                <a:gd name="adj" fmla="val 27105"/>
              </a:avLst>
            </a:prstGeom>
            <a:solidFill>
              <a:schemeClr val="bg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F6CAF162-4DC6-B5E5-E873-B4BA3B373D5B}"/>
                </a:ext>
              </a:extLst>
            </p:cNvPr>
            <p:cNvSpPr txBox="1"/>
            <p:nvPr/>
          </p:nvSpPr>
          <p:spPr>
            <a:xfrm>
              <a:off x="2258261" y="2078857"/>
              <a:ext cx="882830" cy="232776"/>
            </a:xfrm>
            <a:prstGeom prst="rect">
              <a:avLst/>
            </a:prstGeom>
            <a:noFill/>
          </p:spPr>
          <p:txBody>
            <a:bodyPr wrap="square" lIns="91440" tIns="45720" rIns="91440" bIns="45720" rtlCol="0" anchor="t">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a:lnSpc>
                  <a:spcPct val="100000"/>
                </a:lnSpc>
                <a:spcBef>
                  <a:spcPts val="0"/>
                </a:spcBef>
                <a:spcAft>
                  <a:spcPts val="0"/>
                </a:spcAft>
                <a:buNone/>
                <a:tabLst/>
                <a:defRPr/>
              </a:pPr>
              <a:r>
                <a:rPr lang="ru-RU" sz="1400" b="1" err="1">
                  <a:solidFill>
                    <a:srgbClr val="FFFFFF"/>
                  </a:solidFill>
                  <a:latin typeface="Open Sans"/>
                  <a:ea typeface="Open Sans"/>
                  <a:cs typeface="Open Sans"/>
                </a:rPr>
                <a:t>LogR</a:t>
              </a:r>
              <a:endParaRPr lang="en-US" sz="1400"/>
            </a:p>
          </p:txBody>
        </p:sp>
      </p:grpSp>
      <p:grpSp>
        <p:nvGrpSpPr>
          <p:cNvPr id="3" name="Group 2">
            <a:extLst>
              <a:ext uri="{FF2B5EF4-FFF2-40B4-BE49-F238E27FC236}">
                <a16:creationId xmlns:a16="http://schemas.microsoft.com/office/drawing/2014/main" id="{B242C91F-B232-1695-01FF-B9C23EDF4AF2}"/>
              </a:ext>
            </a:extLst>
          </p:cNvPr>
          <p:cNvGrpSpPr/>
          <p:nvPr/>
        </p:nvGrpSpPr>
        <p:grpSpPr>
          <a:xfrm>
            <a:off x="477142" y="2316570"/>
            <a:ext cx="813764" cy="783409"/>
            <a:chOff x="-776436" y="-804865"/>
            <a:chExt cx="1342612" cy="1181874"/>
          </a:xfrm>
        </p:grpSpPr>
        <p:sp>
          <p:nvSpPr>
            <p:cNvPr id="6" name="Cube 5">
              <a:extLst>
                <a:ext uri="{FF2B5EF4-FFF2-40B4-BE49-F238E27FC236}">
                  <a16:creationId xmlns:a16="http://schemas.microsoft.com/office/drawing/2014/main" id="{939EFF2F-8F99-4DB9-446D-A359E1BA489B}"/>
                </a:ext>
              </a:extLst>
            </p:cNvPr>
            <p:cNvSpPr/>
            <p:nvPr/>
          </p:nvSpPr>
          <p:spPr>
            <a:xfrm>
              <a:off x="-740105" y="-804865"/>
              <a:ext cx="1306281" cy="1181874"/>
            </a:xfrm>
            <a:prstGeom prst="cube">
              <a:avLst>
                <a:gd name="adj" fmla="val 27105"/>
              </a:avLst>
            </a:prstGeom>
            <a:solidFill>
              <a:schemeClr val="bg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30F3BFD8-F51A-3A7B-3347-734BE928C8DD}"/>
                </a:ext>
              </a:extLst>
            </p:cNvPr>
            <p:cNvSpPr txBox="1"/>
            <p:nvPr/>
          </p:nvSpPr>
          <p:spPr>
            <a:xfrm>
              <a:off x="-776436" y="-325165"/>
              <a:ext cx="1069859" cy="464321"/>
            </a:xfrm>
            <a:prstGeom prst="rect">
              <a:avLst/>
            </a:prstGeom>
            <a:noFill/>
          </p:spPr>
          <p:txBody>
            <a:bodyPr wrap="square"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a:ln>
                    <a:noFill/>
                  </a:ln>
                  <a:solidFill>
                    <a:srgbClr val="FFFFFF"/>
                  </a:solidFill>
                  <a:effectLst/>
                  <a:uLnTx/>
                  <a:uFillTx/>
                  <a:latin typeface="Open Sans" panose="020B0606030504020204" pitchFamily="34" charset="0"/>
                  <a:ea typeface="+mn-ea"/>
                  <a:cs typeface="+mn-cs"/>
                </a:rPr>
                <a:t>KNN</a:t>
              </a:r>
              <a:endParaRPr kumimoji="0" lang="en-GB" sz="1600" b="1" i="0" u="none" strike="noStrike" kern="1200" cap="none" spc="0" normalizeH="0" baseline="0" noProof="0">
                <a:ln>
                  <a:noFill/>
                </a:ln>
                <a:solidFill>
                  <a:srgbClr val="FFFFFF"/>
                </a:solidFill>
                <a:effectLst/>
                <a:uLnTx/>
                <a:uFillTx/>
                <a:latin typeface="Noto Sans" panose="020B0502040504020204" pitchFamily="34"/>
                <a:ea typeface="Noto Sans" panose="020B0502040504020204" pitchFamily="34"/>
                <a:cs typeface="Noto Sans" panose="020B0502040504020204" pitchFamily="34"/>
              </a:endParaRPr>
            </a:p>
          </p:txBody>
        </p:sp>
      </p:grpSp>
      <p:grpSp>
        <p:nvGrpSpPr>
          <p:cNvPr id="16" name="Group 15">
            <a:extLst>
              <a:ext uri="{FF2B5EF4-FFF2-40B4-BE49-F238E27FC236}">
                <a16:creationId xmlns:a16="http://schemas.microsoft.com/office/drawing/2014/main" id="{FFE0D0D6-2E86-13B9-F911-D8E00F44C74B}"/>
              </a:ext>
            </a:extLst>
          </p:cNvPr>
          <p:cNvGrpSpPr/>
          <p:nvPr/>
        </p:nvGrpSpPr>
        <p:grpSpPr>
          <a:xfrm>
            <a:off x="195522" y="3628926"/>
            <a:ext cx="1211685" cy="777871"/>
            <a:chOff x="5117829" y="1853906"/>
            <a:chExt cx="882830" cy="580686"/>
          </a:xfrm>
        </p:grpSpPr>
        <p:sp>
          <p:nvSpPr>
            <p:cNvPr id="8" name="Cube 7">
              <a:extLst>
                <a:ext uri="{FF2B5EF4-FFF2-40B4-BE49-F238E27FC236}">
                  <a16:creationId xmlns:a16="http://schemas.microsoft.com/office/drawing/2014/main" id="{9576BB92-4E35-FAD7-761E-79E9621353D7}"/>
                </a:ext>
              </a:extLst>
            </p:cNvPr>
            <p:cNvSpPr/>
            <p:nvPr/>
          </p:nvSpPr>
          <p:spPr>
            <a:xfrm>
              <a:off x="5349532" y="1853906"/>
              <a:ext cx="601185" cy="580686"/>
            </a:xfrm>
            <a:prstGeom prst="cube">
              <a:avLst>
                <a:gd name="adj" fmla="val 27105"/>
              </a:avLst>
            </a:prstGeom>
            <a:solidFill>
              <a:schemeClr val="bg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0CBA3A48-62ED-3667-8C59-2AB5BBF21E44}"/>
                </a:ext>
              </a:extLst>
            </p:cNvPr>
            <p:cNvSpPr txBox="1"/>
            <p:nvPr/>
          </p:nvSpPr>
          <p:spPr>
            <a:xfrm>
              <a:off x="5117829" y="2100102"/>
              <a:ext cx="882830" cy="229758"/>
            </a:xfrm>
            <a:prstGeom prst="rect">
              <a:avLst/>
            </a:prstGeom>
            <a:noFill/>
          </p:spPr>
          <p:txBody>
            <a:bodyPr wrap="square" lIns="91440" tIns="45720" rIns="91440" bIns="45720" rtlCol="0" anchor="t">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defRPr/>
              </a:pPr>
              <a:r>
                <a:rPr lang="en-CA" sz="1400" b="1">
                  <a:latin typeface="Open Sans"/>
                  <a:ea typeface="Open Sans"/>
                  <a:cs typeface="Open Sans"/>
                </a:rPr>
                <a:t>DT</a:t>
              </a:r>
            </a:p>
          </p:txBody>
        </p:sp>
      </p:grpSp>
      <p:grpSp>
        <p:nvGrpSpPr>
          <p:cNvPr id="45" name="Group 44">
            <a:extLst>
              <a:ext uri="{FF2B5EF4-FFF2-40B4-BE49-F238E27FC236}">
                <a16:creationId xmlns:a16="http://schemas.microsoft.com/office/drawing/2014/main" id="{35FD9824-30C2-B8EE-314F-D4141E90B8F3}"/>
              </a:ext>
            </a:extLst>
          </p:cNvPr>
          <p:cNvGrpSpPr/>
          <p:nvPr/>
        </p:nvGrpSpPr>
        <p:grpSpPr>
          <a:xfrm>
            <a:off x="1827095" y="1671650"/>
            <a:ext cx="1531732" cy="1875202"/>
            <a:chOff x="2490323" y="1685816"/>
            <a:chExt cx="1118960" cy="1400949"/>
          </a:xfrm>
        </p:grpSpPr>
        <p:grpSp>
          <p:nvGrpSpPr>
            <p:cNvPr id="31" name="Group 30">
              <a:extLst>
                <a:ext uri="{FF2B5EF4-FFF2-40B4-BE49-F238E27FC236}">
                  <a16:creationId xmlns:a16="http://schemas.microsoft.com/office/drawing/2014/main" id="{F991D83B-4CC1-FB8A-4EAD-AF3949C96CD5}"/>
                </a:ext>
              </a:extLst>
            </p:cNvPr>
            <p:cNvGrpSpPr/>
            <p:nvPr/>
          </p:nvGrpSpPr>
          <p:grpSpPr>
            <a:xfrm>
              <a:off x="2558811" y="1689976"/>
              <a:ext cx="1050472" cy="1396789"/>
              <a:chOff x="5483110" y="1667710"/>
              <a:chExt cx="1295400" cy="1864379"/>
            </a:xfrm>
          </p:grpSpPr>
          <p:grpSp>
            <p:nvGrpSpPr>
              <p:cNvPr id="23" name="Group 22">
                <a:extLst>
                  <a:ext uri="{FF2B5EF4-FFF2-40B4-BE49-F238E27FC236}">
                    <a16:creationId xmlns:a16="http://schemas.microsoft.com/office/drawing/2014/main" id="{1D3408A2-2CAF-F70D-52BF-F542319B9B99}"/>
                  </a:ext>
                </a:extLst>
              </p:cNvPr>
              <p:cNvGrpSpPr/>
              <p:nvPr/>
            </p:nvGrpSpPr>
            <p:grpSpPr>
              <a:xfrm>
                <a:off x="5730213" y="2653734"/>
                <a:ext cx="658321" cy="658160"/>
                <a:chOff x="2700338" y="8651875"/>
                <a:chExt cx="6545262" cy="6543675"/>
              </a:xfrm>
              <a:solidFill>
                <a:schemeClr val="tx1"/>
              </a:solidFill>
            </p:grpSpPr>
            <p:sp>
              <p:nvSpPr>
                <p:cNvPr id="24" name="Freeform 18">
                  <a:extLst>
                    <a:ext uri="{FF2B5EF4-FFF2-40B4-BE49-F238E27FC236}">
                      <a16:creationId xmlns:a16="http://schemas.microsoft.com/office/drawing/2014/main" id="{2828B24A-6828-5308-F768-14F92BB292BA}"/>
                    </a:ext>
                  </a:extLst>
                </p:cNvPr>
                <p:cNvSpPr>
                  <a:spLocks noEditPoints="1"/>
                </p:cNvSpPr>
                <p:nvPr/>
              </p:nvSpPr>
              <p:spPr bwMode="auto">
                <a:xfrm>
                  <a:off x="2700338" y="10820400"/>
                  <a:ext cx="4376737" cy="4375150"/>
                </a:xfrm>
                <a:custGeom>
                  <a:avLst/>
                  <a:gdLst>
                    <a:gd name="T0" fmla="*/ 477 w 1376"/>
                    <a:gd name="T1" fmla="*/ 1360 h 1376"/>
                    <a:gd name="T2" fmla="*/ 312 w 1376"/>
                    <a:gd name="T3" fmla="*/ 1212 h 1376"/>
                    <a:gd name="T4" fmla="*/ 237 w 1376"/>
                    <a:gd name="T5" fmla="*/ 1044 h 1376"/>
                    <a:gd name="T6" fmla="*/ 64 w 1376"/>
                    <a:gd name="T7" fmla="*/ 1013 h 1376"/>
                    <a:gd name="T8" fmla="*/ 51 w 1376"/>
                    <a:gd name="T9" fmla="*/ 793 h 1376"/>
                    <a:gd name="T10" fmla="*/ 117 w 1376"/>
                    <a:gd name="T11" fmla="*/ 621 h 1376"/>
                    <a:gd name="T12" fmla="*/ 16 w 1376"/>
                    <a:gd name="T13" fmla="*/ 476 h 1376"/>
                    <a:gd name="T14" fmla="*/ 164 w 1376"/>
                    <a:gd name="T15" fmla="*/ 312 h 1376"/>
                    <a:gd name="T16" fmla="*/ 332 w 1376"/>
                    <a:gd name="T17" fmla="*/ 237 h 1376"/>
                    <a:gd name="T18" fmla="*/ 363 w 1376"/>
                    <a:gd name="T19" fmla="*/ 63 h 1376"/>
                    <a:gd name="T20" fmla="*/ 583 w 1376"/>
                    <a:gd name="T21" fmla="*/ 51 h 1376"/>
                    <a:gd name="T22" fmla="*/ 755 w 1376"/>
                    <a:gd name="T23" fmla="*/ 116 h 1376"/>
                    <a:gd name="T24" fmla="*/ 900 w 1376"/>
                    <a:gd name="T25" fmla="*/ 16 h 1376"/>
                    <a:gd name="T26" fmla="*/ 1064 w 1376"/>
                    <a:gd name="T27" fmla="*/ 163 h 1376"/>
                    <a:gd name="T28" fmla="*/ 1139 w 1376"/>
                    <a:gd name="T29" fmla="*/ 331 h 1376"/>
                    <a:gd name="T30" fmla="*/ 1313 w 1376"/>
                    <a:gd name="T31" fmla="*/ 362 h 1376"/>
                    <a:gd name="T32" fmla="*/ 1360 w 1376"/>
                    <a:gd name="T33" fmla="*/ 476 h 1376"/>
                    <a:gd name="T34" fmla="*/ 1260 w 1376"/>
                    <a:gd name="T35" fmla="*/ 621 h 1376"/>
                    <a:gd name="T36" fmla="*/ 1325 w 1376"/>
                    <a:gd name="T37" fmla="*/ 793 h 1376"/>
                    <a:gd name="T38" fmla="*/ 1313 w 1376"/>
                    <a:gd name="T39" fmla="*/ 1013 h 1376"/>
                    <a:gd name="T40" fmla="*/ 1139 w 1376"/>
                    <a:gd name="T41" fmla="*/ 1044 h 1376"/>
                    <a:gd name="T42" fmla="*/ 1064 w 1376"/>
                    <a:gd name="T43" fmla="*/ 1212 h 1376"/>
                    <a:gd name="T44" fmla="*/ 900 w 1376"/>
                    <a:gd name="T45" fmla="*/ 1360 h 1376"/>
                    <a:gd name="T46" fmla="*/ 755 w 1376"/>
                    <a:gd name="T47" fmla="*/ 1259 h 1376"/>
                    <a:gd name="T48" fmla="*/ 583 w 1376"/>
                    <a:gd name="T49" fmla="*/ 1325 h 1376"/>
                    <a:gd name="T50" fmla="*/ 403 w 1376"/>
                    <a:gd name="T51" fmla="*/ 1230 h 1376"/>
                    <a:gd name="T52" fmla="*/ 544 w 1376"/>
                    <a:gd name="T53" fmla="*/ 1210 h 1376"/>
                    <a:gd name="T54" fmla="*/ 748 w 1376"/>
                    <a:gd name="T55" fmla="*/ 1167 h 1376"/>
                    <a:gd name="T56" fmla="*/ 870 w 1376"/>
                    <a:gd name="T57" fmla="*/ 1273 h 1376"/>
                    <a:gd name="T58" fmla="*/ 956 w 1376"/>
                    <a:gd name="T59" fmla="*/ 1159 h 1376"/>
                    <a:gd name="T60" fmla="*/ 1070 w 1376"/>
                    <a:gd name="T61" fmla="*/ 985 h 1376"/>
                    <a:gd name="T62" fmla="*/ 1230 w 1376"/>
                    <a:gd name="T63" fmla="*/ 973 h 1376"/>
                    <a:gd name="T64" fmla="*/ 1211 w 1376"/>
                    <a:gd name="T65" fmla="*/ 832 h 1376"/>
                    <a:gd name="T66" fmla="*/ 1168 w 1376"/>
                    <a:gd name="T67" fmla="*/ 628 h 1376"/>
                    <a:gd name="T68" fmla="*/ 1274 w 1376"/>
                    <a:gd name="T69" fmla="*/ 506 h 1376"/>
                    <a:gd name="T70" fmla="*/ 1160 w 1376"/>
                    <a:gd name="T71" fmla="*/ 420 h 1376"/>
                    <a:gd name="T72" fmla="*/ 986 w 1376"/>
                    <a:gd name="T73" fmla="*/ 306 h 1376"/>
                    <a:gd name="T74" fmla="*/ 974 w 1376"/>
                    <a:gd name="T75" fmla="*/ 146 h 1376"/>
                    <a:gd name="T76" fmla="*/ 833 w 1376"/>
                    <a:gd name="T77" fmla="*/ 165 h 1376"/>
                    <a:gd name="T78" fmla="*/ 629 w 1376"/>
                    <a:gd name="T79" fmla="*/ 208 h 1376"/>
                    <a:gd name="T80" fmla="*/ 507 w 1376"/>
                    <a:gd name="T81" fmla="*/ 102 h 1376"/>
                    <a:gd name="T82" fmla="*/ 421 w 1376"/>
                    <a:gd name="T83" fmla="*/ 216 h 1376"/>
                    <a:gd name="T84" fmla="*/ 307 w 1376"/>
                    <a:gd name="T85" fmla="*/ 390 h 1376"/>
                    <a:gd name="T86" fmla="*/ 146 w 1376"/>
                    <a:gd name="T87" fmla="*/ 402 h 1376"/>
                    <a:gd name="T88" fmla="*/ 166 w 1376"/>
                    <a:gd name="T89" fmla="*/ 543 h 1376"/>
                    <a:gd name="T90" fmla="*/ 209 w 1376"/>
                    <a:gd name="T91" fmla="*/ 747 h 1376"/>
                    <a:gd name="T92" fmla="*/ 103 w 1376"/>
                    <a:gd name="T93" fmla="*/ 869 h 1376"/>
                    <a:gd name="T94" fmla="*/ 217 w 1376"/>
                    <a:gd name="T95" fmla="*/ 955 h 1376"/>
                    <a:gd name="T96" fmla="*/ 391 w 1376"/>
                    <a:gd name="T97" fmla="*/ 1069 h 1376"/>
                    <a:gd name="T98" fmla="*/ 403 w 1376"/>
                    <a:gd name="T99" fmla="*/ 123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76" h="1376">
                      <a:moveTo>
                        <a:pt x="509" y="1366"/>
                      </a:moveTo>
                      <a:cubicBezTo>
                        <a:pt x="498" y="1366"/>
                        <a:pt x="487" y="1364"/>
                        <a:pt x="477" y="1360"/>
                      </a:cubicBezTo>
                      <a:cubicBezTo>
                        <a:pt x="363" y="1312"/>
                        <a:pt x="363" y="1312"/>
                        <a:pt x="363" y="1312"/>
                      </a:cubicBezTo>
                      <a:cubicBezTo>
                        <a:pt x="324" y="1296"/>
                        <a:pt x="302" y="1253"/>
                        <a:pt x="312" y="1212"/>
                      </a:cubicBezTo>
                      <a:cubicBezTo>
                        <a:pt x="319" y="1188"/>
                        <a:pt x="325" y="1163"/>
                        <a:pt x="332" y="1139"/>
                      </a:cubicBezTo>
                      <a:cubicBezTo>
                        <a:pt x="297" y="1111"/>
                        <a:pt x="265" y="1079"/>
                        <a:pt x="237" y="1044"/>
                      </a:cubicBezTo>
                      <a:cubicBezTo>
                        <a:pt x="213" y="1051"/>
                        <a:pt x="188" y="1057"/>
                        <a:pt x="164" y="1064"/>
                      </a:cubicBezTo>
                      <a:cubicBezTo>
                        <a:pt x="123" y="1074"/>
                        <a:pt x="80" y="1052"/>
                        <a:pt x="64" y="1013"/>
                      </a:cubicBezTo>
                      <a:cubicBezTo>
                        <a:pt x="16" y="899"/>
                        <a:pt x="16" y="899"/>
                        <a:pt x="16" y="899"/>
                      </a:cubicBezTo>
                      <a:cubicBezTo>
                        <a:pt x="0" y="860"/>
                        <a:pt x="15" y="815"/>
                        <a:pt x="51" y="793"/>
                      </a:cubicBezTo>
                      <a:cubicBezTo>
                        <a:pt x="73" y="780"/>
                        <a:pt x="95" y="767"/>
                        <a:pt x="117" y="754"/>
                      </a:cubicBezTo>
                      <a:cubicBezTo>
                        <a:pt x="112" y="710"/>
                        <a:pt x="112" y="665"/>
                        <a:pt x="117" y="621"/>
                      </a:cubicBezTo>
                      <a:cubicBezTo>
                        <a:pt x="95" y="608"/>
                        <a:pt x="73" y="595"/>
                        <a:pt x="51" y="582"/>
                      </a:cubicBezTo>
                      <a:cubicBezTo>
                        <a:pt x="15" y="561"/>
                        <a:pt x="0" y="515"/>
                        <a:pt x="16" y="476"/>
                      </a:cubicBezTo>
                      <a:cubicBezTo>
                        <a:pt x="64" y="362"/>
                        <a:pt x="64" y="362"/>
                        <a:pt x="64" y="362"/>
                      </a:cubicBezTo>
                      <a:cubicBezTo>
                        <a:pt x="80" y="323"/>
                        <a:pt x="123" y="301"/>
                        <a:pt x="164" y="312"/>
                      </a:cubicBezTo>
                      <a:cubicBezTo>
                        <a:pt x="188" y="318"/>
                        <a:pt x="213" y="324"/>
                        <a:pt x="237" y="331"/>
                      </a:cubicBezTo>
                      <a:cubicBezTo>
                        <a:pt x="265" y="296"/>
                        <a:pt x="297" y="264"/>
                        <a:pt x="332" y="237"/>
                      </a:cubicBezTo>
                      <a:cubicBezTo>
                        <a:pt x="325" y="212"/>
                        <a:pt x="319" y="187"/>
                        <a:pt x="312" y="163"/>
                      </a:cubicBezTo>
                      <a:cubicBezTo>
                        <a:pt x="302" y="122"/>
                        <a:pt x="324" y="79"/>
                        <a:pt x="363" y="63"/>
                      </a:cubicBezTo>
                      <a:cubicBezTo>
                        <a:pt x="477" y="16"/>
                        <a:pt x="477" y="16"/>
                        <a:pt x="477" y="16"/>
                      </a:cubicBezTo>
                      <a:cubicBezTo>
                        <a:pt x="516" y="0"/>
                        <a:pt x="561" y="15"/>
                        <a:pt x="583" y="51"/>
                      </a:cubicBezTo>
                      <a:cubicBezTo>
                        <a:pt x="596" y="72"/>
                        <a:pt x="609" y="94"/>
                        <a:pt x="622" y="116"/>
                      </a:cubicBezTo>
                      <a:cubicBezTo>
                        <a:pt x="666" y="111"/>
                        <a:pt x="711" y="111"/>
                        <a:pt x="755" y="116"/>
                      </a:cubicBezTo>
                      <a:cubicBezTo>
                        <a:pt x="768" y="94"/>
                        <a:pt x="781" y="72"/>
                        <a:pt x="794" y="51"/>
                      </a:cubicBezTo>
                      <a:cubicBezTo>
                        <a:pt x="815" y="15"/>
                        <a:pt x="861" y="0"/>
                        <a:pt x="900" y="16"/>
                      </a:cubicBezTo>
                      <a:cubicBezTo>
                        <a:pt x="1014" y="63"/>
                        <a:pt x="1014" y="63"/>
                        <a:pt x="1014" y="63"/>
                      </a:cubicBezTo>
                      <a:cubicBezTo>
                        <a:pt x="1053" y="79"/>
                        <a:pt x="1075" y="122"/>
                        <a:pt x="1064" y="163"/>
                      </a:cubicBezTo>
                      <a:cubicBezTo>
                        <a:pt x="1058" y="187"/>
                        <a:pt x="1052" y="212"/>
                        <a:pt x="1045" y="237"/>
                      </a:cubicBezTo>
                      <a:cubicBezTo>
                        <a:pt x="1080" y="264"/>
                        <a:pt x="1112" y="296"/>
                        <a:pt x="1139" y="331"/>
                      </a:cubicBezTo>
                      <a:cubicBezTo>
                        <a:pt x="1164" y="324"/>
                        <a:pt x="1189" y="318"/>
                        <a:pt x="1213" y="312"/>
                      </a:cubicBezTo>
                      <a:cubicBezTo>
                        <a:pt x="1254" y="301"/>
                        <a:pt x="1297" y="323"/>
                        <a:pt x="1313" y="362"/>
                      </a:cubicBezTo>
                      <a:cubicBezTo>
                        <a:pt x="1360" y="476"/>
                        <a:pt x="1360" y="476"/>
                        <a:pt x="1360" y="476"/>
                      </a:cubicBezTo>
                      <a:cubicBezTo>
                        <a:pt x="1360" y="476"/>
                        <a:pt x="1360" y="476"/>
                        <a:pt x="1360" y="476"/>
                      </a:cubicBezTo>
                      <a:cubicBezTo>
                        <a:pt x="1376" y="515"/>
                        <a:pt x="1361" y="561"/>
                        <a:pt x="1325" y="582"/>
                      </a:cubicBezTo>
                      <a:cubicBezTo>
                        <a:pt x="1304" y="595"/>
                        <a:pt x="1282" y="608"/>
                        <a:pt x="1260" y="621"/>
                      </a:cubicBezTo>
                      <a:cubicBezTo>
                        <a:pt x="1265" y="665"/>
                        <a:pt x="1265" y="710"/>
                        <a:pt x="1260" y="754"/>
                      </a:cubicBezTo>
                      <a:cubicBezTo>
                        <a:pt x="1282" y="767"/>
                        <a:pt x="1304" y="780"/>
                        <a:pt x="1325" y="793"/>
                      </a:cubicBezTo>
                      <a:cubicBezTo>
                        <a:pt x="1361" y="815"/>
                        <a:pt x="1376" y="860"/>
                        <a:pt x="1360" y="899"/>
                      </a:cubicBezTo>
                      <a:cubicBezTo>
                        <a:pt x="1313" y="1013"/>
                        <a:pt x="1313" y="1013"/>
                        <a:pt x="1313" y="1013"/>
                      </a:cubicBezTo>
                      <a:cubicBezTo>
                        <a:pt x="1297" y="1052"/>
                        <a:pt x="1254" y="1074"/>
                        <a:pt x="1213" y="1064"/>
                      </a:cubicBezTo>
                      <a:cubicBezTo>
                        <a:pt x="1189" y="1057"/>
                        <a:pt x="1164" y="1051"/>
                        <a:pt x="1139" y="1044"/>
                      </a:cubicBezTo>
                      <a:cubicBezTo>
                        <a:pt x="1112" y="1079"/>
                        <a:pt x="1080" y="1111"/>
                        <a:pt x="1045" y="1139"/>
                      </a:cubicBezTo>
                      <a:cubicBezTo>
                        <a:pt x="1052" y="1164"/>
                        <a:pt x="1058" y="1188"/>
                        <a:pt x="1064" y="1212"/>
                      </a:cubicBezTo>
                      <a:cubicBezTo>
                        <a:pt x="1075" y="1253"/>
                        <a:pt x="1053" y="1296"/>
                        <a:pt x="1014" y="1312"/>
                      </a:cubicBezTo>
                      <a:cubicBezTo>
                        <a:pt x="900" y="1360"/>
                        <a:pt x="900" y="1360"/>
                        <a:pt x="900" y="1360"/>
                      </a:cubicBezTo>
                      <a:cubicBezTo>
                        <a:pt x="861" y="1376"/>
                        <a:pt x="815" y="1361"/>
                        <a:pt x="794" y="1325"/>
                      </a:cubicBezTo>
                      <a:cubicBezTo>
                        <a:pt x="781" y="1303"/>
                        <a:pt x="768" y="1281"/>
                        <a:pt x="755" y="1259"/>
                      </a:cubicBezTo>
                      <a:cubicBezTo>
                        <a:pt x="711" y="1264"/>
                        <a:pt x="666" y="1264"/>
                        <a:pt x="622" y="1259"/>
                      </a:cubicBezTo>
                      <a:cubicBezTo>
                        <a:pt x="609" y="1281"/>
                        <a:pt x="596" y="1303"/>
                        <a:pt x="583" y="1325"/>
                      </a:cubicBezTo>
                      <a:cubicBezTo>
                        <a:pt x="567" y="1351"/>
                        <a:pt x="539" y="1366"/>
                        <a:pt x="509" y="1366"/>
                      </a:cubicBezTo>
                      <a:close/>
                      <a:moveTo>
                        <a:pt x="403" y="1230"/>
                      </a:moveTo>
                      <a:cubicBezTo>
                        <a:pt x="507" y="1273"/>
                        <a:pt x="507" y="1273"/>
                        <a:pt x="507" y="1273"/>
                      </a:cubicBezTo>
                      <a:cubicBezTo>
                        <a:pt x="519" y="1252"/>
                        <a:pt x="532" y="1231"/>
                        <a:pt x="544" y="1210"/>
                      </a:cubicBezTo>
                      <a:cubicBezTo>
                        <a:pt x="562" y="1180"/>
                        <a:pt x="595" y="1163"/>
                        <a:pt x="629" y="1167"/>
                      </a:cubicBezTo>
                      <a:cubicBezTo>
                        <a:pt x="669" y="1172"/>
                        <a:pt x="708" y="1172"/>
                        <a:pt x="748" y="1167"/>
                      </a:cubicBezTo>
                      <a:cubicBezTo>
                        <a:pt x="782" y="1163"/>
                        <a:pt x="815" y="1180"/>
                        <a:pt x="833" y="1210"/>
                      </a:cubicBezTo>
                      <a:cubicBezTo>
                        <a:pt x="845" y="1231"/>
                        <a:pt x="857" y="1252"/>
                        <a:pt x="870" y="1273"/>
                      </a:cubicBezTo>
                      <a:cubicBezTo>
                        <a:pt x="974" y="1230"/>
                        <a:pt x="974" y="1230"/>
                        <a:pt x="974" y="1230"/>
                      </a:cubicBezTo>
                      <a:cubicBezTo>
                        <a:pt x="968" y="1206"/>
                        <a:pt x="962" y="1183"/>
                        <a:pt x="956" y="1159"/>
                      </a:cubicBezTo>
                      <a:cubicBezTo>
                        <a:pt x="947" y="1125"/>
                        <a:pt x="958" y="1090"/>
                        <a:pt x="986" y="1069"/>
                      </a:cubicBezTo>
                      <a:cubicBezTo>
                        <a:pt x="1017" y="1044"/>
                        <a:pt x="1045" y="1016"/>
                        <a:pt x="1070" y="985"/>
                      </a:cubicBezTo>
                      <a:cubicBezTo>
                        <a:pt x="1091" y="958"/>
                        <a:pt x="1126" y="946"/>
                        <a:pt x="1160" y="955"/>
                      </a:cubicBezTo>
                      <a:cubicBezTo>
                        <a:pt x="1183" y="961"/>
                        <a:pt x="1207" y="967"/>
                        <a:pt x="1230" y="973"/>
                      </a:cubicBezTo>
                      <a:cubicBezTo>
                        <a:pt x="1274" y="869"/>
                        <a:pt x="1274" y="869"/>
                        <a:pt x="1274" y="869"/>
                      </a:cubicBezTo>
                      <a:cubicBezTo>
                        <a:pt x="1253" y="856"/>
                        <a:pt x="1232" y="844"/>
                        <a:pt x="1211" y="832"/>
                      </a:cubicBezTo>
                      <a:cubicBezTo>
                        <a:pt x="1181" y="814"/>
                        <a:pt x="1164" y="781"/>
                        <a:pt x="1168" y="747"/>
                      </a:cubicBezTo>
                      <a:cubicBezTo>
                        <a:pt x="1173" y="707"/>
                        <a:pt x="1173" y="668"/>
                        <a:pt x="1168" y="628"/>
                      </a:cubicBezTo>
                      <a:cubicBezTo>
                        <a:pt x="1164" y="594"/>
                        <a:pt x="1181" y="561"/>
                        <a:pt x="1211" y="543"/>
                      </a:cubicBezTo>
                      <a:cubicBezTo>
                        <a:pt x="1232" y="531"/>
                        <a:pt x="1253" y="519"/>
                        <a:pt x="1274" y="506"/>
                      </a:cubicBezTo>
                      <a:cubicBezTo>
                        <a:pt x="1230" y="402"/>
                        <a:pt x="1230" y="402"/>
                        <a:pt x="1230" y="402"/>
                      </a:cubicBezTo>
                      <a:cubicBezTo>
                        <a:pt x="1207" y="408"/>
                        <a:pt x="1183" y="414"/>
                        <a:pt x="1160" y="420"/>
                      </a:cubicBezTo>
                      <a:cubicBezTo>
                        <a:pt x="1126" y="429"/>
                        <a:pt x="1091" y="418"/>
                        <a:pt x="1070" y="390"/>
                      </a:cubicBezTo>
                      <a:cubicBezTo>
                        <a:pt x="1045" y="359"/>
                        <a:pt x="1017" y="331"/>
                        <a:pt x="986" y="306"/>
                      </a:cubicBezTo>
                      <a:cubicBezTo>
                        <a:pt x="958" y="285"/>
                        <a:pt x="947" y="250"/>
                        <a:pt x="956" y="216"/>
                      </a:cubicBezTo>
                      <a:cubicBezTo>
                        <a:pt x="962" y="193"/>
                        <a:pt x="968" y="169"/>
                        <a:pt x="974" y="146"/>
                      </a:cubicBezTo>
                      <a:cubicBezTo>
                        <a:pt x="870" y="102"/>
                        <a:pt x="870" y="102"/>
                        <a:pt x="870" y="102"/>
                      </a:cubicBezTo>
                      <a:cubicBezTo>
                        <a:pt x="857" y="123"/>
                        <a:pt x="845" y="144"/>
                        <a:pt x="833" y="165"/>
                      </a:cubicBezTo>
                      <a:cubicBezTo>
                        <a:pt x="815" y="195"/>
                        <a:pt x="782" y="212"/>
                        <a:pt x="748" y="208"/>
                      </a:cubicBezTo>
                      <a:cubicBezTo>
                        <a:pt x="708" y="203"/>
                        <a:pt x="668" y="203"/>
                        <a:pt x="629" y="208"/>
                      </a:cubicBezTo>
                      <a:cubicBezTo>
                        <a:pt x="595" y="212"/>
                        <a:pt x="561" y="195"/>
                        <a:pt x="544" y="165"/>
                      </a:cubicBezTo>
                      <a:cubicBezTo>
                        <a:pt x="532" y="144"/>
                        <a:pt x="519" y="123"/>
                        <a:pt x="507" y="102"/>
                      </a:cubicBezTo>
                      <a:cubicBezTo>
                        <a:pt x="403" y="146"/>
                        <a:pt x="403" y="146"/>
                        <a:pt x="403" y="146"/>
                      </a:cubicBezTo>
                      <a:cubicBezTo>
                        <a:pt x="409" y="169"/>
                        <a:pt x="415" y="193"/>
                        <a:pt x="421" y="216"/>
                      </a:cubicBezTo>
                      <a:cubicBezTo>
                        <a:pt x="430" y="250"/>
                        <a:pt x="418" y="285"/>
                        <a:pt x="391" y="306"/>
                      </a:cubicBezTo>
                      <a:cubicBezTo>
                        <a:pt x="360" y="331"/>
                        <a:pt x="332" y="359"/>
                        <a:pt x="307" y="390"/>
                      </a:cubicBezTo>
                      <a:cubicBezTo>
                        <a:pt x="286" y="418"/>
                        <a:pt x="251" y="429"/>
                        <a:pt x="217" y="420"/>
                      </a:cubicBezTo>
                      <a:cubicBezTo>
                        <a:pt x="193" y="414"/>
                        <a:pt x="170" y="408"/>
                        <a:pt x="146" y="402"/>
                      </a:cubicBezTo>
                      <a:cubicBezTo>
                        <a:pt x="103" y="506"/>
                        <a:pt x="103" y="506"/>
                        <a:pt x="103" y="506"/>
                      </a:cubicBezTo>
                      <a:cubicBezTo>
                        <a:pt x="124" y="519"/>
                        <a:pt x="145" y="531"/>
                        <a:pt x="166" y="543"/>
                      </a:cubicBezTo>
                      <a:cubicBezTo>
                        <a:pt x="196" y="561"/>
                        <a:pt x="213" y="594"/>
                        <a:pt x="209" y="628"/>
                      </a:cubicBezTo>
                      <a:cubicBezTo>
                        <a:pt x="204" y="668"/>
                        <a:pt x="204" y="708"/>
                        <a:pt x="209" y="747"/>
                      </a:cubicBezTo>
                      <a:cubicBezTo>
                        <a:pt x="213" y="781"/>
                        <a:pt x="196" y="815"/>
                        <a:pt x="166" y="832"/>
                      </a:cubicBezTo>
                      <a:cubicBezTo>
                        <a:pt x="145" y="844"/>
                        <a:pt x="124" y="856"/>
                        <a:pt x="103" y="869"/>
                      </a:cubicBezTo>
                      <a:cubicBezTo>
                        <a:pt x="146" y="973"/>
                        <a:pt x="146" y="973"/>
                        <a:pt x="146" y="973"/>
                      </a:cubicBezTo>
                      <a:cubicBezTo>
                        <a:pt x="170" y="968"/>
                        <a:pt x="193" y="961"/>
                        <a:pt x="217" y="955"/>
                      </a:cubicBezTo>
                      <a:cubicBezTo>
                        <a:pt x="251" y="946"/>
                        <a:pt x="286" y="958"/>
                        <a:pt x="307" y="985"/>
                      </a:cubicBezTo>
                      <a:cubicBezTo>
                        <a:pt x="332" y="1016"/>
                        <a:pt x="360" y="1044"/>
                        <a:pt x="391" y="1069"/>
                      </a:cubicBezTo>
                      <a:cubicBezTo>
                        <a:pt x="418" y="1090"/>
                        <a:pt x="430" y="1125"/>
                        <a:pt x="421" y="1159"/>
                      </a:cubicBezTo>
                      <a:cubicBezTo>
                        <a:pt x="415" y="1183"/>
                        <a:pt x="409" y="1206"/>
                        <a:pt x="403" y="1230"/>
                      </a:cubicBezTo>
                      <a:close/>
                    </a:path>
                  </a:pathLst>
                </a:custGeom>
                <a:grpFill/>
                <a:ln>
                  <a:noFill/>
                </a:ln>
              </p:spPr>
              <p:txBody>
                <a:bodyPr vert="horz" wrap="square" lIns="68580" tIns="34290" rIns="68580" bIns="34290" numCol="1" anchor="t" anchorCtr="0" compatLnSpc="1">
                  <a:prstTxWarp prst="textNoShape">
                    <a:avLst/>
                  </a:prstTxWarp>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effectLst/>
                    <a:uLnTx/>
                    <a:uFillTx/>
                    <a:latin typeface="Calibri" panose="020F0502020204030204"/>
                    <a:ea typeface="+mn-ea"/>
                    <a:cs typeface="+mn-cs"/>
                  </a:endParaRPr>
                </a:p>
              </p:txBody>
            </p:sp>
            <p:sp>
              <p:nvSpPr>
                <p:cNvPr id="25" name="Freeform 19">
                  <a:extLst>
                    <a:ext uri="{FF2B5EF4-FFF2-40B4-BE49-F238E27FC236}">
                      <a16:creationId xmlns:a16="http://schemas.microsoft.com/office/drawing/2014/main" id="{EF3F9BEE-8C87-B500-8A60-6341FD9FFCB0}"/>
                    </a:ext>
                  </a:extLst>
                </p:cNvPr>
                <p:cNvSpPr>
                  <a:spLocks noEditPoints="1"/>
                </p:cNvSpPr>
                <p:nvPr/>
              </p:nvSpPr>
              <p:spPr bwMode="auto">
                <a:xfrm>
                  <a:off x="3762375" y="11879263"/>
                  <a:ext cx="2255837" cy="2120900"/>
                </a:xfrm>
                <a:custGeom>
                  <a:avLst/>
                  <a:gdLst>
                    <a:gd name="T0" fmla="*/ 354 w 709"/>
                    <a:gd name="T1" fmla="*/ 667 h 667"/>
                    <a:gd name="T2" fmla="*/ 235 w 709"/>
                    <a:gd name="T3" fmla="*/ 643 h 667"/>
                    <a:gd name="T4" fmla="*/ 66 w 709"/>
                    <a:gd name="T5" fmla="*/ 474 h 667"/>
                    <a:gd name="T6" fmla="*/ 235 w 709"/>
                    <a:gd name="T7" fmla="*/ 66 h 667"/>
                    <a:gd name="T8" fmla="*/ 643 w 709"/>
                    <a:gd name="T9" fmla="*/ 235 h 667"/>
                    <a:gd name="T10" fmla="*/ 643 w 709"/>
                    <a:gd name="T11" fmla="*/ 235 h 667"/>
                    <a:gd name="T12" fmla="*/ 474 w 709"/>
                    <a:gd name="T13" fmla="*/ 643 h 667"/>
                    <a:gd name="T14" fmla="*/ 354 w 709"/>
                    <a:gd name="T15" fmla="*/ 667 h 667"/>
                    <a:gd name="T16" fmla="*/ 354 w 709"/>
                    <a:gd name="T17" fmla="*/ 134 h 667"/>
                    <a:gd name="T18" fmla="*/ 270 w 709"/>
                    <a:gd name="T19" fmla="*/ 151 h 667"/>
                    <a:gd name="T20" fmla="*/ 150 w 709"/>
                    <a:gd name="T21" fmla="*/ 439 h 667"/>
                    <a:gd name="T22" fmla="*/ 270 w 709"/>
                    <a:gd name="T23" fmla="*/ 559 h 667"/>
                    <a:gd name="T24" fmla="*/ 439 w 709"/>
                    <a:gd name="T25" fmla="*/ 559 h 667"/>
                    <a:gd name="T26" fmla="*/ 558 w 709"/>
                    <a:gd name="T27" fmla="*/ 270 h 667"/>
                    <a:gd name="T28" fmla="*/ 354 w 709"/>
                    <a:gd name="T29" fmla="*/ 134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667">
                      <a:moveTo>
                        <a:pt x="354" y="667"/>
                      </a:moveTo>
                      <a:cubicBezTo>
                        <a:pt x="314" y="667"/>
                        <a:pt x="273" y="659"/>
                        <a:pt x="235" y="643"/>
                      </a:cubicBezTo>
                      <a:cubicBezTo>
                        <a:pt x="158" y="611"/>
                        <a:pt x="98" y="551"/>
                        <a:pt x="66" y="474"/>
                      </a:cubicBezTo>
                      <a:cubicBezTo>
                        <a:pt x="0" y="315"/>
                        <a:pt x="76" y="132"/>
                        <a:pt x="235" y="66"/>
                      </a:cubicBezTo>
                      <a:cubicBezTo>
                        <a:pt x="394" y="0"/>
                        <a:pt x="577" y="76"/>
                        <a:pt x="643" y="235"/>
                      </a:cubicBezTo>
                      <a:cubicBezTo>
                        <a:pt x="643" y="235"/>
                        <a:pt x="643" y="235"/>
                        <a:pt x="643" y="235"/>
                      </a:cubicBezTo>
                      <a:cubicBezTo>
                        <a:pt x="709" y="394"/>
                        <a:pt x="633" y="577"/>
                        <a:pt x="474" y="643"/>
                      </a:cubicBezTo>
                      <a:cubicBezTo>
                        <a:pt x="435" y="659"/>
                        <a:pt x="395" y="667"/>
                        <a:pt x="354" y="667"/>
                      </a:cubicBezTo>
                      <a:close/>
                      <a:moveTo>
                        <a:pt x="354" y="134"/>
                      </a:moveTo>
                      <a:cubicBezTo>
                        <a:pt x="326" y="134"/>
                        <a:pt x="297" y="139"/>
                        <a:pt x="270" y="151"/>
                      </a:cubicBezTo>
                      <a:cubicBezTo>
                        <a:pt x="157" y="197"/>
                        <a:pt x="104" y="327"/>
                        <a:pt x="150" y="439"/>
                      </a:cubicBezTo>
                      <a:cubicBezTo>
                        <a:pt x="173" y="494"/>
                        <a:pt x="215" y="536"/>
                        <a:pt x="270" y="559"/>
                      </a:cubicBezTo>
                      <a:cubicBezTo>
                        <a:pt x="324" y="581"/>
                        <a:pt x="384" y="581"/>
                        <a:pt x="439" y="559"/>
                      </a:cubicBezTo>
                      <a:cubicBezTo>
                        <a:pt x="551" y="512"/>
                        <a:pt x="605" y="383"/>
                        <a:pt x="558" y="270"/>
                      </a:cubicBezTo>
                      <a:cubicBezTo>
                        <a:pt x="523" y="185"/>
                        <a:pt x="441" y="134"/>
                        <a:pt x="354" y="134"/>
                      </a:cubicBezTo>
                      <a:close/>
                    </a:path>
                  </a:pathLst>
                </a:custGeom>
                <a:grpFill/>
                <a:ln>
                  <a:noFill/>
                </a:ln>
              </p:spPr>
              <p:txBody>
                <a:bodyPr vert="horz" wrap="square" lIns="68580" tIns="34290" rIns="68580" bIns="34290" numCol="1" anchor="t" anchorCtr="0" compatLnSpc="1">
                  <a:prstTxWarp prst="textNoShape">
                    <a:avLst/>
                  </a:prstTxWarp>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effectLst/>
                    <a:uLnTx/>
                    <a:uFillTx/>
                    <a:latin typeface="Calibri" panose="020F0502020204030204"/>
                    <a:ea typeface="+mn-ea"/>
                    <a:cs typeface="+mn-cs"/>
                  </a:endParaRPr>
                </a:p>
              </p:txBody>
            </p:sp>
            <p:sp>
              <p:nvSpPr>
                <p:cNvPr id="26" name="Freeform 20">
                  <a:extLst>
                    <a:ext uri="{FF2B5EF4-FFF2-40B4-BE49-F238E27FC236}">
                      <a16:creationId xmlns:a16="http://schemas.microsoft.com/office/drawing/2014/main" id="{B64E4D5F-CB6B-49E1-ADF0-F175D741E602}"/>
                    </a:ext>
                  </a:extLst>
                </p:cNvPr>
                <p:cNvSpPr>
                  <a:spLocks noEditPoints="1"/>
                </p:cNvSpPr>
                <p:nvPr/>
              </p:nvSpPr>
              <p:spPr bwMode="auto">
                <a:xfrm>
                  <a:off x="5934075" y="8651875"/>
                  <a:ext cx="3311525" cy="3309938"/>
                </a:xfrm>
                <a:custGeom>
                  <a:avLst/>
                  <a:gdLst>
                    <a:gd name="T0" fmla="*/ 476 w 1041"/>
                    <a:gd name="T1" fmla="*/ 1041 h 1041"/>
                    <a:gd name="T2" fmla="*/ 397 w 1041"/>
                    <a:gd name="T3" fmla="*/ 930 h 1041"/>
                    <a:gd name="T4" fmla="*/ 279 w 1041"/>
                    <a:gd name="T5" fmla="*/ 927 h 1041"/>
                    <a:gd name="T6" fmla="*/ 121 w 1041"/>
                    <a:gd name="T7" fmla="*/ 857 h 1041"/>
                    <a:gd name="T8" fmla="*/ 143 w 1041"/>
                    <a:gd name="T9" fmla="*/ 723 h 1041"/>
                    <a:gd name="T10" fmla="*/ 62 w 1041"/>
                    <a:gd name="T11" fmla="*/ 637 h 1041"/>
                    <a:gd name="T12" fmla="*/ 0 w 1041"/>
                    <a:gd name="T13" fmla="*/ 476 h 1041"/>
                    <a:gd name="T14" fmla="*/ 111 w 1041"/>
                    <a:gd name="T15" fmla="*/ 397 h 1041"/>
                    <a:gd name="T16" fmla="*/ 114 w 1041"/>
                    <a:gd name="T17" fmla="*/ 279 h 1041"/>
                    <a:gd name="T18" fmla="*/ 184 w 1041"/>
                    <a:gd name="T19" fmla="*/ 121 h 1041"/>
                    <a:gd name="T20" fmla="*/ 318 w 1041"/>
                    <a:gd name="T21" fmla="*/ 143 h 1041"/>
                    <a:gd name="T22" fmla="*/ 404 w 1041"/>
                    <a:gd name="T23" fmla="*/ 62 h 1041"/>
                    <a:gd name="T24" fmla="*/ 565 w 1041"/>
                    <a:gd name="T25" fmla="*/ 0 h 1041"/>
                    <a:gd name="T26" fmla="*/ 644 w 1041"/>
                    <a:gd name="T27" fmla="*/ 110 h 1041"/>
                    <a:gd name="T28" fmla="*/ 762 w 1041"/>
                    <a:gd name="T29" fmla="*/ 114 h 1041"/>
                    <a:gd name="T30" fmla="*/ 920 w 1041"/>
                    <a:gd name="T31" fmla="*/ 184 h 1041"/>
                    <a:gd name="T32" fmla="*/ 898 w 1041"/>
                    <a:gd name="T33" fmla="*/ 318 h 1041"/>
                    <a:gd name="T34" fmla="*/ 979 w 1041"/>
                    <a:gd name="T35" fmla="*/ 404 h 1041"/>
                    <a:gd name="T36" fmla="*/ 1041 w 1041"/>
                    <a:gd name="T37" fmla="*/ 565 h 1041"/>
                    <a:gd name="T38" fmla="*/ 931 w 1041"/>
                    <a:gd name="T39" fmla="*/ 644 h 1041"/>
                    <a:gd name="T40" fmla="*/ 927 w 1041"/>
                    <a:gd name="T41" fmla="*/ 762 h 1041"/>
                    <a:gd name="T42" fmla="*/ 857 w 1041"/>
                    <a:gd name="T43" fmla="*/ 920 h 1041"/>
                    <a:gd name="T44" fmla="*/ 723 w 1041"/>
                    <a:gd name="T45" fmla="*/ 898 h 1041"/>
                    <a:gd name="T46" fmla="*/ 637 w 1041"/>
                    <a:gd name="T47" fmla="*/ 979 h 1041"/>
                    <a:gd name="T48" fmla="*/ 488 w 1041"/>
                    <a:gd name="T49" fmla="*/ 954 h 1041"/>
                    <a:gd name="T50" fmla="*/ 559 w 1041"/>
                    <a:gd name="T51" fmla="*/ 910 h 1041"/>
                    <a:gd name="T52" fmla="*/ 689 w 1041"/>
                    <a:gd name="T53" fmla="*/ 817 h 1041"/>
                    <a:gd name="T54" fmla="*/ 804 w 1041"/>
                    <a:gd name="T55" fmla="*/ 849 h 1041"/>
                    <a:gd name="T56" fmla="*/ 823 w 1041"/>
                    <a:gd name="T57" fmla="*/ 769 h 1041"/>
                    <a:gd name="T58" fmla="*/ 850 w 1041"/>
                    <a:gd name="T59" fmla="*/ 611 h 1041"/>
                    <a:gd name="T60" fmla="*/ 954 w 1041"/>
                    <a:gd name="T61" fmla="*/ 553 h 1041"/>
                    <a:gd name="T62" fmla="*/ 910 w 1041"/>
                    <a:gd name="T63" fmla="*/ 482 h 1041"/>
                    <a:gd name="T64" fmla="*/ 817 w 1041"/>
                    <a:gd name="T65" fmla="*/ 352 h 1041"/>
                    <a:gd name="T66" fmla="*/ 850 w 1041"/>
                    <a:gd name="T67" fmla="*/ 237 h 1041"/>
                    <a:gd name="T68" fmla="*/ 769 w 1041"/>
                    <a:gd name="T69" fmla="*/ 218 h 1041"/>
                    <a:gd name="T70" fmla="*/ 612 w 1041"/>
                    <a:gd name="T71" fmla="*/ 191 h 1041"/>
                    <a:gd name="T72" fmla="*/ 553 w 1041"/>
                    <a:gd name="T73" fmla="*/ 87 h 1041"/>
                    <a:gd name="T74" fmla="*/ 482 w 1041"/>
                    <a:gd name="T75" fmla="*/ 131 h 1041"/>
                    <a:gd name="T76" fmla="*/ 353 w 1041"/>
                    <a:gd name="T77" fmla="*/ 224 h 1041"/>
                    <a:gd name="T78" fmla="*/ 237 w 1041"/>
                    <a:gd name="T79" fmla="*/ 191 h 1041"/>
                    <a:gd name="T80" fmla="*/ 218 w 1041"/>
                    <a:gd name="T81" fmla="*/ 272 h 1041"/>
                    <a:gd name="T82" fmla="*/ 192 w 1041"/>
                    <a:gd name="T83" fmla="*/ 429 h 1041"/>
                    <a:gd name="T84" fmla="*/ 87 w 1041"/>
                    <a:gd name="T85" fmla="*/ 488 h 1041"/>
                    <a:gd name="T86" fmla="*/ 131 w 1041"/>
                    <a:gd name="T87" fmla="*/ 559 h 1041"/>
                    <a:gd name="T88" fmla="*/ 224 w 1041"/>
                    <a:gd name="T89" fmla="*/ 688 h 1041"/>
                    <a:gd name="T90" fmla="*/ 192 w 1041"/>
                    <a:gd name="T91" fmla="*/ 804 h 1041"/>
                    <a:gd name="T92" fmla="*/ 272 w 1041"/>
                    <a:gd name="T93" fmla="*/ 823 h 1041"/>
                    <a:gd name="T94" fmla="*/ 430 w 1041"/>
                    <a:gd name="T95" fmla="*/ 849 h 1041"/>
                    <a:gd name="T96" fmla="*/ 488 w 1041"/>
                    <a:gd name="T97" fmla="*/ 954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41" h="1041">
                      <a:moveTo>
                        <a:pt x="565" y="1041"/>
                      </a:moveTo>
                      <a:cubicBezTo>
                        <a:pt x="476" y="1041"/>
                        <a:pt x="476" y="1041"/>
                        <a:pt x="476" y="1041"/>
                      </a:cubicBezTo>
                      <a:cubicBezTo>
                        <a:pt x="440" y="1041"/>
                        <a:pt x="409" y="1014"/>
                        <a:pt x="404" y="979"/>
                      </a:cubicBezTo>
                      <a:cubicBezTo>
                        <a:pt x="402" y="963"/>
                        <a:pt x="399" y="947"/>
                        <a:pt x="397" y="930"/>
                      </a:cubicBezTo>
                      <a:cubicBezTo>
                        <a:pt x="370" y="922"/>
                        <a:pt x="343" y="911"/>
                        <a:pt x="318" y="898"/>
                      </a:cubicBezTo>
                      <a:cubicBezTo>
                        <a:pt x="305" y="907"/>
                        <a:pt x="292" y="917"/>
                        <a:pt x="279" y="927"/>
                      </a:cubicBezTo>
                      <a:cubicBezTo>
                        <a:pt x="250" y="948"/>
                        <a:pt x="210" y="945"/>
                        <a:pt x="184" y="920"/>
                      </a:cubicBezTo>
                      <a:cubicBezTo>
                        <a:pt x="121" y="857"/>
                        <a:pt x="121" y="857"/>
                        <a:pt x="121" y="857"/>
                      </a:cubicBezTo>
                      <a:cubicBezTo>
                        <a:pt x="96" y="831"/>
                        <a:pt x="93" y="791"/>
                        <a:pt x="114" y="762"/>
                      </a:cubicBezTo>
                      <a:cubicBezTo>
                        <a:pt x="124" y="749"/>
                        <a:pt x="133" y="736"/>
                        <a:pt x="143" y="723"/>
                      </a:cubicBezTo>
                      <a:cubicBezTo>
                        <a:pt x="130" y="698"/>
                        <a:pt x="119" y="671"/>
                        <a:pt x="111" y="644"/>
                      </a:cubicBezTo>
                      <a:cubicBezTo>
                        <a:pt x="94" y="642"/>
                        <a:pt x="78" y="639"/>
                        <a:pt x="62" y="637"/>
                      </a:cubicBezTo>
                      <a:cubicBezTo>
                        <a:pt x="27" y="632"/>
                        <a:pt x="0" y="601"/>
                        <a:pt x="0" y="565"/>
                      </a:cubicBezTo>
                      <a:cubicBezTo>
                        <a:pt x="0" y="476"/>
                        <a:pt x="0" y="476"/>
                        <a:pt x="0" y="476"/>
                      </a:cubicBezTo>
                      <a:cubicBezTo>
                        <a:pt x="0" y="440"/>
                        <a:pt x="27" y="409"/>
                        <a:pt x="62" y="404"/>
                      </a:cubicBezTo>
                      <a:cubicBezTo>
                        <a:pt x="78" y="401"/>
                        <a:pt x="94" y="399"/>
                        <a:pt x="111" y="397"/>
                      </a:cubicBezTo>
                      <a:cubicBezTo>
                        <a:pt x="119" y="369"/>
                        <a:pt x="130" y="343"/>
                        <a:pt x="143" y="318"/>
                      </a:cubicBezTo>
                      <a:cubicBezTo>
                        <a:pt x="133" y="305"/>
                        <a:pt x="124" y="291"/>
                        <a:pt x="114" y="279"/>
                      </a:cubicBezTo>
                      <a:cubicBezTo>
                        <a:pt x="93" y="250"/>
                        <a:pt x="96" y="209"/>
                        <a:pt x="121" y="184"/>
                      </a:cubicBezTo>
                      <a:cubicBezTo>
                        <a:pt x="184" y="121"/>
                        <a:pt x="184" y="121"/>
                        <a:pt x="184" y="121"/>
                      </a:cubicBezTo>
                      <a:cubicBezTo>
                        <a:pt x="210" y="96"/>
                        <a:pt x="250" y="92"/>
                        <a:pt x="279" y="114"/>
                      </a:cubicBezTo>
                      <a:cubicBezTo>
                        <a:pt x="292" y="123"/>
                        <a:pt x="305" y="133"/>
                        <a:pt x="318" y="143"/>
                      </a:cubicBezTo>
                      <a:cubicBezTo>
                        <a:pt x="343" y="129"/>
                        <a:pt x="370" y="118"/>
                        <a:pt x="397" y="110"/>
                      </a:cubicBezTo>
                      <a:cubicBezTo>
                        <a:pt x="399" y="94"/>
                        <a:pt x="402" y="78"/>
                        <a:pt x="404" y="62"/>
                      </a:cubicBezTo>
                      <a:cubicBezTo>
                        <a:pt x="409" y="27"/>
                        <a:pt x="440" y="0"/>
                        <a:pt x="476" y="0"/>
                      </a:cubicBezTo>
                      <a:cubicBezTo>
                        <a:pt x="565" y="0"/>
                        <a:pt x="565" y="0"/>
                        <a:pt x="565" y="0"/>
                      </a:cubicBezTo>
                      <a:cubicBezTo>
                        <a:pt x="601" y="0"/>
                        <a:pt x="632" y="27"/>
                        <a:pt x="637" y="62"/>
                      </a:cubicBezTo>
                      <a:cubicBezTo>
                        <a:pt x="640" y="78"/>
                        <a:pt x="642" y="94"/>
                        <a:pt x="644" y="110"/>
                      </a:cubicBezTo>
                      <a:cubicBezTo>
                        <a:pt x="672" y="118"/>
                        <a:pt x="698" y="129"/>
                        <a:pt x="723" y="143"/>
                      </a:cubicBezTo>
                      <a:cubicBezTo>
                        <a:pt x="736" y="133"/>
                        <a:pt x="750" y="123"/>
                        <a:pt x="762" y="114"/>
                      </a:cubicBezTo>
                      <a:cubicBezTo>
                        <a:pt x="791" y="92"/>
                        <a:pt x="832" y="96"/>
                        <a:pt x="857" y="121"/>
                      </a:cubicBezTo>
                      <a:cubicBezTo>
                        <a:pt x="920" y="184"/>
                        <a:pt x="920" y="184"/>
                        <a:pt x="920" y="184"/>
                      </a:cubicBezTo>
                      <a:cubicBezTo>
                        <a:pt x="945" y="209"/>
                        <a:pt x="949" y="250"/>
                        <a:pt x="927" y="278"/>
                      </a:cubicBezTo>
                      <a:cubicBezTo>
                        <a:pt x="918" y="291"/>
                        <a:pt x="908" y="305"/>
                        <a:pt x="898" y="318"/>
                      </a:cubicBezTo>
                      <a:cubicBezTo>
                        <a:pt x="912" y="343"/>
                        <a:pt x="923" y="369"/>
                        <a:pt x="931" y="397"/>
                      </a:cubicBezTo>
                      <a:cubicBezTo>
                        <a:pt x="947" y="399"/>
                        <a:pt x="963" y="401"/>
                        <a:pt x="979" y="404"/>
                      </a:cubicBezTo>
                      <a:cubicBezTo>
                        <a:pt x="1014" y="409"/>
                        <a:pt x="1041" y="440"/>
                        <a:pt x="1041" y="476"/>
                      </a:cubicBezTo>
                      <a:cubicBezTo>
                        <a:pt x="1041" y="565"/>
                        <a:pt x="1041" y="565"/>
                        <a:pt x="1041" y="565"/>
                      </a:cubicBezTo>
                      <a:cubicBezTo>
                        <a:pt x="1041" y="601"/>
                        <a:pt x="1014" y="632"/>
                        <a:pt x="979" y="637"/>
                      </a:cubicBezTo>
                      <a:cubicBezTo>
                        <a:pt x="963" y="639"/>
                        <a:pt x="947" y="642"/>
                        <a:pt x="931" y="644"/>
                      </a:cubicBezTo>
                      <a:cubicBezTo>
                        <a:pt x="923" y="671"/>
                        <a:pt x="911" y="698"/>
                        <a:pt x="898" y="723"/>
                      </a:cubicBezTo>
                      <a:cubicBezTo>
                        <a:pt x="908" y="736"/>
                        <a:pt x="918" y="749"/>
                        <a:pt x="927" y="762"/>
                      </a:cubicBezTo>
                      <a:cubicBezTo>
                        <a:pt x="949" y="791"/>
                        <a:pt x="945" y="831"/>
                        <a:pt x="920" y="857"/>
                      </a:cubicBezTo>
                      <a:cubicBezTo>
                        <a:pt x="857" y="920"/>
                        <a:pt x="857" y="920"/>
                        <a:pt x="857" y="920"/>
                      </a:cubicBezTo>
                      <a:cubicBezTo>
                        <a:pt x="832" y="945"/>
                        <a:pt x="791" y="948"/>
                        <a:pt x="762" y="927"/>
                      </a:cubicBezTo>
                      <a:cubicBezTo>
                        <a:pt x="750" y="917"/>
                        <a:pt x="736" y="907"/>
                        <a:pt x="723" y="898"/>
                      </a:cubicBezTo>
                      <a:cubicBezTo>
                        <a:pt x="698" y="911"/>
                        <a:pt x="672" y="922"/>
                        <a:pt x="644" y="930"/>
                      </a:cubicBezTo>
                      <a:cubicBezTo>
                        <a:pt x="642" y="947"/>
                        <a:pt x="640" y="963"/>
                        <a:pt x="637" y="979"/>
                      </a:cubicBezTo>
                      <a:cubicBezTo>
                        <a:pt x="632" y="1014"/>
                        <a:pt x="601" y="1041"/>
                        <a:pt x="565" y="1041"/>
                      </a:cubicBezTo>
                      <a:close/>
                      <a:moveTo>
                        <a:pt x="488" y="954"/>
                      </a:moveTo>
                      <a:cubicBezTo>
                        <a:pt x="553" y="954"/>
                        <a:pt x="553" y="954"/>
                        <a:pt x="553" y="954"/>
                      </a:cubicBezTo>
                      <a:cubicBezTo>
                        <a:pt x="555" y="939"/>
                        <a:pt x="557" y="924"/>
                        <a:pt x="559" y="910"/>
                      </a:cubicBezTo>
                      <a:cubicBezTo>
                        <a:pt x="563" y="881"/>
                        <a:pt x="583" y="857"/>
                        <a:pt x="612" y="849"/>
                      </a:cubicBezTo>
                      <a:cubicBezTo>
                        <a:pt x="639" y="842"/>
                        <a:pt x="665" y="831"/>
                        <a:pt x="689" y="817"/>
                      </a:cubicBezTo>
                      <a:cubicBezTo>
                        <a:pt x="714" y="803"/>
                        <a:pt x="746" y="805"/>
                        <a:pt x="769" y="823"/>
                      </a:cubicBezTo>
                      <a:cubicBezTo>
                        <a:pt x="781" y="832"/>
                        <a:pt x="793" y="841"/>
                        <a:pt x="804" y="849"/>
                      </a:cubicBezTo>
                      <a:cubicBezTo>
                        <a:pt x="850" y="804"/>
                        <a:pt x="850" y="804"/>
                        <a:pt x="850" y="804"/>
                      </a:cubicBezTo>
                      <a:cubicBezTo>
                        <a:pt x="841" y="792"/>
                        <a:pt x="832" y="780"/>
                        <a:pt x="823" y="769"/>
                      </a:cubicBezTo>
                      <a:cubicBezTo>
                        <a:pt x="805" y="745"/>
                        <a:pt x="803" y="714"/>
                        <a:pt x="817" y="688"/>
                      </a:cubicBezTo>
                      <a:cubicBezTo>
                        <a:pt x="831" y="664"/>
                        <a:pt x="842" y="638"/>
                        <a:pt x="850" y="611"/>
                      </a:cubicBezTo>
                      <a:cubicBezTo>
                        <a:pt x="857" y="583"/>
                        <a:pt x="881" y="562"/>
                        <a:pt x="910" y="559"/>
                      </a:cubicBezTo>
                      <a:cubicBezTo>
                        <a:pt x="925" y="557"/>
                        <a:pt x="940" y="555"/>
                        <a:pt x="954" y="553"/>
                      </a:cubicBezTo>
                      <a:cubicBezTo>
                        <a:pt x="954" y="488"/>
                        <a:pt x="954" y="488"/>
                        <a:pt x="954" y="488"/>
                      </a:cubicBezTo>
                      <a:cubicBezTo>
                        <a:pt x="940" y="486"/>
                        <a:pt x="925" y="484"/>
                        <a:pt x="910" y="482"/>
                      </a:cubicBezTo>
                      <a:cubicBezTo>
                        <a:pt x="881" y="478"/>
                        <a:pt x="857" y="458"/>
                        <a:pt x="850" y="429"/>
                      </a:cubicBezTo>
                      <a:cubicBezTo>
                        <a:pt x="842" y="402"/>
                        <a:pt x="831" y="376"/>
                        <a:pt x="817" y="352"/>
                      </a:cubicBezTo>
                      <a:cubicBezTo>
                        <a:pt x="803" y="327"/>
                        <a:pt x="805" y="295"/>
                        <a:pt x="823" y="272"/>
                      </a:cubicBezTo>
                      <a:cubicBezTo>
                        <a:pt x="832" y="260"/>
                        <a:pt x="841" y="248"/>
                        <a:pt x="850" y="237"/>
                      </a:cubicBezTo>
                      <a:cubicBezTo>
                        <a:pt x="804" y="191"/>
                        <a:pt x="804" y="191"/>
                        <a:pt x="804" y="191"/>
                      </a:cubicBezTo>
                      <a:cubicBezTo>
                        <a:pt x="793" y="200"/>
                        <a:pt x="781" y="209"/>
                        <a:pt x="769" y="218"/>
                      </a:cubicBezTo>
                      <a:cubicBezTo>
                        <a:pt x="746" y="236"/>
                        <a:pt x="714" y="238"/>
                        <a:pt x="689" y="224"/>
                      </a:cubicBezTo>
                      <a:cubicBezTo>
                        <a:pt x="665" y="210"/>
                        <a:pt x="639" y="199"/>
                        <a:pt x="612" y="191"/>
                      </a:cubicBezTo>
                      <a:cubicBezTo>
                        <a:pt x="583" y="184"/>
                        <a:pt x="563" y="160"/>
                        <a:pt x="559" y="131"/>
                      </a:cubicBezTo>
                      <a:cubicBezTo>
                        <a:pt x="557" y="116"/>
                        <a:pt x="555" y="101"/>
                        <a:pt x="553" y="87"/>
                      </a:cubicBezTo>
                      <a:cubicBezTo>
                        <a:pt x="488" y="87"/>
                        <a:pt x="488" y="87"/>
                        <a:pt x="488" y="87"/>
                      </a:cubicBezTo>
                      <a:cubicBezTo>
                        <a:pt x="486" y="101"/>
                        <a:pt x="484" y="116"/>
                        <a:pt x="482" y="131"/>
                      </a:cubicBezTo>
                      <a:cubicBezTo>
                        <a:pt x="479" y="160"/>
                        <a:pt x="458" y="184"/>
                        <a:pt x="430" y="191"/>
                      </a:cubicBezTo>
                      <a:cubicBezTo>
                        <a:pt x="403" y="199"/>
                        <a:pt x="377" y="210"/>
                        <a:pt x="353" y="224"/>
                      </a:cubicBezTo>
                      <a:cubicBezTo>
                        <a:pt x="327" y="238"/>
                        <a:pt x="296" y="236"/>
                        <a:pt x="272" y="218"/>
                      </a:cubicBezTo>
                      <a:cubicBezTo>
                        <a:pt x="261" y="209"/>
                        <a:pt x="249" y="200"/>
                        <a:pt x="237" y="191"/>
                      </a:cubicBezTo>
                      <a:cubicBezTo>
                        <a:pt x="192" y="237"/>
                        <a:pt x="192" y="237"/>
                        <a:pt x="192" y="237"/>
                      </a:cubicBezTo>
                      <a:cubicBezTo>
                        <a:pt x="200" y="248"/>
                        <a:pt x="209" y="260"/>
                        <a:pt x="218" y="272"/>
                      </a:cubicBezTo>
                      <a:cubicBezTo>
                        <a:pt x="236" y="295"/>
                        <a:pt x="238" y="327"/>
                        <a:pt x="224" y="352"/>
                      </a:cubicBezTo>
                      <a:cubicBezTo>
                        <a:pt x="210" y="376"/>
                        <a:pt x="199" y="402"/>
                        <a:pt x="192" y="429"/>
                      </a:cubicBezTo>
                      <a:cubicBezTo>
                        <a:pt x="184" y="458"/>
                        <a:pt x="160" y="478"/>
                        <a:pt x="131" y="482"/>
                      </a:cubicBezTo>
                      <a:cubicBezTo>
                        <a:pt x="117" y="484"/>
                        <a:pt x="102" y="486"/>
                        <a:pt x="87" y="488"/>
                      </a:cubicBezTo>
                      <a:cubicBezTo>
                        <a:pt x="87" y="553"/>
                        <a:pt x="87" y="553"/>
                        <a:pt x="87" y="553"/>
                      </a:cubicBezTo>
                      <a:cubicBezTo>
                        <a:pt x="102" y="555"/>
                        <a:pt x="117" y="557"/>
                        <a:pt x="131" y="559"/>
                      </a:cubicBezTo>
                      <a:cubicBezTo>
                        <a:pt x="160" y="562"/>
                        <a:pt x="184" y="583"/>
                        <a:pt x="192" y="611"/>
                      </a:cubicBezTo>
                      <a:cubicBezTo>
                        <a:pt x="199" y="638"/>
                        <a:pt x="210" y="664"/>
                        <a:pt x="224" y="688"/>
                      </a:cubicBezTo>
                      <a:cubicBezTo>
                        <a:pt x="238" y="714"/>
                        <a:pt x="236" y="745"/>
                        <a:pt x="218" y="769"/>
                      </a:cubicBezTo>
                      <a:cubicBezTo>
                        <a:pt x="209" y="780"/>
                        <a:pt x="200" y="792"/>
                        <a:pt x="192" y="804"/>
                      </a:cubicBezTo>
                      <a:cubicBezTo>
                        <a:pt x="237" y="849"/>
                        <a:pt x="237" y="849"/>
                        <a:pt x="237" y="849"/>
                      </a:cubicBezTo>
                      <a:cubicBezTo>
                        <a:pt x="249" y="841"/>
                        <a:pt x="261" y="832"/>
                        <a:pt x="272" y="823"/>
                      </a:cubicBezTo>
                      <a:cubicBezTo>
                        <a:pt x="296" y="805"/>
                        <a:pt x="327" y="803"/>
                        <a:pt x="353" y="817"/>
                      </a:cubicBezTo>
                      <a:cubicBezTo>
                        <a:pt x="377" y="831"/>
                        <a:pt x="403" y="842"/>
                        <a:pt x="430" y="849"/>
                      </a:cubicBezTo>
                      <a:cubicBezTo>
                        <a:pt x="458" y="857"/>
                        <a:pt x="479" y="881"/>
                        <a:pt x="482" y="910"/>
                      </a:cubicBezTo>
                      <a:cubicBezTo>
                        <a:pt x="484" y="924"/>
                        <a:pt x="486" y="939"/>
                        <a:pt x="488" y="954"/>
                      </a:cubicBezTo>
                      <a:close/>
                    </a:path>
                  </a:pathLst>
                </a:custGeom>
                <a:grpFill/>
                <a:ln>
                  <a:noFill/>
                </a:ln>
              </p:spPr>
              <p:txBody>
                <a:bodyPr vert="horz" wrap="square" lIns="68580" tIns="34290" rIns="68580" bIns="34290" numCol="1" anchor="t" anchorCtr="0" compatLnSpc="1">
                  <a:prstTxWarp prst="textNoShape">
                    <a:avLst/>
                  </a:prstTxWarp>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effectLst/>
                    <a:uLnTx/>
                    <a:uFillTx/>
                    <a:latin typeface="Calibri" panose="020F0502020204030204"/>
                    <a:ea typeface="+mn-ea"/>
                    <a:cs typeface="+mn-cs"/>
                  </a:endParaRPr>
                </a:p>
              </p:txBody>
            </p:sp>
            <p:sp>
              <p:nvSpPr>
                <p:cNvPr id="27" name="Freeform 21">
                  <a:extLst>
                    <a:ext uri="{FF2B5EF4-FFF2-40B4-BE49-F238E27FC236}">
                      <a16:creationId xmlns:a16="http://schemas.microsoft.com/office/drawing/2014/main" id="{E7FF22DA-5E6C-4215-4641-6FADB92F8B54}"/>
                    </a:ext>
                  </a:extLst>
                </p:cNvPr>
                <p:cNvSpPr>
                  <a:spLocks noEditPoints="1"/>
                </p:cNvSpPr>
                <p:nvPr/>
              </p:nvSpPr>
              <p:spPr bwMode="auto">
                <a:xfrm>
                  <a:off x="7000875" y="9717088"/>
                  <a:ext cx="1179512" cy="1179513"/>
                </a:xfrm>
                <a:custGeom>
                  <a:avLst/>
                  <a:gdLst>
                    <a:gd name="T0" fmla="*/ 186 w 371"/>
                    <a:gd name="T1" fmla="*/ 371 h 371"/>
                    <a:gd name="T2" fmla="*/ 0 w 371"/>
                    <a:gd name="T3" fmla="*/ 185 h 371"/>
                    <a:gd name="T4" fmla="*/ 186 w 371"/>
                    <a:gd name="T5" fmla="*/ 0 h 371"/>
                    <a:gd name="T6" fmla="*/ 371 w 371"/>
                    <a:gd name="T7" fmla="*/ 185 h 371"/>
                    <a:gd name="T8" fmla="*/ 186 w 371"/>
                    <a:gd name="T9" fmla="*/ 371 h 371"/>
                    <a:gd name="T10" fmla="*/ 186 w 371"/>
                    <a:gd name="T11" fmla="*/ 82 h 371"/>
                    <a:gd name="T12" fmla="*/ 83 w 371"/>
                    <a:gd name="T13" fmla="*/ 185 h 371"/>
                    <a:gd name="T14" fmla="*/ 186 w 371"/>
                    <a:gd name="T15" fmla="*/ 288 h 371"/>
                    <a:gd name="T16" fmla="*/ 289 w 371"/>
                    <a:gd name="T17" fmla="*/ 185 h 371"/>
                    <a:gd name="T18" fmla="*/ 186 w 371"/>
                    <a:gd name="T19" fmla="*/ 82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1" h="371">
                      <a:moveTo>
                        <a:pt x="186" y="371"/>
                      </a:moveTo>
                      <a:cubicBezTo>
                        <a:pt x="83" y="371"/>
                        <a:pt x="0" y="288"/>
                        <a:pt x="0" y="185"/>
                      </a:cubicBezTo>
                      <a:cubicBezTo>
                        <a:pt x="0" y="83"/>
                        <a:pt x="83" y="0"/>
                        <a:pt x="186" y="0"/>
                      </a:cubicBezTo>
                      <a:cubicBezTo>
                        <a:pt x="288" y="0"/>
                        <a:pt x="371" y="83"/>
                        <a:pt x="371" y="185"/>
                      </a:cubicBezTo>
                      <a:cubicBezTo>
                        <a:pt x="371" y="288"/>
                        <a:pt x="288" y="371"/>
                        <a:pt x="186" y="371"/>
                      </a:cubicBezTo>
                      <a:close/>
                      <a:moveTo>
                        <a:pt x="186" y="82"/>
                      </a:moveTo>
                      <a:cubicBezTo>
                        <a:pt x="129" y="82"/>
                        <a:pt x="83" y="128"/>
                        <a:pt x="83" y="185"/>
                      </a:cubicBezTo>
                      <a:cubicBezTo>
                        <a:pt x="83" y="242"/>
                        <a:pt x="129" y="288"/>
                        <a:pt x="186" y="288"/>
                      </a:cubicBezTo>
                      <a:cubicBezTo>
                        <a:pt x="243" y="288"/>
                        <a:pt x="289" y="242"/>
                        <a:pt x="289" y="185"/>
                      </a:cubicBezTo>
                      <a:cubicBezTo>
                        <a:pt x="289" y="128"/>
                        <a:pt x="243" y="82"/>
                        <a:pt x="186" y="82"/>
                      </a:cubicBezTo>
                      <a:close/>
                    </a:path>
                  </a:pathLst>
                </a:custGeom>
                <a:grpFill/>
                <a:ln>
                  <a:noFill/>
                </a:ln>
              </p:spPr>
              <p:txBody>
                <a:bodyPr vert="horz" wrap="square" lIns="68580" tIns="34290" rIns="68580" bIns="34290" numCol="1" anchor="t" anchorCtr="0" compatLnSpc="1">
                  <a:prstTxWarp prst="textNoShape">
                    <a:avLst/>
                  </a:prstTxWarp>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effectLst/>
                    <a:uLnTx/>
                    <a:uFillTx/>
                    <a:latin typeface="Calibri" panose="020F0502020204030204"/>
                    <a:ea typeface="+mn-ea"/>
                    <a:cs typeface="+mn-cs"/>
                  </a:endParaRPr>
                </a:p>
              </p:txBody>
            </p:sp>
          </p:grpSp>
          <p:sp>
            <p:nvSpPr>
              <p:cNvPr id="18" name="Arrow: Chevron 17">
                <a:extLst>
                  <a:ext uri="{FF2B5EF4-FFF2-40B4-BE49-F238E27FC236}">
                    <a16:creationId xmlns:a16="http://schemas.microsoft.com/office/drawing/2014/main" id="{685BBC1D-92ED-6F71-84B9-AEC40E611441}"/>
                  </a:ext>
                </a:extLst>
              </p:cNvPr>
              <p:cNvSpPr/>
              <p:nvPr/>
            </p:nvSpPr>
            <p:spPr>
              <a:xfrm>
                <a:off x="5483110" y="1667710"/>
                <a:ext cx="1295400" cy="285750"/>
              </a:xfrm>
              <a:prstGeom prst="chevron">
                <a:avLst/>
              </a:prstGeom>
              <a:solidFill>
                <a:srgbClr val="FDC3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1" i="0" u="none" strike="noStrike" kern="1200" cap="none" spc="0" normalizeH="0" baseline="0" noProof="0">
                  <a:ln>
                    <a:noFill/>
                  </a:ln>
                  <a:solidFill>
                    <a:srgbClr val="282F39"/>
                  </a:solidFill>
                  <a:effectLst/>
                  <a:uLnTx/>
                  <a:uFillTx/>
                  <a:latin typeface="Calibri" panose="020F0502020204030204"/>
                  <a:ea typeface="+mn-ea"/>
                  <a:cs typeface="+mn-cs"/>
                </a:endParaRPr>
              </a:p>
            </p:txBody>
          </p:sp>
          <p:cxnSp>
            <p:nvCxnSpPr>
              <p:cNvPr id="28" name="Straight Connector 27">
                <a:extLst>
                  <a:ext uri="{FF2B5EF4-FFF2-40B4-BE49-F238E27FC236}">
                    <a16:creationId xmlns:a16="http://schemas.microsoft.com/office/drawing/2014/main" id="{4BB47B44-8A82-31C9-A5CB-7791895E2C8E}"/>
                  </a:ext>
                </a:extLst>
              </p:cNvPr>
              <p:cNvCxnSpPr>
                <a:cxnSpLocks/>
              </p:cNvCxnSpPr>
              <p:nvPr/>
            </p:nvCxnSpPr>
            <p:spPr>
              <a:xfrm>
                <a:off x="6059373" y="1953460"/>
                <a:ext cx="9005" cy="480083"/>
              </a:xfrm>
              <a:prstGeom prst="line">
                <a:avLst/>
              </a:prstGeom>
              <a:ln w="76200">
                <a:solidFill>
                  <a:srgbClr val="FDC342"/>
                </a:solidFill>
              </a:ln>
            </p:spPr>
            <p:style>
              <a:lnRef idx="1">
                <a:schemeClr val="accent1"/>
              </a:lnRef>
              <a:fillRef idx="0">
                <a:schemeClr val="accent1"/>
              </a:fillRef>
              <a:effectRef idx="0">
                <a:schemeClr val="accent1"/>
              </a:effectRef>
              <a:fontRef idx="minor">
                <a:schemeClr val="tx1"/>
              </a:fontRef>
            </p:style>
          </p:cxnSp>
          <p:sp>
            <p:nvSpPr>
              <p:cNvPr id="30" name="Oval 29">
                <a:extLst>
                  <a:ext uri="{FF2B5EF4-FFF2-40B4-BE49-F238E27FC236}">
                    <a16:creationId xmlns:a16="http://schemas.microsoft.com/office/drawing/2014/main" id="{6075A71A-6CF1-7C95-94AA-2F9605FA90AE}"/>
                  </a:ext>
                </a:extLst>
              </p:cNvPr>
              <p:cNvSpPr/>
              <p:nvPr/>
            </p:nvSpPr>
            <p:spPr>
              <a:xfrm>
                <a:off x="5519104" y="2433543"/>
                <a:ext cx="1098548" cy="1098546"/>
              </a:xfrm>
              <a:prstGeom prst="ellipse">
                <a:avLst/>
              </a:prstGeom>
              <a:solidFill>
                <a:schemeClr val="accent5">
                  <a:alpha val="10000"/>
                </a:schemeClr>
              </a:solidFill>
              <a:ln w="76200">
                <a:solidFill>
                  <a:srgbClr val="FDC34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43" name="TextBox 42">
              <a:extLst>
                <a:ext uri="{FF2B5EF4-FFF2-40B4-BE49-F238E27FC236}">
                  <a16:creationId xmlns:a16="http://schemas.microsoft.com/office/drawing/2014/main" id="{96FA0F25-EC13-3EDA-913A-173AF7A3010F}"/>
                </a:ext>
              </a:extLst>
            </p:cNvPr>
            <p:cNvSpPr txBox="1"/>
            <p:nvPr/>
          </p:nvSpPr>
          <p:spPr>
            <a:xfrm>
              <a:off x="2490323" y="1685816"/>
              <a:ext cx="1100949" cy="252931"/>
            </a:xfrm>
            <a:prstGeom prst="rect">
              <a:avLst/>
            </a:prstGeom>
            <a:noFill/>
          </p:spPr>
          <p:txBody>
            <a:bodyPr wrap="square"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Noto Sans" panose="020B0502040504020204" pitchFamily="34"/>
                  <a:ea typeface="Noto Sans" panose="020B0502040504020204" pitchFamily="34"/>
                  <a:cs typeface="Noto Sans" panose="020B0502040504020204" pitchFamily="34"/>
                </a:rPr>
                <a:t>Full Scale</a:t>
              </a:r>
              <a:endParaRPr kumimoji="0" lang="en-GB" sz="1600" b="1" i="0" u="none" strike="noStrike" kern="1200" cap="none" spc="0" normalizeH="0" baseline="0" noProof="0">
                <a:ln>
                  <a:noFill/>
                </a:ln>
                <a:solidFill>
                  <a:srgbClr val="FFFFFF"/>
                </a:solidFill>
                <a:effectLst/>
                <a:uLnTx/>
                <a:uFillTx/>
                <a:latin typeface="Noto Sans" panose="020B0502040504020204" pitchFamily="34"/>
                <a:ea typeface="Noto Sans" panose="020B0502040504020204" pitchFamily="34"/>
                <a:cs typeface="Noto Sans" panose="020B0502040504020204" pitchFamily="34"/>
              </a:endParaRPr>
            </a:p>
          </p:txBody>
        </p:sp>
      </p:grpSp>
      <p:grpSp>
        <p:nvGrpSpPr>
          <p:cNvPr id="2" name="Group 1">
            <a:extLst>
              <a:ext uri="{FF2B5EF4-FFF2-40B4-BE49-F238E27FC236}">
                <a16:creationId xmlns:a16="http://schemas.microsoft.com/office/drawing/2014/main" id="{F26B58EF-03A6-86A1-F6C9-2E8251431D59}"/>
              </a:ext>
            </a:extLst>
          </p:cNvPr>
          <p:cNvGrpSpPr/>
          <p:nvPr/>
        </p:nvGrpSpPr>
        <p:grpSpPr>
          <a:xfrm>
            <a:off x="5315203" y="999978"/>
            <a:ext cx="1729202" cy="775521"/>
            <a:chOff x="2458395" y="1873730"/>
            <a:chExt cx="617715" cy="586536"/>
          </a:xfrm>
        </p:grpSpPr>
        <p:sp>
          <p:nvSpPr>
            <p:cNvPr id="5" name="Cube 4">
              <a:extLst>
                <a:ext uri="{FF2B5EF4-FFF2-40B4-BE49-F238E27FC236}">
                  <a16:creationId xmlns:a16="http://schemas.microsoft.com/office/drawing/2014/main" id="{7FDB4F35-8F76-1B64-5EF4-721B0CA61DAF}"/>
                </a:ext>
              </a:extLst>
            </p:cNvPr>
            <p:cNvSpPr/>
            <p:nvPr/>
          </p:nvSpPr>
          <p:spPr>
            <a:xfrm>
              <a:off x="2476384" y="1873730"/>
              <a:ext cx="599726" cy="586536"/>
            </a:xfrm>
            <a:prstGeom prst="cube">
              <a:avLst>
                <a:gd name="adj" fmla="val 27105"/>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7DF00252-B72B-50B7-5097-C73A8A78EEF6}"/>
                </a:ext>
              </a:extLst>
            </p:cNvPr>
            <p:cNvSpPr txBox="1"/>
            <p:nvPr/>
          </p:nvSpPr>
          <p:spPr>
            <a:xfrm>
              <a:off x="2458395" y="2042720"/>
              <a:ext cx="561946" cy="395718"/>
            </a:xfrm>
            <a:prstGeom prst="rect">
              <a:avLst/>
            </a:prstGeom>
            <a:noFill/>
          </p:spPr>
          <p:txBody>
            <a:bodyPr wrap="square" lIns="91440" tIns="45720" rIns="91440" bIns="45720" rtlCol="0" anchor="t">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defRPr/>
              </a:pPr>
              <a:r>
                <a:rPr lang="ru-RU" sz="1400" b="1">
                  <a:solidFill>
                    <a:srgbClr val="FFFFFF"/>
                  </a:solidFill>
                  <a:latin typeface="Open Sans"/>
                  <a:ea typeface="Open Sans"/>
                  <a:cs typeface="Open Sans"/>
                </a:rPr>
                <a:t>Best Threshold</a:t>
              </a:r>
            </a:p>
            <a:p>
              <a:pPr algn="ctr">
                <a:defRPr/>
              </a:pPr>
              <a:r>
                <a:rPr lang="ru-RU" sz="1400" b="1">
                  <a:latin typeface="Open Sans"/>
                  <a:ea typeface="Open Sans"/>
                  <a:cs typeface="Open Sans"/>
                </a:rPr>
                <a:t>LogR</a:t>
              </a:r>
            </a:p>
          </p:txBody>
        </p:sp>
      </p:grpSp>
      <p:grpSp>
        <p:nvGrpSpPr>
          <p:cNvPr id="9" name="Group 8">
            <a:extLst>
              <a:ext uri="{FF2B5EF4-FFF2-40B4-BE49-F238E27FC236}">
                <a16:creationId xmlns:a16="http://schemas.microsoft.com/office/drawing/2014/main" id="{629580AF-0CAC-09CE-7AA6-9BA46C89AE12}"/>
              </a:ext>
            </a:extLst>
          </p:cNvPr>
          <p:cNvGrpSpPr/>
          <p:nvPr/>
        </p:nvGrpSpPr>
        <p:grpSpPr>
          <a:xfrm>
            <a:off x="5133801" y="2338836"/>
            <a:ext cx="1762867" cy="783409"/>
            <a:chOff x="-824560" y="-804865"/>
            <a:chExt cx="1390736" cy="1181874"/>
          </a:xfrm>
        </p:grpSpPr>
        <p:sp>
          <p:nvSpPr>
            <p:cNvPr id="11" name="Cube 10">
              <a:extLst>
                <a:ext uri="{FF2B5EF4-FFF2-40B4-BE49-F238E27FC236}">
                  <a16:creationId xmlns:a16="http://schemas.microsoft.com/office/drawing/2014/main" id="{CBAC8EDE-827E-6FD1-EC34-C745A27EBA4A}"/>
                </a:ext>
              </a:extLst>
            </p:cNvPr>
            <p:cNvSpPr/>
            <p:nvPr/>
          </p:nvSpPr>
          <p:spPr>
            <a:xfrm>
              <a:off x="-740105" y="-804865"/>
              <a:ext cx="1306281" cy="1181874"/>
            </a:xfrm>
            <a:prstGeom prst="cube">
              <a:avLst>
                <a:gd name="adj" fmla="val 27105"/>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61B5FFEB-96C3-6690-BD2C-C67A292FEEE7}"/>
                </a:ext>
              </a:extLst>
            </p:cNvPr>
            <p:cNvSpPr txBox="1"/>
            <p:nvPr/>
          </p:nvSpPr>
          <p:spPr>
            <a:xfrm>
              <a:off x="-824560" y="-444280"/>
              <a:ext cx="1306281" cy="789345"/>
            </a:xfrm>
            <a:prstGeom prst="rect">
              <a:avLst/>
            </a:prstGeom>
            <a:noFill/>
          </p:spPr>
          <p:txBody>
            <a:bodyPr wrap="square" lIns="91440" tIns="45720" rIns="91440" bIns="45720" rtlCol="0" anchor="t">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defRPr/>
              </a:pPr>
              <a:r>
                <a:rPr lang="en-CA" sz="1400" b="1">
                  <a:solidFill>
                    <a:srgbClr val="FFFFFF"/>
                  </a:solidFill>
                  <a:latin typeface="Open Sans"/>
                  <a:ea typeface="Open Sans"/>
                  <a:cs typeface="Open Sans"/>
                </a:rPr>
                <a:t>Best Threshold</a:t>
              </a:r>
              <a:endParaRPr lang="en-GB" sz="1600" b="1">
                <a:solidFill>
                  <a:srgbClr val="FFFFFF"/>
                </a:solidFill>
                <a:latin typeface="Noto Sans" panose="020B0502040504020204" pitchFamily="34"/>
                <a:ea typeface="Noto Sans" panose="020B0502040504020204" pitchFamily="34"/>
                <a:cs typeface="Noto Sans" panose="020B0502040504020204" pitchFamily="34"/>
              </a:endParaRPr>
            </a:p>
            <a:p>
              <a:pPr algn="ctr">
                <a:defRPr/>
              </a:pPr>
              <a:r>
                <a:rPr lang="en-CA" sz="1400" b="1">
                  <a:solidFill>
                    <a:srgbClr val="FFFFFF"/>
                  </a:solidFill>
                  <a:latin typeface="Open Sans"/>
                  <a:ea typeface="Open Sans"/>
                  <a:cs typeface="Open Sans"/>
                </a:rPr>
                <a:t>KNN</a:t>
              </a:r>
              <a:endParaRPr lang="en-GB" sz="1600" b="1" i="0" u="none" strike="noStrike" kern="1200" cap="none" spc="0" normalizeH="0" baseline="0" noProof="0">
                <a:ln>
                  <a:noFill/>
                </a:ln>
                <a:solidFill>
                  <a:srgbClr val="FFFFFF"/>
                </a:solidFill>
                <a:effectLst/>
                <a:uLnTx/>
                <a:uFillTx/>
                <a:latin typeface="Noto Sans" panose="020B0502040504020204" pitchFamily="34"/>
                <a:ea typeface="Noto Sans" panose="020B0502040504020204" pitchFamily="34"/>
                <a:cs typeface="Noto Sans" panose="020B0502040504020204" pitchFamily="34"/>
              </a:endParaRPr>
            </a:p>
          </p:txBody>
        </p:sp>
      </p:grpSp>
      <p:grpSp>
        <p:nvGrpSpPr>
          <p:cNvPr id="17" name="Group 16">
            <a:extLst>
              <a:ext uri="{FF2B5EF4-FFF2-40B4-BE49-F238E27FC236}">
                <a16:creationId xmlns:a16="http://schemas.microsoft.com/office/drawing/2014/main" id="{62097A0C-774B-B275-E224-209611E56E11}"/>
              </a:ext>
            </a:extLst>
          </p:cNvPr>
          <p:cNvGrpSpPr/>
          <p:nvPr/>
        </p:nvGrpSpPr>
        <p:grpSpPr>
          <a:xfrm>
            <a:off x="4661901" y="3628926"/>
            <a:ext cx="2599613" cy="777871"/>
            <a:chOff x="5170185" y="1853906"/>
            <a:chExt cx="882830" cy="580686"/>
          </a:xfrm>
        </p:grpSpPr>
        <p:sp>
          <p:nvSpPr>
            <p:cNvPr id="19" name="Cube 18">
              <a:extLst>
                <a:ext uri="{FF2B5EF4-FFF2-40B4-BE49-F238E27FC236}">
                  <a16:creationId xmlns:a16="http://schemas.microsoft.com/office/drawing/2014/main" id="{659636E9-AA8B-E275-BC77-3E6B2DC0636F}"/>
                </a:ext>
              </a:extLst>
            </p:cNvPr>
            <p:cNvSpPr/>
            <p:nvPr/>
          </p:nvSpPr>
          <p:spPr>
            <a:xfrm>
              <a:off x="5349532" y="1853906"/>
              <a:ext cx="601185" cy="580686"/>
            </a:xfrm>
            <a:prstGeom prst="cube">
              <a:avLst>
                <a:gd name="adj" fmla="val 27105"/>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0" name="TextBox 19">
              <a:extLst>
                <a:ext uri="{FF2B5EF4-FFF2-40B4-BE49-F238E27FC236}">
                  <a16:creationId xmlns:a16="http://schemas.microsoft.com/office/drawing/2014/main" id="{6F938ECF-839B-EB8A-D138-B8266B8B0346}"/>
                </a:ext>
              </a:extLst>
            </p:cNvPr>
            <p:cNvSpPr txBox="1"/>
            <p:nvPr/>
          </p:nvSpPr>
          <p:spPr>
            <a:xfrm>
              <a:off x="5170185" y="2019688"/>
              <a:ext cx="882830" cy="390587"/>
            </a:xfrm>
            <a:prstGeom prst="rect">
              <a:avLst/>
            </a:prstGeom>
            <a:noFill/>
          </p:spPr>
          <p:txBody>
            <a:bodyPr wrap="square" lIns="91440" tIns="45720" rIns="91440" bIns="45720" rtlCol="0" anchor="t">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defRPr/>
              </a:pPr>
              <a:r>
                <a:rPr lang="en-CA" sz="1400" b="1">
                  <a:latin typeface="Open Sans"/>
                  <a:ea typeface="Open Sans"/>
                  <a:cs typeface="Open Sans"/>
                </a:rPr>
                <a:t>Best Threshold</a:t>
              </a:r>
              <a:endParaRPr lang="en-US" sz="1400"/>
            </a:p>
            <a:p>
              <a:pPr algn="ctr">
                <a:defRPr/>
              </a:pPr>
              <a:r>
                <a:rPr lang="en-CA" sz="1400" b="1">
                  <a:latin typeface="Open Sans"/>
                  <a:ea typeface="Open Sans"/>
                  <a:cs typeface="Open Sans"/>
                </a:rPr>
                <a:t>Decision Tree</a:t>
              </a:r>
              <a:endParaRPr lang="en-CA" sz="1400"/>
            </a:p>
          </p:txBody>
        </p:sp>
      </p:grpSp>
      <p:grpSp>
        <p:nvGrpSpPr>
          <p:cNvPr id="21" name="Group 20">
            <a:extLst>
              <a:ext uri="{FF2B5EF4-FFF2-40B4-BE49-F238E27FC236}">
                <a16:creationId xmlns:a16="http://schemas.microsoft.com/office/drawing/2014/main" id="{E8165B4B-95B6-6CFD-EA1D-2C60BEA1BF5C}"/>
              </a:ext>
            </a:extLst>
          </p:cNvPr>
          <p:cNvGrpSpPr/>
          <p:nvPr/>
        </p:nvGrpSpPr>
        <p:grpSpPr>
          <a:xfrm>
            <a:off x="7648547" y="2085289"/>
            <a:ext cx="1442618" cy="1391081"/>
            <a:chOff x="7619239" y="1828847"/>
            <a:chExt cx="1442618" cy="1391081"/>
          </a:xfrm>
        </p:grpSpPr>
        <p:pic>
          <p:nvPicPr>
            <p:cNvPr id="49" name="Picture 48">
              <a:extLst>
                <a:ext uri="{FF2B5EF4-FFF2-40B4-BE49-F238E27FC236}">
                  <a16:creationId xmlns:a16="http://schemas.microsoft.com/office/drawing/2014/main" id="{9BD2BB78-9F80-F091-BAE3-2EDCE186A576}"/>
                </a:ext>
              </a:extLst>
            </p:cNvPr>
            <p:cNvPicPr>
              <a:picLocks noChangeAspect="1"/>
            </p:cNvPicPr>
            <p:nvPr/>
          </p:nvPicPr>
          <p:blipFill>
            <a:blip r:embed="rId3">
              <a:duotone>
                <a:schemeClr val="accent3">
                  <a:shade val="45000"/>
                  <a:satMod val="135000"/>
                </a:schemeClr>
                <a:prstClr val="white"/>
              </a:duotone>
              <a:extLst>
                <a:ext uri="{BEBA8EAE-BF5A-486C-A8C5-ECC9F3942E4B}">
                  <a14:imgProps xmlns:a14="http://schemas.microsoft.com/office/drawing/2010/main">
                    <a14:imgLayer r:embed="rId4">
                      <a14:imgEffect>
                        <a14:backgroundRemoval t="1987" b="96358" l="697" r="95122">
                          <a14:foregroundMark x1="5575" y1="28477" x2="5575" y2="28477"/>
                          <a14:foregroundMark x1="27875" y1="6954" x2="27875" y2="6954"/>
                          <a14:foregroundMark x1="39373" y1="6623" x2="39373" y2="6623"/>
                          <a14:foregroundMark x1="53310" y1="7285" x2="53310" y2="7285"/>
                          <a14:foregroundMark x1="62718" y1="5298" x2="62718" y2="5298"/>
                          <a14:foregroundMark x1="66551" y1="1987" x2="66551" y2="1987"/>
                          <a14:foregroundMark x1="90941" y1="21854" x2="90941" y2="21854"/>
                          <a14:foregroundMark x1="92334" y1="28146" x2="92334" y2="28146"/>
                          <a14:foregroundMark x1="95470" y1="26159" x2="95470" y2="26159"/>
                          <a14:foregroundMark x1="51568" y1="92715" x2="51568" y2="92715"/>
                          <a14:foregroundMark x1="49826" y1="96358" x2="49826" y2="96358"/>
                          <a14:foregroundMark x1="697" y1="24503" x2="697" y2="24503"/>
                          <a14:foregroundMark x1="1394" y1="25166" x2="1394" y2="25166"/>
                        </a14:backgroundRemoval>
                      </a14:imgEffect>
                    </a14:imgLayer>
                  </a14:imgProps>
                </a:ext>
              </a:extLst>
            </a:blip>
            <a:stretch>
              <a:fillRect/>
            </a:stretch>
          </p:blipFill>
          <p:spPr>
            <a:xfrm>
              <a:off x="7700577" y="1828847"/>
              <a:ext cx="1321988" cy="1391081"/>
            </a:xfrm>
            <a:prstGeom prst="rect">
              <a:avLst/>
            </a:prstGeom>
          </p:spPr>
        </p:pic>
        <p:sp>
          <p:nvSpPr>
            <p:cNvPr id="51" name="TextBox 50">
              <a:extLst>
                <a:ext uri="{FF2B5EF4-FFF2-40B4-BE49-F238E27FC236}">
                  <a16:creationId xmlns:a16="http://schemas.microsoft.com/office/drawing/2014/main" id="{4006BC12-54D2-12FE-68E7-4C6363B475D8}"/>
                </a:ext>
              </a:extLst>
            </p:cNvPr>
            <p:cNvSpPr txBox="1"/>
            <p:nvPr/>
          </p:nvSpPr>
          <p:spPr>
            <a:xfrm>
              <a:off x="7619239" y="1956455"/>
              <a:ext cx="1442618" cy="523220"/>
            </a:xfrm>
            <a:prstGeom prst="rect">
              <a:avLst/>
            </a:prstGeom>
            <a:noFill/>
          </p:spPr>
          <p:txBody>
            <a:bodyPr wrap="square" lIns="91440" tIns="45720" rIns="91440" bIns="45720" rtlCol="0" anchor="t">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defRPr/>
              </a:pPr>
              <a:r>
                <a:rPr lang="en-CA" sz="1400" b="1">
                  <a:latin typeface="Open Sans"/>
                  <a:ea typeface="Open Sans"/>
                  <a:cs typeface="Open Sans"/>
                </a:rPr>
                <a:t>Business </a:t>
              </a:r>
              <a:endParaRPr lang="en-CA" sz="1400"/>
            </a:p>
            <a:p>
              <a:pPr algn="ctr">
                <a:defRPr/>
              </a:pPr>
              <a:r>
                <a:rPr lang="en-CA" sz="1400" b="1">
                  <a:latin typeface="Open Sans"/>
                  <a:ea typeface="Open Sans"/>
                  <a:cs typeface="Open Sans"/>
                </a:rPr>
                <a:t>Threshold</a:t>
              </a:r>
              <a:endParaRPr lang="en-CA" sz="1400"/>
            </a:p>
          </p:txBody>
        </p:sp>
      </p:grpSp>
      <p:sp>
        <p:nvSpPr>
          <p:cNvPr id="52" name="Arrow: Right 51">
            <a:extLst>
              <a:ext uri="{FF2B5EF4-FFF2-40B4-BE49-F238E27FC236}">
                <a16:creationId xmlns:a16="http://schemas.microsoft.com/office/drawing/2014/main" id="{95BF5D45-C5CA-8CB7-A28E-43DDB1CB5954}"/>
              </a:ext>
            </a:extLst>
          </p:cNvPr>
          <p:cNvSpPr/>
          <p:nvPr/>
        </p:nvSpPr>
        <p:spPr>
          <a:xfrm>
            <a:off x="7044101" y="2504828"/>
            <a:ext cx="712459" cy="306827"/>
          </a:xfrm>
          <a:prstGeom prst="rightArrow">
            <a:avLst>
              <a:gd name="adj1" fmla="val 52454"/>
              <a:gd name="adj2" fmla="val 50355"/>
            </a:avLst>
          </a:prstGeom>
          <a:solidFill>
            <a:schemeClr val="tx2">
              <a:lumMod val="90000"/>
            </a:schemeClr>
          </a:solidFill>
          <a:ln>
            <a:solidFill>
              <a:schemeClr val="bg1">
                <a:lumMod val="95000"/>
                <a:lumOff val="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53" name="Arrow: Bent 52">
            <a:extLst>
              <a:ext uri="{FF2B5EF4-FFF2-40B4-BE49-F238E27FC236}">
                <a16:creationId xmlns:a16="http://schemas.microsoft.com/office/drawing/2014/main" id="{2B30B65A-8AB3-4B5F-7507-468C2950EC17}"/>
              </a:ext>
            </a:extLst>
          </p:cNvPr>
          <p:cNvSpPr/>
          <p:nvPr/>
        </p:nvSpPr>
        <p:spPr>
          <a:xfrm rot="5400000">
            <a:off x="7584215" y="946196"/>
            <a:ext cx="615464" cy="1157652"/>
          </a:xfrm>
          <a:prstGeom prst="bentArrow">
            <a:avLst/>
          </a:prstGeom>
          <a:solidFill>
            <a:schemeClr val="tx2">
              <a:lumMod val="90000"/>
            </a:schemeClr>
          </a:solidFill>
          <a:ln>
            <a:solidFill>
              <a:schemeClr val="bg1">
                <a:lumMod val="95000"/>
                <a:lumOff val="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5" name="Arrow: Bent 54">
            <a:extLst>
              <a:ext uri="{FF2B5EF4-FFF2-40B4-BE49-F238E27FC236}">
                <a16:creationId xmlns:a16="http://schemas.microsoft.com/office/drawing/2014/main" id="{2B4F97FA-902C-A37B-F7D1-D186D967B9F1}"/>
              </a:ext>
            </a:extLst>
          </p:cNvPr>
          <p:cNvSpPr/>
          <p:nvPr/>
        </p:nvSpPr>
        <p:spPr>
          <a:xfrm rot="16200000" flipV="1">
            <a:off x="7607602" y="3335429"/>
            <a:ext cx="612648" cy="1201615"/>
          </a:xfrm>
          <a:prstGeom prst="bentArrow">
            <a:avLst/>
          </a:prstGeom>
          <a:solidFill>
            <a:schemeClr val="tx2">
              <a:lumMod val="90000"/>
            </a:schemeClr>
          </a:solidFill>
          <a:ln>
            <a:solidFill>
              <a:schemeClr val="bg1">
                <a:lumMod val="95000"/>
                <a:lumOff val="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46" name="Group 45">
            <a:extLst>
              <a:ext uri="{FF2B5EF4-FFF2-40B4-BE49-F238E27FC236}">
                <a16:creationId xmlns:a16="http://schemas.microsoft.com/office/drawing/2014/main" id="{7C05D70D-F64E-9551-CFCF-61A67B42CD6E}"/>
              </a:ext>
            </a:extLst>
          </p:cNvPr>
          <p:cNvGrpSpPr/>
          <p:nvPr/>
        </p:nvGrpSpPr>
        <p:grpSpPr>
          <a:xfrm>
            <a:off x="3561058" y="1655875"/>
            <a:ext cx="1547753" cy="1900267"/>
            <a:chOff x="3756835" y="1548565"/>
            <a:chExt cx="1547753" cy="1900267"/>
          </a:xfrm>
        </p:grpSpPr>
        <p:grpSp>
          <p:nvGrpSpPr>
            <p:cNvPr id="41" name="Group 40">
              <a:extLst>
                <a:ext uri="{FF2B5EF4-FFF2-40B4-BE49-F238E27FC236}">
                  <a16:creationId xmlns:a16="http://schemas.microsoft.com/office/drawing/2014/main" id="{F8DAA380-E33B-6D74-BCF3-3C82135A10EC}"/>
                </a:ext>
              </a:extLst>
            </p:cNvPr>
            <p:cNvGrpSpPr/>
            <p:nvPr/>
          </p:nvGrpSpPr>
          <p:grpSpPr>
            <a:xfrm>
              <a:off x="3756835" y="1564338"/>
              <a:ext cx="1547753" cy="1884494"/>
              <a:chOff x="4124869" y="1689976"/>
              <a:chExt cx="953985" cy="1266494"/>
            </a:xfrm>
          </p:grpSpPr>
          <p:sp>
            <p:nvSpPr>
              <p:cNvPr id="34" name="Arrow: Chevron 33">
                <a:extLst>
                  <a:ext uri="{FF2B5EF4-FFF2-40B4-BE49-F238E27FC236}">
                    <a16:creationId xmlns:a16="http://schemas.microsoft.com/office/drawing/2014/main" id="{C29013C7-EF28-CD30-A097-5553922F22A4}"/>
                  </a:ext>
                </a:extLst>
              </p:cNvPr>
              <p:cNvSpPr/>
              <p:nvPr/>
            </p:nvSpPr>
            <p:spPr>
              <a:xfrm>
                <a:off x="4124869" y="1689976"/>
                <a:ext cx="953985" cy="198157"/>
              </a:xfrm>
              <a:prstGeom prst="chevron">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1" i="0" u="none" strike="noStrike" kern="1200" cap="none" spc="0" normalizeH="0" baseline="0" noProof="0">
                  <a:ln>
                    <a:noFill/>
                  </a:ln>
                  <a:solidFill>
                    <a:srgbClr val="282F39"/>
                  </a:solidFill>
                  <a:effectLst/>
                  <a:uLnTx/>
                  <a:uFillTx/>
                  <a:latin typeface="Calibri" panose="020F0502020204030204"/>
                  <a:ea typeface="+mn-ea"/>
                  <a:cs typeface="+mn-cs"/>
                </a:endParaRPr>
              </a:p>
            </p:txBody>
          </p:sp>
          <p:cxnSp>
            <p:nvCxnSpPr>
              <p:cNvPr id="35" name="Straight Connector 34">
                <a:extLst>
                  <a:ext uri="{FF2B5EF4-FFF2-40B4-BE49-F238E27FC236}">
                    <a16:creationId xmlns:a16="http://schemas.microsoft.com/office/drawing/2014/main" id="{CEDB0306-65C5-1628-592D-3F130B7286C3}"/>
                  </a:ext>
                </a:extLst>
              </p:cNvPr>
              <p:cNvCxnSpPr>
                <a:cxnSpLocks/>
              </p:cNvCxnSpPr>
              <p:nvPr/>
            </p:nvCxnSpPr>
            <p:spPr>
              <a:xfrm>
                <a:off x="4549252" y="1888133"/>
                <a:ext cx="6632" cy="332920"/>
              </a:xfrm>
              <a:prstGeom prst="line">
                <a:avLst/>
              </a:prstGeom>
              <a:ln w="76200">
                <a:solidFill>
                  <a:srgbClr val="00B0F0"/>
                </a:solidFill>
              </a:ln>
            </p:spPr>
            <p:style>
              <a:lnRef idx="1">
                <a:schemeClr val="accent1"/>
              </a:lnRef>
              <a:fillRef idx="0">
                <a:schemeClr val="accent1"/>
              </a:fillRef>
              <a:effectRef idx="0">
                <a:schemeClr val="accent1"/>
              </a:effectRef>
              <a:fontRef idx="minor">
                <a:schemeClr val="tx1"/>
              </a:fontRef>
            </p:style>
          </p:cxnSp>
          <p:sp>
            <p:nvSpPr>
              <p:cNvPr id="36" name="Oval 35">
                <a:extLst>
                  <a:ext uri="{FF2B5EF4-FFF2-40B4-BE49-F238E27FC236}">
                    <a16:creationId xmlns:a16="http://schemas.microsoft.com/office/drawing/2014/main" id="{5A294B07-F7E2-68A8-4E03-4B0B2E01D08D}"/>
                  </a:ext>
                </a:extLst>
              </p:cNvPr>
              <p:cNvSpPr/>
              <p:nvPr/>
            </p:nvSpPr>
            <p:spPr>
              <a:xfrm>
                <a:off x="4187506" y="2216129"/>
                <a:ext cx="752215" cy="740341"/>
              </a:xfrm>
              <a:prstGeom prst="ellipse">
                <a:avLst/>
              </a:prstGeom>
              <a:solidFill>
                <a:schemeClr val="accent5">
                  <a:alpha val="10000"/>
                </a:schemeClr>
              </a:solidFill>
              <a:ln w="762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44" name="TextBox 43">
              <a:extLst>
                <a:ext uri="{FF2B5EF4-FFF2-40B4-BE49-F238E27FC236}">
                  <a16:creationId xmlns:a16="http://schemas.microsoft.com/office/drawing/2014/main" id="{C0D1356B-B448-D1EA-5C72-C86FB2E0C0B3}"/>
                </a:ext>
              </a:extLst>
            </p:cNvPr>
            <p:cNvSpPr txBox="1"/>
            <p:nvPr/>
          </p:nvSpPr>
          <p:spPr>
            <a:xfrm>
              <a:off x="3968463" y="1548565"/>
              <a:ext cx="1100949" cy="338554"/>
            </a:xfrm>
            <a:prstGeom prst="rect">
              <a:avLst/>
            </a:prstGeom>
            <a:noFill/>
          </p:spPr>
          <p:txBody>
            <a:bodyPr wrap="square"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Noto Sans" panose="020B0502040504020204" pitchFamily="34"/>
                  <a:ea typeface="Noto Sans" panose="020B0502040504020204" pitchFamily="34"/>
                  <a:cs typeface="Noto Sans" panose="020B0502040504020204" pitchFamily="34"/>
                </a:rPr>
                <a:t>Reduced</a:t>
              </a:r>
              <a:endParaRPr kumimoji="0" lang="en-GB" sz="1600" b="1" i="0" u="none" strike="noStrike" kern="1200" cap="none" spc="0" normalizeH="0" baseline="0" noProof="0">
                <a:ln>
                  <a:noFill/>
                </a:ln>
                <a:solidFill>
                  <a:srgbClr val="FFFFFF"/>
                </a:solidFill>
                <a:effectLst/>
                <a:uLnTx/>
                <a:uFillTx/>
                <a:latin typeface="Noto Sans" panose="020B0502040504020204" pitchFamily="34"/>
                <a:ea typeface="Noto Sans" panose="020B0502040504020204" pitchFamily="34"/>
                <a:cs typeface="Noto Sans" panose="020B0502040504020204" pitchFamily="34"/>
              </a:endParaRPr>
            </a:p>
          </p:txBody>
        </p:sp>
      </p:grpSp>
      <p:grpSp>
        <p:nvGrpSpPr>
          <p:cNvPr id="70" name="Group 69">
            <a:extLst>
              <a:ext uri="{FF2B5EF4-FFF2-40B4-BE49-F238E27FC236}">
                <a16:creationId xmlns:a16="http://schemas.microsoft.com/office/drawing/2014/main" id="{CCAC1C2B-8B3F-B0B9-9B08-578CF1CAF3F7}"/>
              </a:ext>
            </a:extLst>
          </p:cNvPr>
          <p:cNvGrpSpPr/>
          <p:nvPr/>
        </p:nvGrpSpPr>
        <p:grpSpPr>
          <a:xfrm>
            <a:off x="3963660" y="2617307"/>
            <a:ext cx="587306" cy="716362"/>
            <a:chOff x="7931851" y="2464731"/>
            <a:chExt cx="1002842" cy="1223210"/>
          </a:xfrm>
        </p:grpSpPr>
        <p:sp>
          <p:nvSpPr>
            <p:cNvPr id="56" name="Freeform 5">
              <a:extLst>
                <a:ext uri="{FF2B5EF4-FFF2-40B4-BE49-F238E27FC236}">
                  <a16:creationId xmlns:a16="http://schemas.microsoft.com/office/drawing/2014/main" id="{AF9285C9-815F-AD1B-D7F1-F9958E7C4705}"/>
                </a:ext>
              </a:extLst>
            </p:cNvPr>
            <p:cNvSpPr>
              <a:spLocks noEditPoints="1"/>
            </p:cNvSpPr>
            <p:nvPr/>
          </p:nvSpPr>
          <p:spPr bwMode="auto">
            <a:xfrm>
              <a:off x="8120806" y="2650831"/>
              <a:ext cx="623981" cy="1037110"/>
            </a:xfrm>
            <a:custGeom>
              <a:avLst/>
              <a:gdLst>
                <a:gd name="T0" fmla="*/ 674 w 750"/>
                <a:gd name="T1" fmla="*/ 602 h 1237"/>
                <a:gd name="T2" fmla="*/ 750 w 750"/>
                <a:gd name="T3" fmla="*/ 376 h 1237"/>
                <a:gd name="T4" fmla="*/ 638 w 750"/>
                <a:gd name="T5" fmla="*/ 110 h 1237"/>
                <a:gd name="T6" fmla="*/ 370 w 750"/>
                <a:gd name="T7" fmla="*/ 2 h 1237"/>
                <a:gd name="T8" fmla="*/ 110 w 750"/>
                <a:gd name="T9" fmla="*/ 112 h 1237"/>
                <a:gd name="T10" fmla="*/ 1 w 750"/>
                <a:gd name="T11" fmla="*/ 373 h 1237"/>
                <a:gd name="T12" fmla="*/ 77 w 750"/>
                <a:gd name="T13" fmla="*/ 603 h 1237"/>
                <a:gd name="T14" fmla="*/ 205 w 750"/>
                <a:gd name="T15" fmla="*/ 976 h 1237"/>
                <a:gd name="T16" fmla="*/ 205 w 750"/>
                <a:gd name="T17" fmla="*/ 1120 h 1237"/>
                <a:gd name="T18" fmla="*/ 321 w 750"/>
                <a:gd name="T19" fmla="*/ 1237 h 1237"/>
                <a:gd name="T20" fmla="*/ 430 w 750"/>
                <a:gd name="T21" fmla="*/ 1237 h 1237"/>
                <a:gd name="T22" fmla="*/ 546 w 750"/>
                <a:gd name="T23" fmla="*/ 1120 h 1237"/>
                <a:gd name="T24" fmla="*/ 546 w 750"/>
                <a:gd name="T25" fmla="*/ 976 h 1237"/>
                <a:gd name="T26" fmla="*/ 674 w 750"/>
                <a:gd name="T27" fmla="*/ 602 h 1237"/>
                <a:gd name="T28" fmla="*/ 116 w 750"/>
                <a:gd name="T29" fmla="*/ 574 h 1237"/>
                <a:gd name="T30" fmla="*/ 49 w 750"/>
                <a:gd name="T31" fmla="*/ 373 h 1237"/>
                <a:gd name="T32" fmla="*/ 371 w 750"/>
                <a:gd name="T33" fmla="*/ 50 h 1237"/>
                <a:gd name="T34" fmla="*/ 605 w 750"/>
                <a:gd name="T35" fmla="*/ 144 h 1237"/>
                <a:gd name="T36" fmla="*/ 702 w 750"/>
                <a:gd name="T37" fmla="*/ 376 h 1237"/>
                <a:gd name="T38" fmla="*/ 636 w 750"/>
                <a:gd name="T39" fmla="*/ 573 h 1237"/>
                <a:gd name="T40" fmla="*/ 498 w 750"/>
                <a:gd name="T41" fmla="*/ 967 h 1237"/>
                <a:gd name="T42" fmla="*/ 253 w 750"/>
                <a:gd name="T43" fmla="*/ 967 h 1237"/>
                <a:gd name="T44" fmla="*/ 116 w 750"/>
                <a:gd name="T45" fmla="*/ 574 h 1237"/>
                <a:gd name="T46" fmla="*/ 253 w 750"/>
                <a:gd name="T47" fmla="*/ 1104 h 1237"/>
                <a:gd name="T48" fmla="*/ 253 w 750"/>
                <a:gd name="T49" fmla="*/ 1085 h 1237"/>
                <a:gd name="T50" fmla="*/ 498 w 750"/>
                <a:gd name="T51" fmla="*/ 1113 h 1237"/>
                <a:gd name="T52" fmla="*/ 498 w 750"/>
                <a:gd name="T53" fmla="*/ 1120 h 1237"/>
                <a:gd name="T54" fmla="*/ 497 w 750"/>
                <a:gd name="T55" fmla="*/ 1132 h 1237"/>
                <a:gd name="T56" fmla="*/ 253 w 750"/>
                <a:gd name="T57" fmla="*/ 1104 h 1237"/>
                <a:gd name="T58" fmla="*/ 253 w 750"/>
                <a:gd name="T59" fmla="*/ 1036 h 1237"/>
                <a:gd name="T60" fmla="*/ 253 w 750"/>
                <a:gd name="T61" fmla="*/ 1015 h 1237"/>
                <a:gd name="T62" fmla="*/ 498 w 750"/>
                <a:gd name="T63" fmla="*/ 1015 h 1237"/>
                <a:gd name="T64" fmla="*/ 498 w 750"/>
                <a:gd name="T65" fmla="*/ 1064 h 1237"/>
                <a:gd name="T66" fmla="*/ 253 w 750"/>
                <a:gd name="T67" fmla="*/ 1036 h 1237"/>
                <a:gd name="T68" fmla="*/ 321 w 750"/>
                <a:gd name="T69" fmla="*/ 1189 h 1237"/>
                <a:gd name="T70" fmla="*/ 262 w 750"/>
                <a:gd name="T71" fmla="*/ 1153 h 1237"/>
                <a:gd name="T72" fmla="*/ 468 w 750"/>
                <a:gd name="T73" fmla="*/ 1177 h 1237"/>
                <a:gd name="T74" fmla="*/ 430 w 750"/>
                <a:gd name="T75" fmla="*/ 1189 h 1237"/>
                <a:gd name="T76" fmla="*/ 321 w 750"/>
                <a:gd name="T77" fmla="*/ 1189 h 1237"/>
                <a:gd name="T78" fmla="*/ 321 w 750"/>
                <a:gd name="T79" fmla="*/ 1189 h 1237"/>
                <a:gd name="T80" fmla="*/ 321 w 750"/>
                <a:gd name="T81" fmla="*/ 1189 h 1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50" h="1237">
                  <a:moveTo>
                    <a:pt x="674" y="602"/>
                  </a:moveTo>
                  <a:cubicBezTo>
                    <a:pt x="724" y="537"/>
                    <a:pt x="750" y="459"/>
                    <a:pt x="750" y="376"/>
                  </a:cubicBezTo>
                  <a:cubicBezTo>
                    <a:pt x="750" y="275"/>
                    <a:pt x="710" y="180"/>
                    <a:pt x="638" y="110"/>
                  </a:cubicBezTo>
                  <a:cubicBezTo>
                    <a:pt x="566" y="39"/>
                    <a:pt x="471" y="0"/>
                    <a:pt x="370" y="2"/>
                  </a:cubicBezTo>
                  <a:cubicBezTo>
                    <a:pt x="272" y="3"/>
                    <a:pt x="180" y="42"/>
                    <a:pt x="110" y="112"/>
                  </a:cubicBezTo>
                  <a:cubicBezTo>
                    <a:pt x="41" y="182"/>
                    <a:pt x="2" y="275"/>
                    <a:pt x="1" y="373"/>
                  </a:cubicBezTo>
                  <a:cubicBezTo>
                    <a:pt x="0" y="457"/>
                    <a:pt x="27" y="536"/>
                    <a:pt x="77" y="603"/>
                  </a:cubicBezTo>
                  <a:cubicBezTo>
                    <a:pt x="160" y="711"/>
                    <a:pt x="205" y="843"/>
                    <a:pt x="205" y="976"/>
                  </a:cubicBezTo>
                  <a:cubicBezTo>
                    <a:pt x="205" y="1120"/>
                    <a:pt x="205" y="1120"/>
                    <a:pt x="205" y="1120"/>
                  </a:cubicBezTo>
                  <a:cubicBezTo>
                    <a:pt x="205" y="1185"/>
                    <a:pt x="257" y="1237"/>
                    <a:pt x="321" y="1237"/>
                  </a:cubicBezTo>
                  <a:cubicBezTo>
                    <a:pt x="430" y="1237"/>
                    <a:pt x="430" y="1237"/>
                    <a:pt x="430" y="1237"/>
                  </a:cubicBezTo>
                  <a:cubicBezTo>
                    <a:pt x="494" y="1237"/>
                    <a:pt x="546" y="1185"/>
                    <a:pt x="546" y="1120"/>
                  </a:cubicBezTo>
                  <a:cubicBezTo>
                    <a:pt x="546" y="976"/>
                    <a:pt x="546" y="976"/>
                    <a:pt x="546" y="976"/>
                  </a:cubicBezTo>
                  <a:cubicBezTo>
                    <a:pt x="546" y="842"/>
                    <a:pt x="590" y="713"/>
                    <a:pt x="674" y="602"/>
                  </a:cubicBezTo>
                  <a:close/>
                  <a:moveTo>
                    <a:pt x="116" y="574"/>
                  </a:moveTo>
                  <a:cubicBezTo>
                    <a:pt x="71" y="516"/>
                    <a:pt x="48" y="446"/>
                    <a:pt x="49" y="373"/>
                  </a:cubicBezTo>
                  <a:cubicBezTo>
                    <a:pt x="51" y="197"/>
                    <a:pt x="195" y="52"/>
                    <a:pt x="371" y="50"/>
                  </a:cubicBezTo>
                  <a:cubicBezTo>
                    <a:pt x="459" y="49"/>
                    <a:pt x="542" y="82"/>
                    <a:pt x="605" y="144"/>
                  </a:cubicBezTo>
                  <a:cubicBezTo>
                    <a:pt x="667" y="206"/>
                    <a:pt x="702" y="288"/>
                    <a:pt x="702" y="376"/>
                  </a:cubicBezTo>
                  <a:cubicBezTo>
                    <a:pt x="702" y="448"/>
                    <a:pt x="679" y="516"/>
                    <a:pt x="636" y="573"/>
                  </a:cubicBezTo>
                  <a:cubicBezTo>
                    <a:pt x="547" y="690"/>
                    <a:pt x="500" y="825"/>
                    <a:pt x="498" y="967"/>
                  </a:cubicBezTo>
                  <a:cubicBezTo>
                    <a:pt x="253" y="967"/>
                    <a:pt x="253" y="967"/>
                    <a:pt x="253" y="967"/>
                  </a:cubicBezTo>
                  <a:cubicBezTo>
                    <a:pt x="251" y="827"/>
                    <a:pt x="202" y="688"/>
                    <a:pt x="116" y="574"/>
                  </a:cubicBezTo>
                  <a:close/>
                  <a:moveTo>
                    <a:pt x="253" y="1104"/>
                  </a:moveTo>
                  <a:cubicBezTo>
                    <a:pt x="253" y="1085"/>
                    <a:pt x="253" y="1085"/>
                    <a:pt x="253" y="1085"/>
                  </a:cubicBezTo>
                  <a:cubicBezTo>
                    <a:pt x="498" y="1113"/>
                    <a:pt x="498" y="1113"/>
                    <a:pt x="498" y="1113"/>
                  </a:cubicBezTo>
                  <a:cubicBezTo>
                    <a:pt x="498" y="1120"/>
                    <a:pt x="498" y="1120"/>
                    <a:pt x="498" y="1120"/>
                  </a:cubicBezTo>
                  <a:cubicBezTo>
                    <a:pt x="498" y="1124"/>
                    <a:pt x="498" y="1128"/>
                    <a:pt x="497" y="1132"/>
                  </a:cubicBezTo>
                  <a:lnTo>
                    <a:pt x="253" y="1104"/>
                  </a:lnTo>
                  <a:close/>
                  <a:moveTo>
                    <a:pt x="253" y="1036"/>
                  </a:moveTo>
                  <a:cubicBezTo>
                    <a:pt x="253" y="1015"/>
                    <a:pt x="253" y="1015"/>
                    <a:pt x="253" y="1015"/>
                  </a:cubicBezTo>
                  <a:cubicBezTo>
                    <a:pt x="498" y="1015"/>
                    <a:pt x="498" y="1015"/>
                    <a:pt x="498" y="1015"/>
                  </a:cubicBezTo>
                  <a:cubicBezTo>
                    <a:pt x="498" y="1064"/>
                    <a:pt x="498" y="1064"/>
                    <a:pt x="498" y="1064"/>
                  </a:cubicBezTo>
                  <a:lnTo>
                    <a:pt x="253" y="1036"/>
                  </a:lnTo>
                  <a:close/>
                  <a:moveTo>
                    <a:pt x="321" y="1189"/>
                  </a:moveTo>
                  <a:cubicBezTo>
                    <a:pt x="296" y="1189"/>
                    <a:pt x="273" y="1174"/>
                    <a:pt x="262" y="1153"/>
                  </a:cubicBezTo>
                  <a:cubicBezTo>
                    <a:pt x="468" y="1177"/>
                    <a:pt x="468" y="1177"/>
                    <a:pt x="468" y="1177"/>
                  </a:cubicBezTo>
                  <a:cubicBezTo>
                    <a:pt x="457" y="1184"/>
                    <a:pt x="444" y="1189"/>
                    <a:pt x="430" y="1189"/>
                  </a:cubicBezTo>
                  <a:lnTo>
                    <a:pt x="321" y="1189"/>
                  </a:lnTo>
                  <a:close/>
                  <a:moveTo>
                    <a:pt x="321" y="1189"/>
                  </a:moveTo>
                  <a:cubicBezTo>
                    <a:pt x="321" y="1189"/>
                    <a:pt x="321" y="1189"/>
                    <a:pt x="321" y="1189"/>
                  </a:cubicBezTo>
                </a:path>
              </a:pathLst>
            </a:custGeom>
            <a:solidFill>
              <a:schemeClr val="tx1"/>
            </a:solidFill>
            <a:ln>
              <a:noFill/>
            </a:ln>
          </p:spPr>
          <p:txBody>
            <a:bodyPr vert="horz" wrap="square" lIns="68580" tIns="34290" rIns="68580" bIns="34290" numCol="1" anchor="t" anchorCtr="0" compatLnSpc="1">
              <a:prstTxWarp prst="textNoShape">
                <a:avLst/>
              </a:prstTxWarp>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007A7D">
                    <a:lumMod val="60000"/>
                    <a:lumOff val="40000"/>
                  </a:srgbClr>
                </a:solidFill>
                <a:effectLst/>
                <a:uLnTx/>
                <a:uFillTx/>
                <a:latin typeface="Calibri" panose="020F0502020204030204"/>
                <a:ea typeface="+mn-ea"/>
                <a:cs typeface="+mn-cs"/>
              </a:endParaRPr>
            </a:p>
          </p:txBody>
        </p:sp>
        <p:sp>
          <p:nvSpPr>
            <p:cNvPr id="57" name="Freeform 6">
              <a:extLst>
                <a:ext uri="{FF2B5EF4-FFF2-40B4-BE49-F238E27FC236}">
                  <a16:creationId xmlns:a16="http://schemas.microsoft.com/office/drawing/2014/main" id="{9C37C61A-2FC4-04A3-99A4-F01FF5365A62}"/>
                </a:ext>
              </a:extLst>
            </p:cNvPr>
            <p:cNvSpPr>
              <a:spLocks noEditPoints="1"/>
            </p:cNvSpPr>
            <p:nvPr/>
          </p:nvSpPr>
          <p:spPr bwMode="auto">
            <a:xfrm>
              <a:off x="8193151" y="2944496"/>
              <a:ext cx="44264" cy="75201"/>
            </a:xfrm>
            <a:custGeom>
              <a:avLst/>
              <a:gdLst>
                <a:gd name="T0" fmla="*/ 51 w 53"/>
                <a:gd name="T1" fmla="*/ 62 h 90"/>
                <a:gd name="T2" fmla="*/ 48 w 53"/>
                <a:gd name="T3" fmla="*/ 24 h 90"/>
                <a:gd name="T4" fmla="*/ 25 w 53"/>
                <a:gd name="T5" fmla="*/ 0 h 90"/>
                <a:gd name="T6" fmla="*/ 0 w 53"/>
                <a:gd name="T7" fmla="*/ 23 h 90"/>
                <a:gd name="T8" fmla="*/ 4 w 53"/>
                <a:gd name="T9" fmla="*/ 69 h 90"/>
                <a:gd name="T10" fmla="*/ 27 w 53"/>
                <a:gd name="T11" fmla="*/ 90 h 90"/>
                <a:gd name="T12" fmla="*/ 31 w 53"/>
                <a:gd name="T13" fmla="*/ 90 h 90"/>
                <a:gd name="T14" fmla="*/ 51 w 53"/>
                <a:gd name="T15" fmla="*/ 62 h 90"/>
                <a:gd name="T16" fmla="*/ 51 w 53"/>
                <a:gd name="T17" fmla="*/ 62 h 90"/>
                <a:gd name="T18" fmla="*/ 51 w 53"/>
                <a:gd name="T19" fmla="*/ 6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0">
                  <a:moveTo>
                    <a:pt x="51" y="62"/>
                  </a:moveTo>
                  <a:cubicBezTo>
                    <a:pt x="49" y="50"/>
                    <a:pt x="48" y="37"/>
                    <a:pt x="48" y="24"/>
                  </a:cubicBezTo>
                  <a:cubicBezTo>
                    <a:pt x="49" y="11"/>
                    <a:pt x="38" y="0"/>
                    <a:pt x="25" y="0"/>
                  </a:cubicBezTo>
                  <a:cubicBezTo>
                    <a:pt x="11" y="0"/>
                    <a:pt x="1" y="10"/>
                    <a:pt x="0" y="23"/>
                  </a:cubicBezTo>
                  <a:cubicBezTo>
                    <a:pt x="0" y="39"/>
                    <a:pt x="1" y="54"/>
                    <a:pt x="4" y="69"/>
                  </a:cubicBezTo>
                  <a:cubicBezTo>
                    <a:pt x="5" y="81"/>
                    <a:pt x="16" y="90"/>
                    <a:pt x="27" y="90"/>
                  </a:cubicBezTo>
                  <a:cubicBezTo>
                    <a:pt x="28" y="90"/>
                    <a:pt x="30" y="90"/>
                    <a:pt x="31" y="90"/>
                  </a:cubicBezTo>
                  <a:cubicBezTo>
                    <a:pt x="44" y="88"/>
                    <a:pt x="53" y="75"/>
                    <a:pt x="51" y="62"/>
                  </a:cubicBezTo>
                  <a:close/>
                  <a:moveTo>
                    <a:pt x="51" y="62"/>
                  </a:moveTo>
                  <a:cubicBezTo>
                    <a:pt x="51" y="62"/>
                    <a:pt x="51" y="62"/>
                    <a:pt x="51" y="62"/>
                  </a:cubicBezTo>
                </a:path>
              </a:pathLst>
            </a:custGeom>
            <a:solidFill>
              <a:schemeClr val="tx1"/>
            </a:solidFill>
            <a:ln>
              <a:noFill/>
            </a:ln>
          </p:spPr>
          <p:txBody>
            <a:bodyPr vert="horz" wrap="square" lIns="68580" tIns="34290" rIns="68580" bIns="34290" numCol="1" anchor="t" anchorCtr="0" compatLnSpc="1">
              <a:prstTxWarp prst="textNoShape">
                <a:avLst/>
              </a:prstTxWarp>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58" name="Freeform 7">
              <a:extLst>
                <a:ext uri="{FF2B5EF4-FFF2-40B4-BE49-F238E27FC236}">
                  <a16:creationId xmlns:a16="http://schemas.microsoft.com/office/drawing/2014/main" id="{98714D24-C921-3FFA-3FFB-C2FD19F8E330}"/>
                </a:ext>
              </a:extLst>
            </p:cNvPr>
            <p:cNvSpPr>
              <a:spLocks noEditPoints="1"/>
            </p:cNvSpPr>
            <p:nvPr/>
          </p:nvSpPr>
          <p:spPr bwMode="auto">
            <a:xfrm>
              <a:off x="8215045" y="3044923"/>
              <a:ext cx="160397" cy="257493"/>
            </a:xfrm>
            <a:custGeom>
              <a:avLst/>
              <a:gdLst>
                <a:gd name="T0" fmla="*/ 166 w 193"/>
                <a:gd name="T1" fmla="*/ 307 h 307"/>
                <a:gd name="T2" fmla="*/ 174 w 193"/>
                <a:gd name="T3" fmla="*/ 306 h 307"/>
                <a:gd name="T4" fmla="*/ 189 w 193"/>
                <a:gd name="T5" fmla="*/ 275 h 307"/>
                <a:gd name="T6" fmla="*/ 71 w 193"/>
                <a:gd name="T7" fmla="*/ 51 h 307"/>
                <a:gd name="T8" fmla="*/ 49 w 193"/>
                <a:gd name="T9" fmla="*/ 16 h 307"/>
                <a:gd name="T10" fmla="*/ 16 w 193"/>
                <a:gd name="T11" fmla="*/ 6 h 307"/>
                <a:gd name="T12" fmla="*/ 6 w 193"/>
                <a:gd name="T13" fmla="*/ 38 h 307"/>
                <a:gd name="T14" fmla="*/ 33 w 193"/>
                <a:gd name="T15" fmla="*/ 80 h 307"/>
                <a:gd name="T16" fmla="*/ 143 w 193"/>
                <a:gd name="T17" fmla="*/ 290 h 307"/>
                <a:gd name="T18" fmla="*/ 166 w 193"/>
                <a:gd name="T19" fmla="*/ 307 h 307"/>
                <a:gd name="T20" fmla="*/ 166 w 193"/>
                <a:gd name="T21" fmla="*/ 307 h 307"/>
                <a:gd name="T22" fmla="*/ 166 w 193"/>
                <a:gd name="T23" fmla="*/ 30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3" h="307">
                  <a:moveTo>
                    <a:pt x="166" y="307"/>
                  </a:moveTo>
                  <a:cubicBezTo>
                    <a:pt x="169" y="307"/>
                    <a:pt x="171" y="306"/>
                    <a:pt x="174" y="306"/>
                  </a:cubicBezTo>
                  <a:cubicBezTo>
                    <a:pt x="186" y="301"/>
                    <a:pt x="193" y="288"/>
                    <a:pt x="189" y="275"/>
                  </a:cubicBezTo>
                  <a:cubicBezTo>
                    <a:pt x="162" y="194"/>
                    <a:pt x="123" y="119"/>
                    <a:pt x="71" y="51"/>
                  </a:cubicBezTo>
                  <a:cubicBezTo>
                    <a:pt x="63" y="40"/>
                    <a:pt x="55" y="28"/>
                    <a:pt x="49" y="16"/>
                  </a:cubicBezTo>
                  <a:cubicBezTo>
                    <a:pt x="43" y="4"/>
                    <a:pt x="28" y="0"/>
                    <a:pt x="16" y="6"/>
                  </a:cubicBezTo>
                  <a:cubicBezTo>
                    <a:pt x="5" y="12"/>
                    <a:pt x="0" y="26"/>
                    <a:pt x="6" y="38"/>
                  </a:cubicBezTo>
                  <a:cubicBezTo>
                    <a:pt x="14" y="53"/>
                    <a:pt x="23" y="67"/>
                    <a:pt x="33" y="80"/>
                  </a:cubicBezTo>
                  <a:cubicBezTo>
                    <a:pt x="81" y="144"/>
                    <a:pt x="119" y="215"/>
                    <a:pt x="143" y="290"/>
                  </a:cubicBezTo>
                  <a:cubicBezTo>
                    <a:pt x="147" y="300"/>
                    <a:pt x="156" y="307"/>
                    <a:pt x="166" y="307"/>
                  </a:cubicBezTo>
                  <a:close/>
                  <a:moveTo>
                    <a:pt x="166" y="307"/>
                  </a:moveTo>
                  <a:cubicBezTo>
                    <a:pt x="166" y="307"/>
                    <a:pt x="166" y="307"/>
                    <a:pt x="166" y="307"/>
                  </a:cubicBezTo>
                </a:path>
              </a:pathLst>
            </a:custGeom>
            <a:solidFill>
              <a:schemeClr val="tx1"/>
            </a:solidFill>
            <a:ln>
              <a:noFill/>
            </a:ln>
          </p:spPr>
          <p:txBody>
            <a:bodyPr vert="horz" wrap="square" lIns="68580" tIns="34290" rIns="68580" bIns="34290" numCol="1" anchor="t" anchorCtr="0" compatLnSpc="1">
              <a:prstTxWarp prst="textNoShape">
                <a:avLst/>
              </a:prstTxWarp>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59" name="Freeform 8">
              <a:extLst>
                <a:ext uri="{FF2B5EF4-FFF2-40B4-BE49-F238E27FC236}">
                  <a16:creationId xmlns:a16="http://schemas.microsoft.com/office/drawing/2014/main" id="{C084F578-05D8-4FC1-5CE5-36ECBBA84C4A}"/>
                </a:ext>
              </a:extLst>
            </p:cNvPr>
            <p:cNvSpPr>
              <a:spLocks noEditPoints="1"/>
            </p:cNvSpPr>
            <p:nvPr/>
          </p:nvSpPr>
          <p:spPr bwMode="auto">
            <a:xfrm>
              <a:off x="8585816" y="3030644"/>
              <a:ext cx="71870" cy="89004"/>
            </a:xfrm>
            <a:custGeom>
              <a:avLst/>
              <a:gdLst>
                <a:gd name="T0" fmla="*/ 69 w 86"/>
                <a:gd name="T1" fmla="*/ 5 h 106"/>
                <a:gd name="T2" fmla="*/ 37 w 86"/>
                <a:gd name="T3" fmla="*/ 18 h 106"/>
                <a:gd name="T4" fmla="*/ 8 w 86"/>
                <a:gd name="T5" fmla="*/ 68 h 106"/>
                <a:gd name="T6" fmla="*/ 12 w 86"/>
                <a:gd name="T7" fmla="*/ 102 h 106"/>
                <a:gd name="T8" fmla="*/ 27 w 86"/>
                <a:gd name="T9" fmla="*/ 106 h 106"/>
                <a:gd name="T10" fmla="*/ 46 w 86"/>
                <a:gd name="T11" fmla="*/ 97 h 106"/>
                <a:gd name="T12" fmla="*/ 81 w 86"/>
                <a:gd name="T13" fmla="*/ 37 h 106"/>
                <a:gd name="T14" fmla="*/ 69 w 86"/>
                <a:gd name="T15" fmla="*/ 5 h 106"/>
                <a:gd name="T16" fmla="*/ 69 w 86"/>
                <a:gd name="T17" fmla="*/ 5 h 106"/>
                <a:gd name="T18" fmla="*/ 69 w 86"/>
                <a:gd name="T19" fmla="*/ 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106">
                  <a:moveTo>
                    <a:pt x="69" y="5"/>
                  </a:moveTo>
                  <a:cubicBezTo>
                    <a:pt x="56" y="0"/>
                    <a:pt x="42" y="6"/>
                    <a:pt x="37" y="18"/>
                  </a:cubicBezTo>
                  <a:cubicBezTo>
                    <a:pt x="29" y="36"/>
                    <a:pt x="20" y="52"/>
                    <a:pt x="8" y="68"/>
                  </a:cubicBezTo>
                  <a:cubicBezTo>
                    <a:pt x="0" y="79"/>
                    <a:pt x="2" y="94"/>
                    <a:pt x="12" y="102"/>
                  </a:cubicBezTo>
                  <a:cubicBezTo>
                    <a:pt x="17" y="105"/>
                    <a:pt x="22" y="106"/>
                    <a:pt x="27" y="106"/>
                  </a:cubicBezTo>
                  <a:cubicBezTo>
                    <a:pt x="34" y="106"/>
                    <a:pt x="41" y="103"/>
                    <a:pt x="46" y="97"/>
                  </a:cubicBezTo>
                  <a:cubicBezTo>
                    <a:pt x="60" y="78"/>
                    <a:pt x="72" y="58"/>
                    <a:pt x="81" y="37"/>
                  </a:cubicBezTo>
                  <a:cubicBezTo>
                    <a:pt x="86" y="25"/>
                    <a:pt x="81" y="11"/>
                    <a:pt x="69" y="5"/>
                  </a:cubicBezTo>
                  <a:close/>
                  <a:moveTo>
                    <a:pt x="69" y="5"/>
                  </a:moveTo>
                  <a:cubicBezTo>
                    <a:pt x="69" y="5"/>
                    <a:pt x="69" y="5"/>
                    <a:pt x="69" y="5"/>
                  </a:cubicBezTo>
                </a:path>
              </a:pathLst>
            </a:custGeom>
            <a:solidFill>
              <a:schemeClr val="tx1"/>
            </a:solidFill>
            <a:ln>
              <a:noFill/>
            </a:ln>
          </p:spPr>
          <p:txBody>
            <a:bodyPr vert="horz" wrap="square" lIns="68580" tIns="34290" rIns="68580" bIns="34290" numCol="1" anchor="t" anchorCtr="0" compatLnSpc="1">
              <a:prstTxWarp prst="textNoShape">
                <a:avLst/>
              </a:prstTxWarp>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60" name="Freeform 9">
              <a:extLst>
                <a:ext uri="{FF2B5EF4-FFF2-40B4-BE49-F238E27FC236}">
                  <a16:creationId xmlns:a16="http://schemas.microsoft.com/office/drawing/2014/main" id="{CC55370D-7286-697E-815C-770BCA92F875}"/>
                </a:ext>
              </a:extLst>
            </p:cNvPr>
            <p:cNvSpPr>
              <a:spLocks noEditPoints="1"/>
            </p:cNvSpPr>
            <p:nvPr/>
          </p:nvSpPr>
          <p:spPr bwMode="auto">
            <a:xfrm>
              <a:off x="8413044" y="2724603"/>
              <a:ext cx="259397" cy="282719"/>
            </a:xfrm>
            <a:custGeom>
              <a:avLst/>
              <a:gdLst>
                <a:gd name="T0" fmla="*/ 24 w 312"/>
                <a:gd name="T1" fmla="*/ 48 h 337"/>
                <a:gd name="T2" fmla="*/ 264 w 312"/>
                <a:gd name="T3" fmla="*/ 288 h 337"/>
                <a:gd name="T4" fmla="*/ 263 w 312"/>
                <a:gd name="T5" fmla="*/ 311 h 337"/>
                <a:gd name="T6" fmla="*/ 285 w 312"/>
                <a:gd name="T7" fmla="*/ 337 h 337"/>
                <a:gd name="T8" fmla="*/ 287 w 312"/>
                <a:gd name="T9" fmla="*/ 337 h 337"/>
                <a:gd name="T10" fmla="*/ 311 w 312"/>
                <a:gd name="T11" fmla="*/ 315 h 337"/>
                <a:gd name="T12" fmla="*/ 312 w 312"/>
                <a:gd name="T13" fmla="*/ 288 h 337"/>
                <a:gd name="T14" fmla="*/ 24 w 312"/>
                <a:gd name="T15" fmla="*/ 0 h 337"/>
                <a:gd name="T16" fmla="*/ 0 w 312"/>
                <a:gd name="T17" fmla="*/ 24 h 337"/>
                <a:gd name="T18" fmla="*/ 24 w 312"/>
                <a:gd name="T19" fmla="*/ 48 h 337"/>
                <a:gd name="T20" fmla="*/ 24 w 312"/>
                <a:gd name="T21" fmla="*/ 48 h 337"/>
                <a:gd name="T22" fmla="*/ 24 w 312"/>
                <a:gd name="T23" fmla="*/ 48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2" h="337">
                  <a:moveTo>
                    <a:pt x="24" y="48"/>
                  </a:moveTo>
                  <a:cubicBezTo>
                    <a:pt x="157" y="48"/>
                    <a:pt x="264" y="156"/>
                    <a:pt x="264" y="288"/>
                  </a:cubicBezTo>
                  <a:cubicBezTo>
                    <a:pt x="264" y="296"/>
                    <a:pt x="264" y="303"/>
                    <a:pt x="263" y="311"/>
                  </a:cubicBezTo>
                  <a:cubicBezTo>
                    <a:pt x="262" y="324"/>
                    <a:pt x="272" y="336"/>
                    <a:pt x="285" y="337"/>
                  </a:cubicBezTo>
                  <a:cubicBezTo>
                    <a:pt x="286" y="337"/>
                    <a:pt x="287" y="337"/>
                    <a:pt x="287" y="337"/>
                  </a:cubicBezTo>
                  <a:cubicBezTo>
                    <a:pt x="300" y="337"/>
                    <a:pt x="310" y="328"/>
                    <a:pt x="311" y="315"/>
                  </a:cubicBezTo>
                  <a:cubicBezTo>
                    <a:pt x="312" y="306"/>
                    <a:pt x="312" y="297"/>
                    <a:pt x="312" y="288"/>
                  </a:cubicBezTo>
                  <a:cubicBezTo>
                    <a:pt x="312" y="129"/>
                    <a:pt x="183" y="0"/>
                    <a:pt x="24" y="0"/>
                  </a:cubicBezTo>
                  <a:cubicBezTo>
                    <a:pt x="11" y="0"/>
                    <a:pt x="0" y="11"/>
                    <a:pt x="0" y="24"/>
                  </a:cubicBezTo>
                  <a:cubicBezTo>
                    <a:pt x="0" y="37"/>
                    <a:pt x="11" y="48"/>
                    <a:pt x="24" y="48"/>
                  </a:cubicBezTo>
                  <a:close/>
                  <a:moveTo>
                    <a:pt x="24" y="48"/>
                  </a:moveTo>
                  <a:cubicBezTo>
                    <a:pt x="24" y="48"/>
                    <a:pt x="24" y="48"/>
                    <a:pt x="24" y="48"/>
                  </a:cubicBezTo>
                </a:path>
              </a:pathLst>
            </a:custGeom>
            <a:solidFill>
              <a:schemeClr val="tx1"/>
            </a:solidFill>
            <a:ln>
              <a:noFill/>
            </a:ln>
          </p:spPr>
          <p:txBody>
            <a:bodyPr vert="horz" wrap="square" lIns="68580" tIns="34290" rIns="68580" bIns="34290" numCol="1" anchor="t" anchorCtr="0" compatLnSpc="1">
              <a:prstTxWarp prst="textNoShape">
                <a:avLst/>
              </a:prstTxWarp>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61" name="Freeform 10">
              <a:extLst>
                <a:ext uri="{FF2B5EF4-FFF2-40B4-BE49-F238E27FC236}">
                  <a16:creationId xmlns:a16="http://schemas.microsoft.com/office/drawing/2014/main" id="{154765FF-52C3-CCE0-005A-278D14454C14}"/>
                </a:ext>
              </a:extLst>
            </p:cNvPr>
            <p:cNvSpPr>
              <a:spLocks noEditPoints="1"/>
            </p:cNvSpPr>
            <p:nvPr/>
          </p:nvSpPr>
          <p:spPr bwMode="auto">
            <a:xfrm>
              <a:off x="8413044" y="2464731"/>
              <a:ext cx="39980" cy="152306"/>
            </a:xfrm>
            <a:custGeom>
              <a:avLst/>
              <a:gdLst>
                <a:gd name="T0" fmla="*/ 24 w 48"/>
                <a:gd name="T1" fmla="*/ 182 h 182"/>
                <a:gd name="T2" fmla="*/ 48 w 48"/>
                <a:gd name="T3" fmla="*/ 158 h 182"/>
                <a:gd name="T4" fmla="*/ 48 w 48"/>
                <a:gd name="T5" fmla="*/ 24 h 182"/>
                <a:gd name="T6" fmla="*/ 24 w 48"/>
                <a:gd name="T7" fmla="*/ 0 h 182"/>
                <a:gd name="T8" fmla="*/ 0 w 48"/>
                <a:gd name="T9" fmla="*/ 24 h 182"/>
                <a:gd name="T10" fmla="*/ 0 w 48"/>
                <a:gd name="T11" fmla="*/ 158 h 182"/>
                <a:gd name="T12" fmla="*/ 24 w 48"/>
                <a:gd name="T13" fmla="*/ 182 h 182"/>
                <a:gd name="T14" fmla="*/ 24 w 48"/>
                <a:gd name="T15" fmla="*/ 182 h 182"/>
                <a:gd name="T16" fmla="*/ 24 w 48"/>
                <a:gd name="T17"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82">
                  <a:moveTo>
                    <a:pt x="24" y="182"/>
                  </a:moveTo>
                  <a:cubicBezTo>
                    <a:pt x="38" y="182"/>
                    <a:pt x="48" y="172"/>
                    <a:pt x="48" y="158"/>
                  </a:cubicBezTo>
                  <a:cubicBezTo>
                    <a:pt x="48" y="24"/>
                    <a:pt x="48" y="24"/>
                    <a:pt x="48" y="24"/>
                  </a:cubicBezTo>
                  <a:cubicBezTo>
                    <a:pt x="48" y="11"/>
                    <a:pt x="38" y="0"/>
                    <a:pt x="24" y="0"/>
                  </a:cubicBezTo>
                  <a:cubicBezTo>
                    <a:pt x="11" y="0"/>
                    <a:pt x="0" y="11"/>
                    <a:pt x="0" y="24"/>
                  </a:cubicBezTo>
                  <a:cubicBezTo>
                    <a:pt x="0" y="158"/>
                    <a:pt x="0" y="158"/>
                    <a:pt x="0" y="158"/>
                  </a:cubicBezTo>
                  <a:cubicBezTo>
                    <a:pt x="0" y="172"/>
                    <a:pt x="11" y="182"/>
                    <a:pt x="24" y="182"/>
                  </a:cubicBezTo>
                  <a:close/>
                  <a:moveTo>
                    <a:pt x="24" y="182"/>
                  </a:moveTo>
                  <a:cubicBezTo>
                    <a:pt x="24" y="182"/>
                    <a:pt x="24" y="182"/>
                    <a:pt x="24" y="182"/>
                  </a:cubicBezTo>
                </a:path>
              </a:pathLst>
            </a:custGeom>
            <a:solidFill>
              <a:schemeClr val="tx1"/>
            </a:solidFill>
            <a:ln>
              <a:noFill/>
            </a:ln>
          </p:spPr>
          <p:txBody>
            <a:bodyPr vert="horz" wrap="square" lIns="68580" tIns="34290" rIns="68580" bIns="34290" numCol="1" anchor="t" anchorCtr="0" compatLnSpc="1">
              <a:prstTxWarp prst="textNoShape">
                <a:avLst/>
              </a:prstTxWarp>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62" name="Freeform 11">
              <a:extLst>
                <a:ext uri="{FF2B5EF4-FFF2-40B4-BE49-F238E27FC236}">
                  <a16:creationId xmlns:a16="http://schemas.microsoft.com/office/drawing/2014/main" id="{80063FA1-D8F7-2605-166C-4F43C01A9ABD}"/>
                </a:ext>
              </a:extLst>
            </p:cNvPr>
            <p:cNvSpPr>
              <a:spLocks noEditPoints="1"/>
            </p:cNvSpPr>
            <p:nvPr/>
          </p:nvSpPr>
          <p:spPr bwMode="auto">
            <a:xfrm>
              <a:off x="8169830" y="2526606"/>
              <a:ext cx="101379" cy="140883"/>
            </a:xfrm>
            <a:custGeom>
              <a:avLst/>
              <a:gdLst>
                <a:gd name="T0" fmla="*/ 74 w 122"/>
                <a:gd name="T1" fmla="*/ 156 h 168"/>
                <a:gd name="T2" fmla="*/ 94 w 122"/>
                <a:gd name="T3" fmla="*/ 168 h 168"/>
                <a:gd name="T4" fmla="*/ 106 w 122"/>
                <a:gd name="T5" fmla="*/ 165 h 168"/>
                <a:gd name="T6" fmla="*/ 115 w 122"/>
                <a:gd name="T7" fmla="*/ 132 h 168"/>
                <a:gd name="T8" fmla="*/ 48 w 122"/>
                <a:gd name="T9" fmla="*/ 15 h 168"/>
                <a:gd name="T10" fmla="*/ 15 w 122"/>
                <a:gd name="T11" fmla="*/ 7 h 168"/>
                <a:gd name="T12" fmla="*/ 6 w 122"/>
                <a:gd name="T13" fmla="*/ 39 h 168"/>
                <a:gd name="T14" fmla="*/ 74 w 122"/>
                <a:gd name="T15" fmla="*/ 156 h 168"/>
                <a:gd name="T16" fmla="*/ 74 w 122"/>
                <a:gd name="T17" fmla="*/ 156 h 168"/>
                <a:gd name="T18" fmla="*/ 74 w 122"/>
                <a:gd name="T19" fmla="*/ 15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2" h="168">
                  <a:moveTo>
                    <a:pt x="74" y="156"/>
                  </a:moveTo>
                  <a:cubicBezTo>
                    <a:pt x="78" y="164"/>
                    <a:pt x="86" y="168"/>
                    <a:pt x="94" y="168"/>
                  </a:cubicBezTo>
                  <a:cubicBezTo>
                    <a:pt x="98" y="168"/>
                    <a:pt x="103" y="167"/>
                    <a:pt x="106" y="165"/>
                  </a:cubicBezTo>
                  <a:cubicBezTo>
                    <a:pt x="118" y="158"/>
                    <a:pt x="122" y="143"/>
                    <a:pt x="115" y="132"/>
                  </a:cubicBezTo>
                  <a:cubicBezTo>
                    <a:pt x="48" y="15"/>
                    <a:pt x="48" y="15"/>
                    <a:pt x="48" y="15"/>
                  </a:cubicBezTo>
                  <a:cubicBezTo>
                    <a:pt x="41" y="4"/>
                    <a:pt x="27" y="0"/>
                    <a:pt x="15" y="7"/>
                  </a:cubicBezTo>
                  <a:cubicBezTo>
                    <a:pt x="4" y="13"/>
                    <a:pt x="0" y="28"/>
                    <a:pt x="6" y="39"/>
                  </a:cubicBezTo>
                  <a:lnTo>
                    <a:pt x="74" y="156"/>
                  </a:lnTo>
                  <a:close/>
                  <a:moveTo>
                    <a:pt x="74" y="156"/>
                  </a:moveTo>
                  <a:cubicBezTo>
                    <a:pt x="74" y="156"/>
                    <a:pt x="74" y="156"/>
                    <a:pt x="74" y="156"/>
                  </a:cubicBezTo>
                </a:path>
              </a:pathLst>
            </a:custGeom>
            <a:solidFill>
              <a:schemeClr val="tx1"/>
            </a:solidFill>
            <a:ln>
              <a:noFill/>
            </a:ln>
          </p:spPr>
          <p:txBody>
            <a:bodyPr vert="horz" wrap="square" lIns="68580" tIns="34290" rIns="68580" bIns="34290" numCol="1" anchor="t" anchorCtr="0" compatLnSpc="1">
              <a:prstTxWarp prst="textNoShape">
                <a:avLst/>
              </a:prstTxWarp>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63" name="Freeform 12">
              <a:extLst>
                <a:ext uri="{FF2B5EF4-FFF2-40B4-BE49-F238E27FC236}">
                  <a16:creationId xmlns:a16="http://schemas.microsoft.com/office/drawing/2014/main" id="{4EF5EEF2-FAF8-5D37-B641-23A3C1D5D770}"/>
                </a:ext>
              </a:extLst>
            </p:cNvPr>
            <p:cNvSpPr>
              <a:spLocks noEditPoints="1"/>
            </p:cNvSpPr>
            <p:nvPr/>
          </p:nvSpPr>
          <p:spPr bwMode="auto">
            <a:xfrm>
              <a:off x="8730507" y="3132975"/>
              <a:ext cx="142311" cy="99951"/>
            </a:xfrm>
            <a:custGeom>
              <a:avLst/>
              <a:gdLst>
                <a:gd name="T0" fmla="*/ 155 w 171"/>
                <a:gd name="T1" fmla="*/ 74 h 119"/>
                <a:gd name="T2" fmla="*/ 39 w 171"/>
                <a:gd name="T3" fmla="*/ 7 h 119"/>
                <a:gd name="T4" fmla="*/ 6 w 171"/>
                <a:gd name="T5" fmla="*/ 15 h 119"/>
                <a:gd name="T6" fmla="*/ 15 w 171"/>
                <a:gd name="T7" fmla="*/ 48 h 119"/>
                <a:gd name="T8" fmla="*/ 131 w 171"/>
                <a:gd name="T9" fmla="*/ 115 h 119"/>
                <a:gd name="T10" fmla="*/ 143 w 171"/>
                <a:gd name="T11" fmla="*/ 119 h 119"/>
                <a:gd name="T12" fmla="*/ 164 w 171"/>
                <a:gd name="T13" fmla="*/ 107 h 119"/>
                <a:gd name="T14" fmla="*/ 155 w 171"/>
                <a:gd name="T15" fmla="*/ 74 h 119"/>
                <a:gd name="T16" fmla="*/ 155 w 171"/>
                <a:gd name="T17" fmla="*/ 74 h 119"/>
                <a:gd name="T18" fmla="*/ 155 w 171"/>
                <a:gd name="T19" fmla="*/ 74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19">
                  <a:moveTo>
                    <a:pt x="155" y="74"/>
                  </a:moveTo>
                  <a:cubicBezTo>
                    <a:pt x="39" y="7"/>
                    <a:pt x="39" y="7"/>
                    <a:pt x="39" y="7"/>
                  </a:cubicBezTo>
                  <a:cubicBezTo>
                    <a:pt x="27" y="0"/>
                    <a:pt x="13" y="4"/>
                    <a:pt x="6" y="15"/>
                  </a:cubicBezTo>
                  <a:cubicBezTo>
                    <a:pt x="0" y="27"/>
                    <a:pt x="3" y="42"/>
                    <a:pt x="15" y="48"/>
                  </a:cubicBezTo>
                  <a:cubicBezTo>
                    <a:pt x="131" y="115"/>
                    <a:pt x="131" y="115"/>
                    <a:pt x="131" y="115"/>
                  </a:cubicBezTo>
                  <a:cubicBezTo>
                    <a:pt x="135" y="118"/>
                    <a:pt x="139" y="119"/>
                    <a:pt x="143" y="119"/>
                  </a:cubicBezTo>
                  <a:cubicBezTo>
                    <a:pt x="152" y="119"/>
                    <a:pt x="160" y="114"/>
                    <a:pt x="164" y="107"/>
                  </a:cubicBezTo>
                  <a:cubicBezTo>
                    <a:pt x="171" y="95"/>
                    <a:pt x="167" y="80"/>
                    <a:pt x="155" y="74"/>
                  </a:cubicBezTo>
                  <a:close/>
                  <a:moveTo>
                    <a:pt x="155" y="74"/>
                  </a:moveTo>
                  <a:cubicBezTo>
                    <a:pt x="155" y="74"/>
                    <a:pt x="155" y="74"/>
                    <a:pt x="155" y="74"/>
                  </a:cubicBezTo>
                </a:path>
              </a:pathLst>
            </a:custGeom>
            <a:solidFill>
              <a:schemeClr val="tx1"/>
            </a:solidFill>
            <a:ln>
              <a:noFill/>
            </a:ln>
          </p:spPr>
          <p:txBody>
            <a:bodyPr vert="horz" wrap="square" lIns="68580" tIns="34290" rIns="68580" bIns="34290" numCol="1" anchor="t" anchorCtr="0" compatLnSpc="1">
              <a:prstTxWarp prst="textNoShape">
                <a:avLst/>
              </a:prstTxWarp>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64" name="Freeform 13">
              <a:extLst>
                <a:ext uri="{FF2B5EF4-FFF2-40B4-BE49-F238E27FC236}">
                  <a16:creationId xmlns:a16="http://schemas.microsoft.com/office/drawing/2014/main" id="{A95AAA41-069B-09E1-CB98-9B20C7D056EC}"/>
                </a:ext>
              </a:extLst>
            </p:cNvPr>
            <p:cNvSpPr>
              <a:spLocks noEditPoints="1"/>
            </p:cNvSpPr>
            <p:nvPr/>
          </p:nvSpPr>
          <p:spPr bwMode="auto">
            <a:xfrm>
              <a:off x="7993726" y="2704613"/>
              <a:ext cx="142311" cy="98999"/>
            </a:xfrm>
            <a:custGeom>
              <a:avLst/>
              <a:gdLst>
                <a:gd name="T0" fmla="*/ 15 w 171"/>
                <a:gd name="T1" fmla="*/ 48 h 118"/>
                <a:gd name="T2" fmla="*/ 132 w 171"/>
                <a:gd name="T3" fmla="*/ 115 h 118"/>
                <a:gd name="T4" fmla="*/ 144 w 171"/>
                <a:gd name="T5" fmla="*/ 118 h 118"/>
                <a:gd name="T6" fmla="*/ 165 w 171"/>
                <a:gd name="T7" fmla="*/ 106 h 118"/>
                <a:gd name="T8" fmla="*/ 156 w 171"/>
                <a:gd name="T9" fmla="*/ 74 h 118"/>
                <a:gd name="T10" fmla="*/ 39 w 171"/>
                <a:gd name="T11" fmla="*/ 6 h 118"/>
                <a:gd name="T12" fmla="*/ 7 w 171"/>
                <a:gd name="T13" fmla="*/ 15 h 118"/>
                <a:gd name="T14" fmla="*/ 15 w 171"/>
                <a:gd name="T15" fmla="*/ 48 h 118"/>
                <a:gd name="T16" fmla="*/ 15 w 171"/>
                <a:gd name="T17" fmla="*/ 48 h 118"/>
                <a:gd name="T18" fmla="*/ 15 w 171"/>
                <a:gd name="T19" fmla="*/ 4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18">
                  <a:moveTo>
                    <a:pt x="15" y="48"/>
                  </a:moveTo>
                  <a:cubicBezTo>
                    <a:pt x="132" y="115"/>
                    <a:pt x="132" y="115"/>
                    <a:pt x="132" y="115"/>
                  </a:cubicBezTo>
                  <a:cubicBezTo>
                    <a:pt x="136" y="117"/>
                    <a:pt x="140" y="118"/>
                    <a:pt x="144" y="118"/>
                  </a:cubicBezTo>
                  <a:cubicBezTo>
                    <a:pt x="152" y="118"/>
                    <a:pt x="160" y="114"/>
                    <a:pt x="165" y="106"/>
                  </a:cubicBezTo>
                  <a:cubicBezTo>
                    <a:pt x="171" y="95"/>
                    <a:pt x="167" y="80"/>
                    <a:pt x="156" y="74"/>
                  </a:cubicBezTo>
                  <a:cubicBezTo>
                    <a:pt x="39" y="6"/>
                    <a:pt x="39" y="6"/>
                    <a:pt x="39" y="6"/>
                  </a:cubicBezTo>
                  <a:cubicBezTo>
                    <a:pt x="28" y="0"/>
                    <a:pt x="13" y="4"/>
                    <a:pt x="7" y="15"/>
                  </a:cubicBezTo>
                  <a:cubicBezTo>
                    <a:pt x="0" y="27"/>
                    <a:pt x="4" y="41"/>
                    <a:pt x="15" y="48"/>
                  </a:cubicBezTo>
                  <a:close/>
                  <a:moveTo>
                    <a:pt x="15" y="48"/>
                  </a:moveTo>
                  <a:cubicBezTo>
                    <a:pt x="15" y="48"/>
                    <a:pt x="15" y="48"/>
                    <a:pt x="15" y="48"/>
                  </a:cubicBezTo>
                </a:path>
              </a:pathLst>
            </a:custGeom>
            <a:solidFill>
              <a:schemeClr val="tx1"/>
            </a:solidFill>
            <a:ln>
              <a:noFill/>
            </a:ln>
          </p:spPr>
          <p:txBody>
            <a:bodyPr vert="horz" wrap="square" lIns="68580" tIns="34290" rIns="68580" bIns="34290" numCol="1" anchor="t" anchorCtr="0" compatLnSpc="1">
              <a:prstTxWarp prst="textNoShape">
                <a:avLst/>
              </a:prstTxWarp>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65" name="Freeform 14">
              <a:extLst>
                <a:ext uri="{FF2B5EF4-FFF2-40B4-BE49-F238E27FC236}">
                  <a16:creationId xmlns:a16="http://schemas.microsoft.com/office/drawing/2014/main" id="{02B7E5E0-9FB7-E8C6-7688-45BB32781F54}"/>
                </a:ext>
              </a:extLst>
            </p:cNvPr>
            <p:cNvSpPr>
              <a:spLocks noEditPoints="1"/>
            </p:cNvSpPr>
            <p:nvPr/>
          </p:nvSpPr>
          <p:spPr bwMode="auto">
            <a:xfrm>
              <a:off x="8782387" y="2949255"/>
              <a:ext cx="152306" cy="40457"/>
            </a:xfrm>
            <a:custGeom>
              <a:avLst/>
              <a:gdLst>
                <a:gd name="T0" fmla="*/ 159 w 183"/>
                <a:gd name="T1" fmla="*/ 0 h 48"/>
                <a:gd name="T2" fmla="*/ 24 w 183"/>
                <a:gd name="T3" fmla="*/ 0 h 48"/>
                <a:gd name="T4" fmla="*/ 0 w 183"/>
                <a:gd name="T5" fmla="*/ 24 h 48"/>
                <a:gd name="T6" fmla="*/ 24 w 183"/>
                <a:gd name="T7" fmla="*/ 48 h 48"/>
                <a:gd name="T8" fmla="*/ 159 w 183"/>
                <a:gd name="T9" fmla="*/ 48 h 48"/>
                <a:gd name="T10" fmla="*/ 183 w 183"/>
                <a:gd name="T11" fmla="*/ 24 h 48"/>
                <a:gd name="T12" fmla="*/ 159 w 183"/>
                <a:gd name="T13" fmla="*/ 0 h 48"/>
                <a:gd name="T14" fmla="*/ 159 w 183"/>
                <a:gd name="T15" fmla="*/ 0 h 48"/>
                <a:gd name="T16" fmla="*/ 159 w 183"/>
                <a:gd name="T17"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3" h="48">
                  <a:moveTo>
                    <a:pt x="159" y="0"/>
                  </a:moveTo>
                  <a:cubicBezTo>
                    <a:pt x="24" y="0"/>
                    <a:pt x="24" y="0"/>
                    <a:pt x="24" y="0"/>
                  </a:cubicBezTo>
                  <a:cubicBezTo>
                    <a:pt x="11" y="0"/>
                    <a:pt x="0" y="11"/>
                    <a:pt x="0" y="24"/>
                  </a:cubicBezTo>
                  <a:cubicBezTo>
                    <a:pt x="0" y="38"/>
                    <a:pt x="11" y="48"/>
                    <a:pt x="24" y="48"/>
                  </a:cubicBezTo>
                  <a:cubicBezTo>
                    <a:pt x="159" y="48"/>
                    <a:pt x="159" y="48"/>
                    <a:pt x="159" y="48"/>
                  </a:cubicBezTo>
                  <a:cubicBezTo>
                    <a:pt x="172" y="48"/>
                    <a:pt x="183" y="38"/>
                    <a:pt x="183" y="24"/>
                  </a:cubicBezTo>
                  <a:cubicBezTo>
                    <a:pt x="183" y="11"/>
                    <a:pt x="172" y="0"/>
                    <a:pt x="159" y="0"/>
                  </a:cubicBezTo>
                  <a:close/>
                  <a:moveTo>
                    <a:pt x="159" y="0"/>
                  </a:moveTo>
                  <a:cubicBezTo>
                    <a:pt x="159" y="0"/>
                    <a:pt x="159" y="0"/>
                    <a:pt x="159" y="0"/>
                  </a:cubicBezTo>
                </a:path>
              </a:pathLst>
            </a:custGeom>
            <a:solidFill>
              <a:schemeClr val="tx1"/>
            </a:solidFill>
            <a:ln>
              <a:noFill/>
            </a:ln>
          </p:spPr>
          <p:txBody>
            <a:bodyPr vert="horz" wrap="square" lIns="68580" tIns="34290" rIns="68580" bIns="34290" numCol="1" anchor="t" anchorCtr="0" compatLnSpc="1">
              <a:prstTxWarp prst="textNoShape">
                <a:avLst/>
              </a:prstTxWarp>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66" name="Freeform 15">
              <a:extLst>
                <a:ext uri="{FF2B5EF4-FFF2-40B4-BE49-F238E27FC236}">
                  <a16:creationId xmlns:a16="http://schemas.microsoft.com/office/drawing/2014/main" id="{015B2335-0947-741D-0615-5C5EAC9CDE37}"/>
                </a:ext>
              </a:extLst>
            </p:cNvPr>
            <p:cNvSpPr>
              <a:spLocks noEditPoints="1"/>
            </p:cNvSpPr>
            <p:nvPr/>
          </p:nvSpPr>
          <p:spPr bwMode="auto">
            <a:xfrm>
              <a:off x="7931851" y="2949255"/>
              <a:ext cx="151355" cy="40457"/>
            </a:xfrm>
            <a:custGeom>
              <a:avLst/>
              <a:gdLst>
                <a:gd name="T0" fmla="*/ 182 w 182"/>
                <a:gd name="T1" fmla="*/ 24 h 48"/>
                <a:gd name="T2" fmla="*/ 158 w 182"/>
                <a:gd name="T3" fmla="*/ 0 h 48"/>
                <a:gd name="T4" fmla="*/ 24 w 182"/>
                <a:gd name="T5" fmla="*/ 0 h 48"/>
                <a:gd name="T6" fmla="*/ 0 w 182"/>
                <a:gd name="T7" fmla="*/ 24 h 48"/>
                <a:gd name="T8" fmla="*/ 24 w 182"/>
                <a:gd name="T9" fmla="*/ 48 h 48"/>
                <a:gd name="T10" fmla="*/ 158 w 182"/>
                <a:gd name="T11" fmla="*/ 48 h 48"/>
                <a:gd name="T12" fmla="*/ 182 w 182"/>
                <a:gd name="T13" fmla="*/ 24 h 48"/>
                <a:gd name="T14" fmla="*/ 182 w 182"/>
                <a:gd name="T15" fmla="*/ 24 h 48"/>
                <a:gd name="T16" fmla="*/ 182 w 182"/>
                <a:gd name="T17"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48">
                  <a:moveTo>
                    <a:pt x="182" y="24"/>
                  </a:moveTo>
                  <a:cubicBezTo>
                    <a:pt x="182" y="11"/>
                    <a:pt x="172" y="0"/>
                    <a:pt x="158" y="0"/>
                  </a:cubicBezTo>
                  <a:cubicBezTo>
                    <a:pt x="24" y="0"/>
                    <a:pt x="24" y="0"/>
                    <a:pt x="24" y="0"/>
                  </a:cubicBezTo>
                  <a:cubicBezTo>
                    <a:pt x="11" y="0"/>
                    <a:pt x="0" y="11"/>
                    <a:pt x="0" y="24"/>
                  </a:cubicBezTo>
                  <a:cubicBezTo>
                    <a:pt x="0" y="38"/>
                    <a:pt x="11" y="48"/>
                    <a:pt x="24" y="48"/>
                  </a:cubicBezTo>
                  <a:cubicBezTo>
                    <a:pt x="158" y="48"/>
                    <a:pt x="158" y="48"/>
                    <a:pt x="158" y="48"/>
                  </a:cubicBezTo>
                  <a:cubicBezTo>
                    <a:pt x="172" y="48"/>
                    <a:pt x="182" y="38"/>
                    <a:pt x="182" y="24"/>
                  </a:cubicBezTo>
                  <a:close/>
                  <a:moveTo>
                    <a:pt x="182" y="24"/>
                  </a:moveTo>
                  <a:cubicBezTo>
                    <a:pt x="182" y="24"/>
                    <a:pt x="182" y="24"/>
                    <a:pt x="182" y="24"/>
                  </a:cubicBezTo>
                </a:path>
              </a:pathLst>
            </a:custGeom>
            <a:solidFill>
              <a:schemeClr val="tx1"/>
            </a:solidFill>
            <a:ln>
              <a:noFill/>
            </a:ln>
          </p:spPr>
          <p:txBody>
            <a:bodyPr vert="horz" wrap="square" lIns="68580" tIns="34290" rIns="68580" bIns="34290" numCol="1" anchor="t" anchorCtr="0" compatLnSpc="1">
              <a:prstTxWarp prst="textNoShape">
                <a:avLst/>
              </a:prstTxWarp>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67" name="Freeform 16">
              <a:extLst>
                <a:ext uri="{FF2B5EF4-FFF2-40B4-BE49-F238E27FC236}">
                  <a16:creationId xmlns:a16="http://schemas.microsoft.com/office/drawing/2014/main" id="{618904E4-AD08-B278-C8FF-E061F77BFAF2}"/>
                </a:ext>
              </a:extLst>
            </p:cNvPr>
            <p:cNvSpPr>
              <a:spLocks noEditPoints="1"/>
            </p:cNvSpPr>
            <p:nvPr/>
          </p:nvSpPr>
          <p:spPr bwMode="auto">
            <a:xfrm>
              <a:off x="8730507" y="2704613"/>
              <a:ext cx="142311" cy="98999"/>
            </a:xfrm>
            <a:custGeom>
              <a:avLst/>
              <a:gdLst>
                <a:gd name="T0" fmla="*/ 27 w 171"/>
                <a:gd name="T1" fmla="*/ 118 h 118"/>
                <a:gd name="T2" fmla="*/ 39 w 171"/>
                <a:gd name="T3" fmla="*/ 115 h 118"/>
                <a:gd name="T4" fmla="*/ 155 w 171"/>
                <a:gd name="T5" fmla="*/ 48 h 118"/>
                <a:gd name="T6" fmla="*/ 164 w 171"/>
                <a:gd name="T7" fmla="*/ 15 h 118"/>
                <a:gd name="T8" fmla="*/ 131 w 171"/>
                <a:gd name="T9" fmla="*/ 6 h 118"/>
                <a:gd name="T10" fmla="*/ 15 w 171"/>
                <a:gd name="T11" fmla="*/ 74 h 118"/>
                <a:gd name="T12" fmla="*/ 6 w 171"/>
                <a:gd name="T13" fmla="*/ 106 h 118"/>
                <a:gd name="T14" fmla="*/ 27 w 171"/>
                <a:gd name="T15" fmla="*/ 118 h 118"/>
                <a:gd name="T16" fmla="*/ 27 w 171"/>
                <a:gd name="T17" fmla="*/ 118 h 118"/>
                <a:gd name="T18" fmla="*/ 27 w 171"/>
                <a:gd name="T19"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18">
                  <a:moveTo>
                    <a:pt x="27" y="118"/>
                  </a:moveTo>
                  <a:cubicBezTo>
                    <a:pt x="31" y="118"/>
                    <a:pt x="35" y="117"/>
                    <a:pt x="39" y="115"/>
                  </a:cubicBezTo>
                  <a:cubicBezTo>
                    <a:pt x="155" y="48"/>
                    <a:pt x="155" y="48"/>
                    <a:pt x="155" y="48"/>
                  </a:cubicBezTo>
                  <a:cubicBezTo>
                    <a:pt x="167" y="41"/>
                    <a:pt x="171" y="27"/>
                    <a:pt x="164" y="15"/>
                  </a:cubicBezTo>
                  <a:cubicBezTo>
                    <a:pt x="157" y="4"/>
                    <a:pt x="143" y="0"/>
                    <a:pt x="131" y="6"/>
                  </a:cubicBezTo>
                  <a:cubicBezTo>
                    <a:pt x="15" y="74"/>
                    <a:pt x="15" y="74"/>
                    <a:pt x="15" y="74"/>
                  </a:cubicBezTo>
                  <a:cubicBezTo>
                    <a:pt x="3" y="80"/>
                    <a:pt x="0" y="95"/>
                    <a:pt x="6" y="106"/>
                  </a:cubicBezTo>
                  <a:cubicBezTo>
                    <a:pt x="11" y="114"/>
                    <a:pt x="19" y="118"/>
                    <a:pt x="27" y="118"/>
                  </a:cubicBezTo>
                  <a:close/>
                  <a:moveTo>
                    <a:pt x="27" y="118"/>
                  </a:moveTo>
                  <a:cubicBezTo>
                    <a:pt x="27" y="118"/>
                    <a:pt x="27" y="118"/>
                    <a:pt x="27" y="118"/>
                  </a:cubicBezTo>
                </a:path>
              </a:pathLst>
            </a:custGeom>
            <a:solidFill>
              <a:schemeClr val="tx1"/>
            </a:solidFill>
            <a:ln>
              <a:noFill/>
            </a:ln>
          </p:spPr>
          <p:txBody>
            <a:bodyPr vert="horz" wrap="square" lIns="68580" tIns="34290" rIns="68580" bIns="34290" numCol="1" anchor="t" anchorCtr="0" compatLnSpc="1">
              <a:prstTxWarp prst="textNoShape">
                <a:avLst/>
              </a:prstTxWarp>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68" name="Freeform 17">
              <a:extLst>
                <a:ext uri="{FF2B5EF4-FFF2-40B4-BE49-F238E27FC236}">
                  <a16:creationId xmlns:a16="http://schemas.microsoft.com/office/drawing/2014/main" id="{3A004467-803E-561E-7D10-4BBECF6DEC6A}"/>
                </a:ext>
              </a:extLst>
            </p:cNvPr>
            <p:cNvSpPr>
              <a:spLocks noEditPoints="1"/>
            </p:cNvSpPr>
            <p:nvPr/>
          </p:nvSpPr>
          <p:spPr bwMode="auto">
            <a:xfrm>
              <a:off x="7993726" y="3132975"/>
              <a:ext cx="142311" cy="99951"/>
            </a:xfrm>
            <a:custGeom>
              <a:avLst/>
              <a:gdLst>
                <a:gd name="T0" fmla="*/ 132 w 171"/>
                <a:gd name="T1" fmla="*/ 7 h 119"/>
                <a:gd name="T2" fmla="*/ 15 w 171"/>
                <a:gd name="T3" fmla="*/ 74 h 119"/>
                <a:gd name="T4" fmla="*/ 7 w 171"/>
                <a:gd name="T5" fmla="*/ 107 h 119"/>
                <a:gd name="T6" fmla="*/ 28 w 171"/>
                <a:gd name="T7" fmla="*/ 119 h 119"/>
                <a:gd name="T8" fmla="*/ 39 w 171"/>
                <a:gd name="T9" fmla="*/ 115 h 119"/>
                <a:gd name="T10" fmla="*/ 156 w 171"/>
                <a:gd name="T11" fmla="*/ 48 h 119"/>
                <a:gd name="T12" fmla="*/ 165 w 171"/>
                <a:gd name="T13" fmla="*/ 15 h 119"/>
                <a:gd name="T14" fmla="*/ 132 w 171"/>
                <a:gd name="T15" fmla="*/ 7 h 119"/>
                <a:gd name="T16" fmla="*/ 132 w 171"/>
                <a:gd name="T17" fmla="*/ 7 h 119"/>
                <a:gd name="T18" fmla="*/ 132 w 171"/>
                <a:gd name="T19" fmla="*/ 7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19">
                  <a:moveTo>
                    <a:pt x="132" y="7"/>
                  </a:moveTo>
                  <a:cubicBezTo>
                    <a:pt x="15" y="74"/>
                    <a:pt x="15" y="74"/>
                    <a:pt x="15" y="74"/>
                  </a:cubicBezTo>
                  <a:cubicBezTo>
                    <a:pt x="4" y="80"/>
                    <a:pt x="0" y="95"/>
                    <a:pt x="7" y="107"/>
                  </a:cubicBezTo>
                  <a:cubicBezTo>
                    <a:pt x="11" y="114"/>
                    <a:pt x="19" y="119"/>
                    <a:pt x="28" y="119"/>
                  </a:cubicBezTo>
                  <a:cubicBezTo>
                    <a:pt x="32" y="119"/>
                    <a:pt x="36" y="118"/>
                    <a:pt x="39" y="115"/>
                  </a:cubicBezTo>
                  <a:cubicBezTo>
                    <a:pt x="156" y="48"/>
                    <a:pt x="156" y="48"/>
                    <a:pt x="156" y="48"/>
                  </a:cubicBezTo>
                  <a:cubicBezTo>
                    <a:pt x="167" y="42"/>
                    <a:pt x="171" y="27"/>
                    <a:pt x="165" y="15"/>
                  </a:cubicBezTo>
                  <a:cubicBezTo>
                    <a:pt x="158" y="4"/>
                    <a:pt x="143" y="0"/>
                    <a:pt x="132" y="7"/>
                  </a:cubicBezTo>
                  <a:close/>
                  <a:moveTo>
                    <a:pt x="132" y="7"/>
                  </a:moveTo>
                  <a:cubicBezTo>
                    <a:pt x="132" y="7"/>
                    <a:pt x="132" y="7"/>
                    <a:pt x="132" y="7"/>
                  </a:cubicBezTo>
                </a:path>
              </a:pathLst>
            </a:custGeom>
            <a:solidFill>
              <a:schemeClr val="tx1"/>
            </a:solidFill>
            <a:ln>
              <a:noFill/>
            </a:ln>
          </p:spPr>
          <p:txBody>
            <a:bodyPr vert="horz" wrap="square" lIns="68580" tIns="34290" rIns="68580" bIns="34290" numCol="1" anchor="t" anchorCtr="0" compatLnSpc="1">
              <a:prstTxWarp prst="textNoShape">
                <a:avLst/>
              </a:prstTxWarp>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69" name="Freeform 18">
              <a:extLst>
                <a:ext uri="{FF2B5EF4-FFF2-40B4-BE49-F238E27FC236}">
                  <a16:creationId xmlns:a16="http://schemas.microsoft.com/office/drawing/2014/main" id="{94EABD48-18B7-A506-5FB7-0ECFD253B74C}"/>
                </a:ext>
              </a:extLst>
            </p:cNvPr>
            <p:cNvSpPr>
              <a:spLocks noEditPoints="1"/>
            </p:cNvSpPr>
            <p:nvPr/>
          </p:nvSpPr>
          <p:spPr bwMode="auto">
            <a:xfrm>
              <a:off x="8595336" y="2526606"/>
              <a:ext cx="101379" cy="140883"/>
            </a:xfrm>
            <a:custGeom>
              <a:avLst/>
              <a:gdLst>
                <a:gd name="T0" fmla="*/ 15 w 122"/>
                <a:gd name="T1" fmla="*/ 165 h 168"/>
                <a:gd name="T2" fmla="*/ 27 w 122"/>
                <a:gd name="T3" fmla="*/ 168 h 168"/>
                <a:gd name="T4" fmla="*/ 48 w 122"/>
                <a:gd name="T5" fmla="*/ 156 h 168"/>
                <a:gd name="T6" fmla="*/ 115 w 122"/>
                <a:gd name="T7" fmla="*/ 39 h 168"/>
                <a:gd name="T8" fmla="*/ 107 w 122"/>
                <a:gd name="T9" fmla="*/ 7 h 168"/>
                <a:gd name="T10" fmla="*/ 74 w 122"/>
                <a:gd name="T11" fmla="*/ 15 h 168"/>
                <a:gd name="T12" fmla="*/ 7 w 122"/>
                <a:gd name="T13" fmla="*/ 132 h 168"/>
                <a:gd name="T14" fmla="*/ 15 w 122"/>
                <a:gd name="T15" fmla="*/ 165 h 168"/>
                <a:gd name="T16" fmla="*/ 15 w 122"/>
                <a:gd name="T17" fmla="*/ 165 h 168"/>
                <a:gd name="T18" fmla="*/ 15 w 122"/>
                <a:gd name="T19" fmla="*/ 165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2" h="168">
                  <a:moveTo>
                    <a:pt x="15" y="165"/>
                  </a:moveTo>
                  <a:cubicBezTo>
                    <a:pt x="19" y="167"/>
                    <a:pt x="23" y="168"/>
                    <a:pt x="27" y="168"/>
                  </a:cubicBezTo>
                  <a:cubicBezTo>
                    <a:pt x="36" y="168"/>
                    <a:pt x="44" y="164"/>
                    <a:pt x="48" y="156"/>
                  </a:cubicBezTo>
                  <a:cubicBezTo>
                    <a:pt x="115" y="39"/>
                    <a:pt x="115" y="39"/>
                    <a:pt x="115" y="39"/>
                  </a:cubicBezTo>
                  <a:cubicBezTo>
                    <a:pt x="122" y="28"/>
                    <a:pt x="118" y="13"/>
                    <a:pt x="107" y="7"/>
                  </a:cubicBezTo>
                  <a:cubicBezTo>
                    <a:pt x="95" y="0"/>
                    <a:pt x="80" y="4"/>
                    <a:pt x="74" y="15"/>
                  </a:cubicBezTo>
                  <a:cubicBezTo>
                    <a:pt x="7" y="132"/>
                    <a:pt x="7" y="132"/>
                    <a:pt x="7" y="132"/>
                  </a:cubicBezTo>
                  <a:cubicBezTo>
                    <a:pt x="0" y="143"/>
                    <a:pt x="4" y="158"/>
                    <a:pt x="15" y="165"/>
                  </a:cubicBezTo>
                  <a:close/>
                  <a:moveTo>
                    <a:pt x="15" y="165"/>
                  </a:moveTo>
                  <a:cubicBezTo>
                    <a:pt x="15" y="165"/>
                    <a:pt x="15" y="165"/>
                    <a:pt x="15" y="165"/>
                  </a:cubicBezTo>
                </a:path>
              </a:pathLst>
            </a:custGeom>
            <a:solidFill>
              <a:schemeClr val="tx1"/>
            </a:solidFill>
            <a:ln>
              <a:noFill/>
            </a:ln>
          </p:spPr>
          <p:txBody>
            <a:bodyPr vert="horz" wrap="square" lIns="68580" tIns="34290" rIns="68580" bIns="34290" numCol="1" anchor="t" anchorCtr="0" compatLnSpc="1">
              <a:prstTxWarp prst="textNoShape">
                <a:avLst/>
              </a:prstTxWarp>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282F39"/>
                </a:solidFill>
                <a:effectLst/>
                <a:uLnTx/>
                <a:uFillTx/>
                <a:latin typeface="Calibri" panose="020F0502020204030204"/>
                <a:ea typeface="+mn-ea"/>
                <a:cs typeface="+mn-cs"/>
              </a:endParaRPr>
            </a:p>
          </p:txBody>
        </p:sp>
      </p:grpSp>
      <p:sp>
        <p:nvSpPr>
          <p:cNvPr id="80" name="Google Shape;1206;p42">
            <a:extLst>
              <a:ext uri="{FF2B5EF4-FFF2-40B4-BE49-F238E27FC236}">
                <a16:creationId xmlns:a16="http://schemas.microsoft.com/office/drawing/2014/main" id="{62A0125B-283E-127D-8B7C-7C09CCCAA4AB}"/>
              </a:ext>
            </a:extLst>
          </p:cNvPr>
          <p:cNvSpPr txBox="1">
            <a:spLocks noGrp="1"/>
          </p:cNvSpPr>
          <p:nvPr>
            <p:ph type="title"/>
          </p:nvPr>
        </p:nvSpPr>
        <p:spPr>
          <a:xfrm>
            <a:off x="689339" y="115089"/>
            <a:ext cx="7765321" cy="994741"/>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Machine learning modelling</a:t>
            </a:r>
            <a:endParaRPr/>
          </a:p>
        </p:txBody>
      </p:sp>
      <p:sp>
        <p:nvSpPr>
          <p:cNvPr id="81" name="Star: 4 Points 80">
            <a:extLst>
              <a:ext uri="{FF2B5EF4-FFF2-40B4-BE49-F238E27FC236}">
                <a16:creationId xmlns:a16="http://schemas.microsoft.com/office/drawing/2014/main" id="{3850F840-B82A-B763-5AC1-D5101808EAC7}"/>
              </a:ext>
            </a:extLst>
          </p:cNvPr>
          <p:cNvSpPr/>
          <p:nvPr/>
        </p:nvSpPr>
        <p:spPr>
          <a:xfrm>
            <a:off x="8601136" y="1955323"/>
            <a:ext cx="345819" cy="265997"/>
          </a:xfrm>
          <a:prstGeom prst="star4">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83" name="Star: 4 Points 82">
            <a:extLst>
              <a:ext uri="{FF2B5EF4-FFF2-40B4-BE49-F238E27FC236}">
                <a16:creationId xmlns:a16="http://schemas.microsoft.com/office/drawing/2014/main" id="{A9D8F088-DB0F-F1C9-2DCC-1C46556FDB50}"/>
              </a:ext>
            </a:extLst>
          </p:cNvPr>
          <p:cNvSpPr/>
          <p:nvPr/>
        </p:nvSpPr>
        <p:spPr>
          <a:xfrm>
            <a:off x="7719037" y="2679890"/>
            <a:ext cx="345819" cy="265997"/>
          </a:xfrm>
          <a:prstGeom prst="star4">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85" name="Star: 4 Points 84">
            <a:extLst>
              <a:ext uri="{FF2B5EF4-FFF2-40B4-BE49-F238E27FC236}">
                <a16:creationId xmlns:a16="http://schemas.microsoft.com/office/drawing/2014/main" id="{98C62BB2-D688-3736-D341-E8B614EC3474}"/>
              </a:ext>
            </a:extLst>
          </p:cNvPr>
          <p:cNvSpPr/>
          <p:nvPr/>
        </p:nvSpPr>
        <p:spPr>
          <a:xfrm>
            <a:off x="8637771" y="2965506"/>
            <a:ext cx="345819" cy="265997"/>
          </a:xfrm>
          <a:prstGeom prst="star4">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28034566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989"/>
        <p:cNvGrpSpPr/>
        <p:nvPr/>
      </p:nvGrpSpPr>
      <p:grpSpPr>
        <a:xfrm>
          <a:off x="0" y="0"/>
          <a:ext cx="0" cy="0"/>
          <a:chOff x="0" y="0"/>
          <a:chExt cx="0" cy="0"/>
        </a:xfrm>
      </p:grpSpPr>
      <p:sp>
        <p:nvSpPr>
          <p:cNvPr id="990" name="Google Shape;990;p40"/>
          <p:cNvSpPr txBox="1">
            <a:spLocks noGrp="1"/>
          </p:cNvSpPr>
          <p:nvPr>
            <p:ph type="title"/>
          </p:nvPr>
        </p:nvSpPr>
        <p:spPr>
          <a:xfrm>
            <a:off x="713225" y="186393"/>
            <a:ext cx="7736700" cy="572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US">
                <a:solidFill>
                  <a:schemeClr val="tx1"/>
                </a:solidFill>
              </a:rPr>
              <a:t>BUSINESS THRESHOLD </a:t>
            </a:r>
            <a:br>
              <a:rPr lang="en-US">
                <a:solidFill>
                  <a:schemeClr val="tx1"/>
                </a:solidFill>
              </a:rPr>
            </a:br>
            <a:r>
              <a:rPr lang="en-US">
                <a:solidFill>
                  <a:schemeClr val="tx1"/>
                </a:solidFill>
              </a:rPr>
              <a:t>DECISION TREE MODEL</a:t>
            </a:r>
          </a:p>
        </p:txBody>
      </p:sp>
      <p:sp>
        <p:nvSpPr>
          <p:cNvPr id="991" name="Google Shape;991;p40"/>
          <p:cNvSpPr/>
          <p:nvPr/>
        </p:nvSpPr>
        <p:spPr>
          <a:xfrm>
            <a:off x="713225" y="1292103"/>
            <a:ext cx="3646200" cy="1687800"/>
          </a:xfrm>
          <a:prstGeom prst="roundRect">
            <a:avLst>
              <a:gd name="adj" fmla="val 5263"/>
            </a:avLst>
          </a:prstGeom>
          <a:noFill/>
          <a:ln w="19050" cap="flat" cmpd="sng">
            <a:solidFill>
              <a:srgbClr val="7BD9C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 name="Google Shape;992;p40"/>
          <p:cNvSpPr/>
          <p:nvPr/>
        </p:nvSpPr>
        <p:spPr>
          <a:xfrm>
            <a:off x="713325" y="3079928"/>
            <a:ext cx="3646200" cy="1687800"/>
          </a:xfrm>
          <a:prstGeom prst="roundRect">
            <a:avLst>
              <a:gd name="adj" fmla="val 5263"/>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 name="Google Shape;993;p40"/>
          <p:cNvSpPr/>
          <p:nvPr/>
        </p:nvSpPr>
        <p:spPr>
          <a:xfrm>
            <a:off x="4794524" y="1270578"/>
            <a:ext cx="3646200" cy="1687800"/>
          </a:xfrm>
          <a:prstGeom prst="roundRect">
            <a:avLst>
              <a:gd name="adj" fmla="val 3710"/>
            </a:avLst>
          </a:prstGeom>
          <a:noFill/>
          <a:ln w="19050" cap="flat" cmpd="sng">
            <a:solidFill>
              <a:srgbClr val="2FC09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 name="Google Shape;994;p40"/>
          <p:cNvSpPr/>
          <p:nvPr/>
        </p:nvSpPr>
        <p:spPr>
          <a:xfrm>
            <a:off x="4794524" y="3058403"/>
            <a:ext cx="3646200" cy="1687800"/>
          </a:xfrm>
          <a:prstGeom prst="roundRect">
            <a:avLst>
              <a:gd name="adj" fmla="val 6340"/>
            </a:avLst>
          </a:prstGeom>
          <a:noFill/>
          <a:ln w="19050" cap="flat" cmpd="sng">
            <a:solidFill>
              <a:schemeClr val="accent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 name="Google Shape;996;p40"/>
          <p:cNvSpPr txBox="1"/>
          <p:nvPr/>
        </p:nvSpPr>
        <p:spPr>
          <a:xfrm>
            <a:off x="4912240" y="3688703"/>
            <a:ext cx="3318156" cy="746700"/>
          </a:xfrm>
          <a:prstGeom prst="rect">
            <a:avLst/>
          </a:prstGeom>
          <a:noFill/>
          <a:ln>
            <a:noFill/>
          </a:ln>
        </p:spPr>
        <p:txBody>
          <a:bodyPr spcFirstLastPara="1" wrap="square" lIns="91425" tIns="91425" rIns="91425" bIns="91425" anchor="t" anchorCtr="0">
            <a:noAutofit/>
          </a:bodyPr>
          <a:lstStyle/>
          <a:p>
            <a:pPr marL="0" lvl="0" indent="0" algn="ctr" rtl="0">
              <a:lnSpc>
                <a:spcPct val="100000"/>
              </a:lnSpc>
              <a:spcBef>
                <a:spcPts val="0"/>
              </a:spcBef>
              <a:spcAft>
                <a:spcPts val="0"/>
              </a:spcAft>
              <a:buNone/>
            </a:pPr>
            <a:r>
              <a:rPr lang="en-US">
                <a:solidFill>
                  <a:schemeClr val="lt1"/>
                </a:solidFill>
                <a:latin typeface="Source Sans Pro"/>
                <a:ea typeface="Source Sans Pro"/>
                <a:cs typeface="Source Sans Pro"/>
                <a:sym typeface="Source Sans Pro"/>
              </a:rPr>
              <a:t>Balanced Precision, Recall, </a:t>
            </a:r>
            <a:br>
              <a:rPr lang="en-US">
                <a:solidFill>
                  <a:schemeClr val="lt1"/>
                </a:solidFill>
                <a:latin typeface="Source Sans Pro"/>
                <a:ea typeface="Source Sans Pro"/>
                <a:cs typeface="Source Sans Pro"/>
                <a:sym typeface="Source Sans Pro"/>
              </a:rPr>
            </a:br>
            <a:r>
              <a:rPr lang="en-US">
                <a:solidFill>
                  <a:schemeClr val="lt1"/>
                </a:solidFill>
                <a:latin typeface="Source Sans Pro"/>
                <a:ea typeface="Source Sans Pro"/>
                <a:cs typeface="Source Sans Pro"/>
                <a:sym typeface="Source Sans Pro"/>
              </a:rPr>
              <a:t>and F1-Score</a:t>
            </a:r>
          </a:p>
        </p:txBody>
      </p:sp>
      <p:sp>
        <p:nvSpPr>
          <p:cNvPr id="997" name="Google Shape;997;p40"/>
          <p:cNvSpPr txBox="1"/>
          <p:nvPr/>
        </p:nvSpPr>
        <p:spPr>
          <a:xfrm>
            <a:off x="5553751" y="3278763"/>
            <a:ext cx="2124900" cy="382200"/>
          </a:xfrm>
          <a:prstGeom prst="rect">
            <a:avLst/>
          </a:prstGeom>
          <a:noFill/>
          <a:ln>
            <a:noFill/>
          </a:ln>
        </p:spPr>
        <p:txBody>
          <a:bodyPr spcFirstLastPara="1" wrap="square" lIns="91425" tIns="91425" rIns="91425" bIns="91425" anchor="t" anchorCtr="0">
            <a:noAutofit/>
          </a:bodyPr>
          <a:lstStyle/>
          <a:p>
            <a:pPr marL="0" lvl="0" indent="0" algn="r" rtl="0">
              <a:lnSpc>
                <a:spcPct val="115000"/>
              </a:lnSpc>
              <a:spcBef>
                <a:spcPts val="0"/>
              </a:spcBef>
              <a:spcAft>
                <a:spcPts val="1600"/>
              </a:spcAft>
              <a:buNone/>
            </a:pPr>
            <a:r>
              <a:rPr lang="it-IT" b="1">
                <a:solidFill>
                  <a:srgbClr val="FFFFFF"/>
                </a:solidFill>
                <a:latin typeface="Hammersmith One"/>
                <a:ea typeface="Hammersmith One"/>
                <a:cs typeface="Hammersmith One"/>
                <a:sym typeface="Hammersmith One"/>
              </a:rPr>
              <a:t>Yes Transactions</a:t>
            </a:r>
          </a:p>
        </p:txBody>
      </p:sp>
      <p:sp>
        <p:nvSpPr>
          <p:cNvPr id="999" name="Google Shape;999;p40"/>
          <p:cNvSpPr txBox="1"/>
          <p:nvPr/>
        </p:nvSpPr>
        <p:spPr>
          <a:xfrm>
            <a:off x="1256796" y="3306755"/>
            <a:ext cx="2343300" cy="382200"/>
          </a:xfrm>
          <a:prstGeom prst="rect">
            <a:avLst/>
          </a:prstGeom>
          <a:noFill/>
          <a:ln>
            <a:noFill/>
          </a:ln>
        </p:spPr>
        <p:txBody>
          <a:bodyPr spcFirstLastPara="1" wrap="square" lIns="91425" tIns="91425" rIns="91425" bIns="91425" anchor="t" anchorCtr="0">
            <a:noAutofit/>
          </a:bodyPr>
          <a:lstStyle/>
          <a:p>
            <a:pPr marL="0" lvl="0" indent="0" algn="ctr" rtl="0">
              <a:lnSpc>
                <a:spcPct val="115000"/>
              </a:lnSpc>
              <a:spcBef>
                <a:spcPts val="0"/>
              </a:spcBef>
              <a:spcAft>
                <a:spcPts val="1600"/>
              </a:spcAft>
              <a:buNone/>
            </a:pPr>
            <a:r>
              <a:rPr lang="it-IT" sz="1800" b="1">
                <a:solidFill>
                  <a:srgbClr val="FFFFFF"/>
                </a:solidFill>
                <a:latin typeface="Hammersmith One"/>
                <a:ea typeface="Hammersmith One"/>
                <a:cs typeface="Hammersmith One"/>
                <a:sym typeface="Hammersmith One"/>
              </a:rPr>
              <a:t>No Transactions</a:t>
            </a:r>
          </a:p>
        </p:txBody>
      </p:sp>
      <p:sp>
        <p:nvSpPr>
          <p:cNvPr id="1000" name="Google Shape;1000;p40"/>
          <p:cNvSpPr txBox="1"/>
          <p:nvPr/>
        </p:nvSpPr>
        <p:spPr>
          <a:xfrm>
            <a:off x="825854" y="3788980"/>
            <a:ext cx="3420941" cy="746700"/>
          </a:xfrm>
          <a:prstGeom prst="rect">
            <a:avLst/>
          </a:prstGeom>
          <a:noFill/>
          <a:ln>
            <a:noFill/>
          </a:ln>
        </p:spPr>
        <p:txBody>
          <a:bodyPr spcFirstLastPara="1" wrap="square" lIns="91425" tIns="91425" rIns="91425" bIns="91425" anchor="t" anchorCtr="0">
            <a:noAutofit/>
          </a:bodyPr>
          <a:lstStyle/>
          <a:p>
            <a:pPr marL="0" lvl="0" indent="0" algn="ctr" rtl="0">
              <a:lnSpc>
                <a:spcPct val="100000"/>
              </a:lnSpc>
              <a:spcBef>
                <a:spcPts val="0"/>
              </a:spcBef>
              <a:spcAft>
                <a:spcPts val="0"/>
              </a:spcAft>
              <a:buNone/>
            </a:pPr>
            <a:r>
              <a:rPr lang="en-US">
                <a:solidFill>
                  <a:schemeClr val="lt1"/>
                </a:solidFill>
                <a:latin typeface="Source Sans Pro"/>
                <a:ea typeface="Source Sans Pro"/>
                <a:cs typeface="Source Sans Pro"/>
                <a:sym typeface="Source Sans Pro"/>
              </a:rPr>
              <a:t>Very High Precision, Recall, </a:t>
            </a:r>
            <a:br>
              <a:rPr lang="en-US">
                <a:solidFill>
                  <a:schemeClr val="lt1"/>
                </a:solidFill>
                <a:latin typeface="Source Sans Pro"/>
                <a:ea typeface="Source Sans Pro"/>
                <a:cs typeface="Source Sans Pro"/>
                <a:sym typeface="Source Sans Pro"/>
              </a:rPr>
            </a:br>
            <a:r>
              <a:rPr lang="en-US">
                <a:solidFill>
                  <a:schemeClr val="lt1"/>
                </a:solidFill>
                <a:latin typeface="Source Sans Pro"/>
                <a:ea typeface="Source Sans Pro"/>
                <a:cs typeface="Source Sans Pro"/>
                <a:sym typeface="Source Sans Pro"/>
              </a:rPr>
              <a:t>and F1-Score</a:t>
            </a:r>
          </a:p>
        </p:txBody>
      </p:sp>
      <p:sp>
        <p:nvSpPr>
          <p:cNvPr id="1001" name="Google Shape;1001;p40"/>
          <p:cNvSpPr txBox="1"/>
          <p:nvPr/>
        </p:nvSpPr>
        <p:spPr>
          <a:xfrm>
            <a:off x="969144" y="1518773"/>
            <a:ext cx="3318035" cy="424440"/>
          </a:xfrm>
          <a:prstGeom prst="rect">
            <a:avLst/>
          </a:prstGeom>
          <a:noFill/>
          <a:ln>
            <a:noFill/>
          </a:ln>
        </p:spPr>
        <p:txBody>
          <a:bodyPr spcFirstLastPara="1" wrap="square" lIns="91425" tIns="91425" rIns="91425" bIns="91425" anchor="t" anchorCtr="0">
            <a:noAutofit/>
          </a:bodyPr>
          <a:lstStyle/>
          <a:p>
            <a:pPr marL="0" lvl="0" indent="0" algn="ctr" rtl="0">
              <a:lnSpc>
                <a:spcPct val="115000"/>
              </a:lnSpc>
              <a:spcBef>
                <a:spcPts val="0"/>
              </a:spcBef>
              <a:spcAft>
                <a:spcPts val="1600"/>
              </a:spcAft>
              <a:buNone/>
            </a:pPr>
            <a:r>
              <a:rPr lang="en-US" sz="1800" b="1">
                <a:solidFill>
                  <a:srgbClr val="FFFFFF"/>
                </a:solidFill>
                <a:latin typeface="Hammersmith One"/>
                <a:ea typeface="Hammersmith One"/>
                <a:cs typeface="Hammersmith One"/>
                <a:sym typeface="Hammersmith One"/>
              </a:rPr>
              <a:t>7 Variables Used to Predict</a:t>
            </a:r>
          </a:p>
        </p:txBody>
      </p:sp>
      <p:sp>
        <p:nvSpPr>
          <p:cNvPr id="1002" name="Google Shape;1002;p40"/>
          <p:cNvSpPr txBox="1"/>
          <p:nvPr/>
        </p:nvSpPr>
        <p:spPr>
          <a:xfrm>
            <a:off x="753811" y="1906908"/>
            <a:ext cx="2017639" cy="1014340"/>
          </a:xfrm>
          <a:prstGeom prst="rect">
            <a:avLst/>
          </a:prstGeom>
          <a:noFill/>
          <a:ln>
            <a:noFill/>
          </a:ln>
        </p:spPr>
        <p:txBody>
          <a:bodyPr spcFirstLastPara="1" wrap="square" lIns="91425" tIns="91425" rIns="91425" bIns="91425" anchor="t" anchorCtr="0">
            <a:noAutofit/>
          </a:bodyPr>
          <a:lstStyle/>
          <a:p>
            <a:pPr marL="0" lvl="0" indent="0" rtl="0">
              <a:spcBef>
                <a:spcPts val="0"/>
              </a:spcBef>
              <a:spcAft>
                <a:spcPts val="0"/>
              </a:spcAft>
              <a:buNone/>
            </a:pPr>
            <a:r>
              <a:rPr lang="it-IT" sz="1200">
                <a:solidFill>
                  <a:schemeClr val="lt1"/>
                </a:solidFill>
                <a:latin typeface="Source Sans Pro"/>
                <a:ea typeface="Source Sans Pro"/>
                <a:cs typeface="Source Sans Pro"/>
                <a:sym typeface="Source Sans Pro"/>
              </a:rPr>
              <a:t>1) Page Values</a:t>
            </a:r>
            <a:br>
              <a:rPr lang="it-IT" sz="1200">
                <a:solidFill>
                  <a:schemeClr val="lt1"/>
                </a:solidFill>
                <a:latin typeface="Source Sans Pro"/>
                <a:ea typeface="Source Sans Pro"/>
                <a:cs typeface="Source Sans Pro"/>
                <a:sym typeface="Source Sans Pro"/>
              </a:rPr>
            </a:br>
            <a:r>
              <a:rPr lang="it-IT" sz="1200">
                <a:solidFill>
                  <a:schemeClr val="lt1"/>
                </a:solidFill>
                <a:latin typeface="Source Sans Pro"/>
                <a:ea typeface="Source Sans Pro"/>
                <a:cs typeface="Source Sans Pro"/>
                <a:sym typeface="Source Sans Pro"/>
              </a:rPr>
              <a:t>2) Exit Rates</a:t>
            </a:r>
          </a:p>
          <a:p>
            <a:pPr marL="0" lvl="0" indent="0" rtl="0">
              <a:spcBef>
                <a:spcPts val="0"/>
              </a:spcBef>
              <a:spcAft>
                <a:spcPts val="0"/>
              </a:spcAft>
              <a:buNone/>
            </a:pPr>
            <a:r>
              <a:rPr lang="it-IT" sz="1200">
                <a:solidFill>
                  <a:schemeClr val="lt1"/>
                </a:solidFill>
                <a:latin typeface="Source Sans Pro"/>
                <a:ea typeface="Source Sans Pro"/>
                <a:cs typeface="Source Sans Pro"/>
                <a:sym typeface="Source Sans Pro"/>
              </a:rPr>
              <a:t>3) Product Related Duration</a:t>
            </a:r>
          </a:p>
          <a:p>
            <a:pPr marL="0" lvl="0" indent="0" rtl="0">
              <a:spcBef>
                <a:spcPts val="0"/>
              </a:spcBef>
              <a:spcAft>
                <a:spcPts val="0"/>
              </a:spcAft>
              <a:buNone/>
            </a:pPr>
            <a:r>
              <a:rPr lang="it-IT" sz="1200">
                <a:solidFill>
                  <a:schemeClr val="lt1"/>
                </a:solidFill>
                <a:latin typeface="Source Sans Pro"/>
                <a:ea typeface="Source Sans Pro"/>
                <a:cs typeface="Source Sans Pro"/>
                <a:sym typeface="Source Sans Pro"/>
              </a:rPr>
              <a:t>4) Visitor Type Status</a:t>
            </a:r>
          </a:p>
        </p:txBody>
      </p:sp>
      <p:grpSp>
        <p:nvGrpSpPr>
          <p:cNvPr id="1003" name="Google Shape;1003;p40"/>
          <p:cNvGrpSpPr/>
          <p:nvPr/>
        </p:nvGrpSpPr>
        <p:grpSpPr>
          <a:xfrm>
            <a:off x="3834600" y="2264003"/>
            <a:ext cx="1474800" cy="1474800"/>
            <a:chOff x="3834600" y="2118225"/>
            <a:chExt cx="1474800" cy="1474800"/>
          </a:xfrm>
        </p:grpSpPr>
        <p:sp>
          <p:nvSpPr>
            <p:cNvPr id="1004" name="Google Shape;1004;p40"/>
            <p:cNvSpPr/>
            <p:nvPr/>
          </p:nvSpPr>
          <p:spPr>
            <a:xfrm>
              <a:off x="3834600" y="2118225"/>
              <a:ext cx="1474800" cy="1474800"/>
            </a:xfrm>
            <a:prstGeom prst="ellipse">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 name="Google Shape;1005;p40"/>
            <p:cNvSpPr/>
            <p:nvPr/>
          </p:nvSpPr>
          <p:spPr>
            <a:xfrm>
              <a:off x="3932450" y="2216075"/>
              <a:ext cx="1279200" cy="1279200"/>
            </a:xfrm>
            <a:prstGeom prst="ellipse">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 name="Google Shape;1006;p40"/>
            <p:cNvSpPr/>
            <p:nvPr/>
          </p:nvSpPr>
          <p:spPr>
            <a:xfrm>
              <a:off x="4325516" y="2616789"/>
              <a:ext cx="492984" cy="491645"/>
            </a:xfrm>
            <a:custGeom>
              <a:avLst/>
              <a:gdLst/>
              <a:ahLst/>
              <a:cxnLst/>
              <a:rect l="l" t="t" r="r" b="b"/>
              <a:pathLst>
                <a:path w="11784" h="11752" extrusionOk="0">
                  <a:moveTo>
                    <a:pt x="1040" y="0"/>
                  </a:moveTo>
                  <a:cubicBezTo>
                    <a:pt x="441" y="0"/>
                    <a:pt x="0" y="473"/>
                    <a:pt x="0" y="1040"/>
                  </a:cubicBezTo>
                  <a:cubicBezTo>
                    <a:pt x="0" y="1639"/>
                    <a:pt x="473" y="2048"/>
                    <a:pt x="1040" y="2048"/>
                  </a:cubicBezTo>
                  <a:lnTo>
                    <a:pt x="1386" y="2048"/>
                  </a:lnTo>
                  <a:lnTo>
                    <a:pt x="1386" y="2426"/>
                  </a:lnTo>
                  <a:cubicBezTo>
                    <a:pt x="1386" y="2993"/>
                    <a:pt x="1859" y="3434"/>
                    <a:pt x="2426" y="3434"/>
                  </a:cubicBezTo>
                  <a:lnTo>
                    <a:pt x="5577" y="3434"/>
                  </a:lnTo>
                  <a:lnTo>
                    <a:pt x="5577" y="4159"/>
                  </a:lnTo>
                  <a:lnTo>
                    <a:pt x="4537" y="4159"/>
                  </a:lnTo>
                  <a:cubicBezTo>
                    <a:pt x="3938" y="4159"/>
                    <a:pt x="3466" y="4632"/>
                    <a:pt x="3466" y="5167"/>
                  </a:cubicBezTo>
                  <a:lnTo>
                    <a:pt x="3466" y="6585"/>
                  </a:lnTo>
                  <a:cubicBezTo>
                    <a:pt x="3466" y="7183"/>
                    <a:pt x="3938" y="7625"/>
                    <a:pt x="4537" y="7625"/>
                  </a:cubicBezTo>
                  <a:lnTo>
                    <a:pt x="5577" y="7625"/>
                  </a:lnTo>
                  <a:lnTo>
                    <a:pt x="5577" y="8318"/>
                  </a:lnTo>
                  <a:lnTo>
                    <a:pt x="2426" y="8318"/>
                  </a:lnTo>
                  <a:cubicBezTo>
                    <a:pt x="1828" y="8318"/>
                    <a:pt x="1386" y="8790"/>
                    <a:pt x="1386" y="9357"/>
                  </a:cubicBezTo>
                  <a:lnTo>
                    <a:pt x="1386" y="9704"/>
                  </a:lnTo>
                  <a:lnTo>
                    <a:pt x="1040" y="9704"/>
                  </a:lnTo>
                  <a:cubicBezTo>
                    <a:pt x="441" y="9704"/>
                    <a:pt x="0" y="10176"/>
                    <a:pt x="0" y="10744"/>
                  </a:cubicBezTo>
                  <a:cubicBezTo>
                    <a:pt x="0" y="11311"/>
                    <a:pt x="473" y="11752"/>
                    <a:pt x="1040" y="11752"/>
                  </a:cubicBezTo>
                  <a:lnTo>
                    <a:pt x="2426" y="11752"/>
                  </a:lnTo>
                  <a:cubicBezTo>
                    <a:pt x="2993" y="11752"/>
                    <a:pt x="3434" y="11279"/>
                    <a:pt x="3434" y="10744"/>
                  </a:cubicBezTo>
                  <a:cubicBezTo>
                    <a:pt x="3434" y="10145"/>
                    <a:pt x="2962" y="9704"/>
                    <a:pt x="2426" y="9704"/>
                  </a:cubicBezTo>
                  <a:lnTo>
                    <a:pt x="2048" y="9704"/>
                  </a:lnTo>
                  <a:lnTo>
                    <a:pt x="2048" y="9357"/>
                  </a:lnTo>
                  <a:cubicBezTo>
                    <a:pt x="2048" y="9168"/>
                    <a:pt x="2206" y="9011"/>
                    <a:pt x="2426" y="9011"/>
                  </a:cubicBezTo>
                  <a:lnTo>
                    <a:pt x="5577" y="9011"/>
                  </a:lnTo>
                  <a:lnTo>
                    <a:pt x="5577" y="9704"/>
                  </a:lnTo>
                  <a:lnTo>
                    <a:pt x="5199" y="9704"/>
                  </a:lnTo>
                  <a:cubicBezTo>
                    <a:pt x="4631" y="9704"/>
                    <a:pt x="4190" y="10176"/>
                    <a:pt x="4190" y="10744"/>
                  </a:cubicBezTo>
                  <a:cubicBezTo>
                    <a:pt x="4190" y="11311"/>
                    <a:pt x="4663" y="11752"/>
                    <a:pt x="5199" y="11752"/>
                  </a:cubicBezTo>
                  <a:lnTo>
                    <a:pt x="6585" y="11752"/>
                  </a:lnTo>
                  <a:cubicBezTo>
                    <a:pt x="7183" y="11752"/>
                    <a:pt x="7593" y="11279"/>
                    <a:pt x="7593" y="10744"/>
                  </a:cubicBezTo>
                  <a:cubicBezTo>
                    <a:pt x="7593" y="10145"/>
                    <a:pt x="7120" y="9704"/>
                    <a:pt x="6585" y="9704"/>
                  </a:cubicBezTo>
                  <a:lnTo>
                    <a:pt x="6238" y="9704"/>
                  </a:lnTo>
                  <a:lnTo>
                    <a:pt x="6238" y="9011"/>
                  </a:lnTo>
                  <a:lnTo>
                    <a:pt x="9389" y="9011"/>
                  </a:lnTo>
                  <a:cubicBezTo>
                    <a:pt x="9578" y="9011"/>
                    <a:pt x="9735" y="9168"/>
                    <a:pt x="9735" y="9357"/>
                  </a:cubicBezTo>
                  <a:lnTo>
                    <a:pt x="9735" y="9704"/>
                  </a:lnTo>
                  <a:lnTo>
                    <a:pt x="9389" y="9704"/>
                  </a:lnTo>
                  <a:cubicBezTo>
                    <a:pt x="8790" y="9704"/>
                    <a:pt x="8349" y="10176"/>
                    <a:pt x="8349" y="10744"/>
                  </a:cubicBezTo>
                  <a:cubicBezTo>
                    <a:pt x="8349" y="11311"/>
                    <a:pt x="8822" y="11752"/>
                    <a:pt x="9389" y="11752"/>
                  </a:cubicBezTo>
                  <a:lnTo>
                    <a:pt x="10743" y="11752"/>
                  </a:lnTo>
                  <a:cubicBezTo>
                    <a:pt x="11342" y="11752"/>
                    <a:pt x="11783" y="11279"/>
                    <a:pt x="11783" y="10744"/>
                  </a:cubicBezTo>
                  <a:cubicBezTo>
                    <a:pt x="11783" y="10145"/>
                    <a:pt x="11311" y="9704"/>
                    <a:pt x="10743" y="9704"/>
                  </a:cubicBezTo>
                  <a:lnTo>
                    <a:pt x="10397" y="9704"/>
                  </a:lnTo>
                  <a:lnTo>
                    <a:pt x="10397" y="9357"/>
                  </a:lnTo>
                  <a:cubicBezTo>
                    <a:pt x="10397" y="8759"/>
                    <a:pt x="9924" y="8318"/>
                    <a:pt x="9389" y="8318"/>
                  </a:cubicBezTo>
                  <a:lnTo>
                    <a:pt x="6238" y="8318"/>
                  </a:lnTo>
                  <a:lnTo>
                    <a:pt x="6238" y="7625"/>
                  </a:lnTo>
                  <a:lnTo>
                    <a:pt x="7246" y="7625"/>
                  </a:lnTo>
                  <a:cubicBezTo>
                    <a:pt x="7845" y="7625"/>
                    <a:pt x="8318" y="7152"/>
                    <a:pt x="8318" y="6585"/>
                  </a:cubicBezTo>
                  <a:lnTo>
                    <a:pt x="8318" y="5167"/>
                  </a:lnTo>
                  <a:cubicBezTo>
                    <a:pt x="8318" y="4569"/>
                    <a:pt x="7845" y="4159"/>
                    <a:pt x="7246" y="4159"/>
                  </a:cubicBezTo>
                  <a:lnTo>
                    <a:pt x="6238" y="4159"/>
                  </a:lnTo>
                  <a:lnTo>
                    <a:pt x="6238" y="3434"/>
                  </a:lnTo>
                  <a:lnTo>
                    <a:pt x="9389" y="3434"/>
                  </a:lnTo>
                  <a:cubicBezTo>
                    <a:pt x="9956" y="3434"/>
                    <a:pt x="10397" y="2962"/>
                    <a:pt x="10397" y="2426"/>
                  </a:cubicBezTo>
                  <a:lnTo>
                    <a:pt x="10397" y="2048"/>
                  </a:lnTo>
                  <a:lnTo>
                    <a:pt x="10743" y="2048"/>
                  </a:lnTo>
                  <a:cubicBezTo>
                    <a:pt x="11342" y="2048"/>
                    <a:pt x="11783" y="1576"/>
                    <a:pt x="11783" y="1040"/>
                  </a:cubicBezTo>
                  <a:cubicBezTo>
                    <a:pt x="11783" y="441"/>
                    <a:pt x="11311" y="0"/>
                    <a:pt x="10743" y="0"/>
                  </a:cubicBezTo>
                  <a:lnTo>
                    <a:pt x="9389" y="0"/>
                  </a:lnTo>
                  <a:cubicBezTo>
                    <a:pt x="8790" y="0"/>
                    <a:pt x="8349" y="473"/>
                    <a:pt x="8349" y="1040"/>
                  </a:cubicBezTo>
                  <a:cubicBezTo>
                    <a:pt x="8349" y="1639"/>
                    <a:pt x="8822" y="2048"/>
                    <a:pt x="9389" y="2048"/>
                  </a:cubicBezTo>
                  <a:lnTo>
                    <a:pt x="9735" y="2048"/>
                  </a:lnTo>
                  <a:lnTo>
                    <a:pt x="9735" y="2426"/>
                  </a:lnTo>
                  <a:cubicBezTo>
                    <a:pt x="9735" y="2615"/>
                    <a:pt x="9578" y="2773"/>
                    <a:pt x="9389" y="2773"/>
                  </a:cubicBezTo>
                  <a:lnTo>
                    <a:pt x="6238" y="2773"/>
                  </a:lnTo>
                  <a:lnTo>
                    <a:pt x="6238" y="2048"/>
                  </a:lnTo>
                  <a:lnTo>
                    <a:pt x="6585" y="2048"/>
                  </a:lnTo>
                  <a:cubicBezTo>
                    <a:pt x="7183" y="2048"/>
                    <a:pt x="7593" y="1576"/>
                    <a:pt x="7593" y="1040"/>
                  </a:cubicBezTo>
                  <a:cubicBezTo>
                    <a:pt x="7593" y="441"/>
                    <a:pt x="7120" y="0"/>
                    <a:pt x="6585" y="0"/>
                  </a:cubicBezTo>
                  <a:lnTo>
                    <a:pt x="5199" y="0"/>
                  </a:lnTo>
                  <a:cubicBezTo>
                    <a:pt x="4631" y="0"/>
                    <a:pt x="4190" y="473"/>
                    <a:pt x="4190" y="1040"/>
                  </a:cubicBezTo>
                  <a:cubicBezTo>
                    <a:pt x="4190" y="1639"/>
                    <a:pt x="4663" y="2048"/>
                    <a:pt x="5199" y="2048"/>
                  </a:cubicBezTo>
                  <a:lnTo>
                    <a:pt x="5577" y="2048"/>
                  </a:lnTo>
                  <a:lnTo>
                    <a:pt x="5577" y="2773"/>
                  </a:lnTo>
                  <a:lnTo>
                    <a:pt x="2426" y="2773"/>
                  </a:lnTo>
                  <a:cubicBezTo>
                    <a:pt x="2206" y="2773"/>
                    <a:pt x="2048" y="2615"/>
                    <a:pt x="2048" y="2426"/>
                  </a:cubicBezTo>
                  <a:lnTo>
                    <a:pt x="2048" y="2048"/>
                  </a:lnTo>
                  <a:lnTo>
                    <a:pt x="2426" y="2048"/>
                  </a:lnTo>
                  <a:cubicBezTo>
                    <a:pt x="2993" y="2048"/>
                    <a:pt x="3434" y="1576"/>
                    <a:pt x="3434" y="1040"/>
                  </a:cubicBezTo>
                  <a:cubicBezTo>
                    <a:pt x="3434" y="441"/>
                    <a:pt x="2962" y="0"/>
                    <a:pt x="242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 name="Group 13">
            <a:extLst>
              <a:ext uri="{FF2B5EF4-FFF2-40B4-BE49-F238E27FC236}">
                <a16:creationId xmlns:a16="http://schemas.microsoft.com/office/drawing/2014/main" id="{FCA81B32-6574-E7D1-C3F5-EC018A703C98}"/>
              </a:ext>
            </a:extLst>
          </p:cNvPr>
          <p:cNvGrpSpPr/>
          <p:nvPr/>
        </p:nvGrpSpPr>
        <p:grpSpPr>
          <a:xfrm>
            <a:off x="753811" y="193143"/>
            <a:ext cx="829925" cy="822824"/>
            <a:chOff x="350907" y="100737"/>
            <a:chExt cx="1332836" cy="1521047"/>
          </a:xfrm>
        </p:grpSpPr>
        <p:pic>
          <p:nvPicPr>
            <p:cNvPr id="3" name="Picture 2">
              <a:extLst>
                <a:ext uri="{FF2B5EF4-FFF2-40B4-BE49-F238E27FC236}">
                  <a16:creationId xmlns:a16="http://schemas.microsoft.com/office/drawing/2014/main" id="{2864313D-CEC3-1860-EAE8-5CD96CC59057}"/>
                </a:ext>
              </a:extLst>
            </p:cNvPr>
            <p:cNvPicPr>
              <a:picLocks noChangeAspect="1"/>
            </p:cNvPicPr>
            <p:nvPr/>
          </p:nvPicPr>
          <p:blipFill>
            <a:blip r:embed="rId3">
              <a:duotone>
                <a:schemeClr val="accent3">
                  <a:shade val="45000"/>
                  <a:satMod val="135000"/>
                </a:schemeClr>
                <a:prstClr val="white"/>
              </a:duotone>
              <a:extLst>
                <a:ext uri="{BEBA8EAE-BF5A-486C-A8C5-ECC9F3942E4B}">
                  <a14:imgProps xmlns:a14="http://schemas.microsoft.com/office/drawing/2010/main">
                    <a14:imgLayer r:embed="rId4">
                      <a14:imgEffect>
                        <a14:backgroundRemoval t="1987" b="96358" l="697" r="95122">
                          <a14:foregroundMark x1="5575" y1="28477" x2="5575" y2="28477"/>
                          <a14:foregroundMark x1="27875" y1="6954" x2="27875" y2="6954"/>
                          <a14:foregroundMark x1="39373" y1="6623" x2="39373" y2="6623"/>
                          <a14:foregroundMark x1="53310" y1="7285" x2="53310" y2="7285"/>
                          <a14:foregroundMark x1="62718" y1="5298" x2="62718" y2="5298"/>
                          <a14:foregroundMark x1="66551" y1="1987" x2="66551" y2="1987"/>
                          <a14:foregroundMark x1="90941" y1="21854" x2="90941" y2="21854"/>
                          <a14:foregroundMark x1="92334" y1="28146" x2="92334" y2="28146"/>
                          <a14:foregroundMark x1="95470" y1="26159" x2="95470" y2="26159"/>
                          <a14:foregroundMark x1="51568" y1="92715" x2="51568" y2="92715"/>
                          <a14:foregroundMark x1="49826" y1="96358" x2="49826" y2="96358"/>
                          <a14:foregroundMark x1="697" y1="24503" x2="697" y2="24503"/>
                          <a14:foregroundMark x1="1394" y1="25166" x2="1394" y2="25166"/>
                        </a14:backgroundRemoval>
                      </a14:imgEffect>
                    </a14:imgLayer>
                  </a14:imgProps>
                </a:ext>
              </a:extLst>
            </a:blip>
            <a:stretch>
              <a:fillRect/>
            </a:stretch>
          </p:blipFill>
          <p:spPr>
            <a:xfrm>
              <a:off x="361755" y="230703"/>
              <a:ext cx="1321988" cy="1391081"/>
            </a:xfrm>
            <a:prstGeom prst="rect">
              <a:avLst/>
            </a:prstGeom>
          </p:spPr>
        </p:pic>
        <p:sp>
          <p:nvSpPr>
            <p:cNvPr id="5" name="Star: 4 Points 4">
              <a:extLst>
                <a:ext uri="{FF2B5EF4-FFF2-40B4-BE49-F238E27FC236}">
                  <a16:creationId xmlns:a16="http://schemas.microsoft.com/office/drawing/2014/main" id="{47CB3ECC-2D31-8D1F-9803-DEE2BD46725B}"/>
                </a:ext>
              </a:extLst>
            </p:cNvPr>
            <p:cNvSpPr/>
            <p:nvPr/>
          </p:nvSpPr>
          <p:spPr>
            <a:xfrm>
              <a:off x="1233006" y="100737"/>
              <a:ext cx="345819" cy="265997"/>
            </a:xfrm>
            <a:prstGeom prst="star4">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6" name="Star: 4 Points 5">
              <a:extLst>
                <a:ext uri="{FF2B5EF4-FFF2-40B4-BE49-F238E27FC236}">
                  <a16:creationId xmlns:a16="http://schemas.microsoft.com/office/drawing/2014/main" id="{6503D3AF-E5D4-0CBB-80DD-9E8112E90871}"/>
                </a:ext>
              </a:extLst>
            </p:cNvPr>
            <p:cNvSpPr/>
            <p:nvPr/>
          </p:nvSpPr>
          <p:spPr>
            <a:xfrm>
              <a:off x="350907" y="825304"/>
              <a:ext cx="345819" cy="265997"/>
            </a:xfrm>
            <a:prstGeom prst="star4">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7" name="Star: 4 Points 6">
              <a:extLst>
                <a:ext uri="{FF2B5EF4-FFF2-40B4-BE49-F238E27FC236}">
                  <a16:creationId xmlns:a16="http://schemas.microsoft.com/office/drawing/2014/main" id="{5D9C4B1E-7BC1-F022-B0AE-8E00AE170616}"/>
                </a:ext>
              </a:extLst>
            </p:cNvPr>
            <p:cNvSpPr/>
            <p:nvPr/>
          </p:nvSpPr>
          <p:spPr>
            <a:xfrm>
              <a:off x="1269641" y="1110920"/>
              <a:ext cx="345819" cy="265997"/>
            </a:xfrm>
            <a:prstGeom prst="star4">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30" name="Group 29">
            <a:extLst>
              <a:ext uri="{FF2B5EF4-FFF2-40B4-BE49-F238E27FC236}">
                <a16:creationId xmlns:a16="http://schemas.microsoft.com/office/drawing/2014/main" id="{1875B8FD-AF23-432E-1441-ED57815A2EAA}"/>
              </a:ext>
            </a:extLst>
          </p:cNvPr>
          <p:cNvGrpSpPr/>
          <p:nvPr/>
        </p:nvGrpSpPr>
        <p:grpSpPr>
          <a:xfrm>
            <a:off x="7371435" y="171044"/>
            <a:ext cx="829925" cy="822824"/>
            <a:chOff x="350907" y="100737"/>
            <a:chExt cx="1332836" cy="1521047"/>
          </a:xfrm>
        </p:grpSpPr>
        <p:pic>
          <p:nvPicPr>
            <p:cNvPr id="31" name="Picture 30">
              <a:extLst>
                <a:ext uri="{FF2B5EF4-FFF2-40B4-BE49-F238E27FC236}">
                  <a16:creationId xmlns:a16="http://schemas.microsoft.com/office/drawing/2014/main" id="{C014BBBC-88FB-6BC5-95DF-C63E32DB1B3B}"/>
                </a:ext>
              </a:extLst>
            </p:cNvPr>
            <p:cNvPicPr>
              <a:picLocks noChangeAspect="1"/>
            </p:cNvPicPr>
            <p:nvPr/>
          </p:nvPicPr>
          <p:blipFill>
            <a:blip r:embed="rId3">
              <a:duotone>
                <a:schemeClr val="accent3">
                  <a:shade val="45000"/>
                  <a:satMod val="135000"/>
                </a:schemeClr>
                <a:prstClr val="white"/>
              </a:duotone>
              <a:extLst>
                <a:ext uri="{BEBA8EAE-BF5A-486C-A8C5-ECC9F3942E4B}">
                  <a14:imgProps xmlns:a14="http://schemas.microsoft.com/office/drawing/2010/main">
                    <a14:imgLayer r:embed="rId4">
                      <a14:imgEffect>
                        <a14:backgroundRemoval t="1987" b="96358" l="697" r="95122">
                          <a14:foregroundMark x1="5575" y1="28477" x2="5575" y2="28477"/>
                          <a14:foregroundMark x1="27875" y1="6954" x2="27875" y2="6954"/>
                          <a14:foregroundMark x1="39373" y1="6623" x2="39373" y2="6623"/>
                          <a14:foregroundMark x1="53310" y1="7285" x2="53310" y2="7285"/>
                          <a14:foregroundMark x1="62718" y1="5298" x2="62718" y2="5298"/>
                          <a14:foregroundMark x1="66551" y1="1987" x2="66551" y2="1987"/>
                          <a14:foregroundMark x1="90941" y1="21854" x2="90941" y2="21854"/>
                          <a14:foregroundMark x1="92334" y1="28146" x2="92334" y2="28146"/>
                          <a14:foregroundMark x1="95470" y1="26159" x2="95470" y2="26159"/>
                          <a14:foregroundMark x1="51568" y1="92715" x2="51568" y2="92715"/>
                          <a14:foregroundMark x1="49826" y1="96358" x2="49826" y2="96358"/>
                          <a14:foregroundMark x1="697" y1="24503" x2="697" y2="24503"/>
                          <a14:foregroundMark x1="1394" y1="25166" x2="1394" y2="25166"/>
                        </a14:backgroundRemoval>
                      </a14:imgEffect>
                    </a14:imgLayer>
                  </a14:imgProps>
                </a:ext>
              </a:extLst>
            </a:blip>
            <a:stretch>
              <a:fillRect/>
            </a:stretch>
          </p:blipFill>
          <p:spPr>
            <a:xfrm>
              <a:off x="361755" y="230703"/>
              <a:ext cx="1321988" cy="1391081"/>
            </a:xfrm>
            <a:prstGeom prst="rect">
              <a:avLst/>
            </a:prstGeom>
          </p:spPr>
        </p:pic>
        <p:sp>
          <p:nvSpPr>
            <p:cNvPr id="32" name="Star: 4 Points 31">
              <a:extLst>
                <a:ext uri="{FF2B5EF4-FFF2-40B4-BE49-F238E27FC236}">
                  <a16:creationId xmlns:a16="http://schemas.microsoft.com/office/drawing/2014/main" id="{F4AE69BA-8D50-E4EB-6E19-19D95FD7315B}"/>
                </a:ext>
              </a:extLst>
            </p:cNvPr>
            <p:cNvSpPr/>
            <p:nvPr/>
          </p:nvSpPr>
          <p:spPr>
            <a:xfrm>
              <a:off x="1233006" y="100737"/>
              <a:ext cx="345819" cy="265997"/>
            </a:xfrm>
            <a:prstGeom prst="star4">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3" name="Star: 4 Points 32">
              <a:extLst>
                <a:ext uri="{FF2B5EF4-FFF2-40B4-BE49-F238E27FC236}">
                  <a16:creationId xmlns:a16="http://schemas.microsoft.com/office/drawing/2014/main" id="{B004210F-A267-59C9-B457-60E346409446}"/>
                </a:ext>
              </a:extLst>
            </p:cNvPr>
            <p:cNvSpPr/>
            <p:nvPr/>
          </p:nvSpPr>
          <p:spPr>
            <a:xfrm>
              <a:off x="350907" y="825304"/>
              <a:ext cx="345819" cy="265997"/>
            </a:xfrm>
            <a:prstGeom prst="star4">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4" name="Star: 4 Points 33">
              <a:extLst>
                <a:ext uri="{FF2B5EF4-FFF2-40B4-BE49-F238E27FC236}">
                  <a16:creationId xmlns:a16="http://schemas.microsoft.com/office/drawing/2014/main" id="{853CB204-4621-80BA-C10B-336F58B97A66}"/>
                </a:ext>
              </a:extLst>
            </p:cNvPr>
            <p:cNvSpPr/>
            <p:nvPr/>
          </p:nvSpPr>
          <p:spPr>
            <a:xfrm>
              <a:off x="1269641" y="1110920"/>
              <a:ext cx="345819" cy="265997"/>
            </a:xfrm>
            <a:prstGeom prst="star4">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35" name="Google Shape;995;p40">
            <a:extLst>
              <a:ext uri="{FF2B5EF4-FFF2-40B4-BE49-F238E27FC236}">
                <a16:creationId xmlns:a16="http://schemas.microsoft.com/office/drawing/2014/main" id="{68395859-A837-AF38-C698-45257A0F54AB}"/>
              </a:ext>
            </a:extLst>
          </p:cNvPr>
          <p:cNvSpPr txBox="1"/>
          <p:nvPr/>
        </p:nvSpPr>
        <p:spPr>
          <a:xfrm>
            <a:off x="5179203" y="1921287"/>
            <a:ext cx="2743800" cy="7467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CA" sz="2800">
                <a:solidFill>
                  <a:schemeClr val="lt1"/>
                </a:solidFill>
                <a:latin typeface="Source Sans Pro"/>
                <a:ea typeface="Source Sans Pro"/>
                <a:cs typeface="Source Sans Pro"/>
                <a:sym typeface="Source Sans Pro"/>
              </a:rPr>
              <a:t>88.4% </a:t>
            </a:r>
            <a:endParaRPr sz="2800">
              <a:solidFill>
                <a:schemeClr val="lt1"/>
              </a:solidFill>
              <a:latin typeface="Source Sans Pro"/>
              <a:ea typeface="Source Sans Pro"/>
              <a:cs typeface="Source Sans Pro"/>
              <a:sym typeface="Source Sans Pro"/>
            </a:endParaRPr>
          </a:p>
        </p:txBody>
      </p:sp>
      <p:sp>
        <p:nvSpPr>
          <p:cNvPr id="36" name="Google Shape;998;p40">
            <a:extLst>
              <a:ext uri="{FF2B5EF4-FFF2-40B4-BE49-F238E27FC236}">
                <a16:creationId xmlns:a16="http://schemas.microsoft.com/office/drawing/2014/main" id="{1C9F820A-5DD7-292A-1E65-D704D2151981}"/>
              </a:ext>
            </a:extLst>
          </p:cNvPr>
          <p:cNvSpPr txBox="1"/>
          <p:nvPr/>
        </p:nvSpPr>
        <p:spPr>
          <a:xfrm>
            <a:off x="5357251" y="1624958"/>
            <a:ext cx="2647245" cy="439758"/>
          </a:xfrm>
          <a:prstGeom prst="rect">
            <a:avLst/>
          </a:prstGeom>
          <a:noFill/>
          <a:ln>
            <a:noFill/>
          </a:ln>
        </p:spPr>
        <p:txBody>
          <a:bodyPr spcFirstLastPara="1" wrap="square" lIns="91425" tIns="91425" rIns="91425" bIns="91425" anchor="t" anchorCtr="0">
            <a:noAutofit/>
          </a:bodyPr>
          <a:lstStyle/>
          <a:p>
            <a:pPr marL="0" lvl="0" indent="0" algn="ctr" rtl="0">
              <a:lnSpc>
                <a:spcPct val="115000"/>
              </a:lnSpc>
              <a:spcBef>
                <a:spcPts val="0"/>
              </a:spcBef>
              <a:spcAft>
                <a:spcPts val="1600"/>
              </a:spcAft>
              <a:buNone/>
            </a:pPr>
            <a:r>
              <a:rPr lang="en" sz="1800" b="1">
                <a:solidFill>
                  <a:srgbClr val="FFFFFF"/>
                </a:solidFill>
                <a:latin typeface="Hammersmith One"/>
                <a:ea typeface="Hammersmith One"/>
                <a:cs typeface="Hammersmith One"/>
                <a:sym typeface="Hammersmith One"/>
              </a:rPr>
              <a:t>Accuracy </a:t>
            </a:r>
            <a:endParaRPr sz="1800" b="1">
              <a:solidFill>
                <a:srgbClr val="FFFFFF"/>
              </a:solidFill>
              <a:latin typeface="Hammersmith One"/>
              <a:ea typeface="Hammersmith One"/>
              <a:cs typeface="Hammersmith One"/>
              <a:sym typeface="Hammersmith One"/>
            </a:endParaRPr>
          </a:p>
        </p:txBody>
      </p:sp>
      <p:sp>
        <p:nvSpPr>
          <p:cNvPr id="38" name="Google Shape;1002;p40">
            <a:extLst>
              <a:ext uri="{FF2B5EF4-FFF2-40B4-BE49-F238E27FC236}">
                <a16:creationId xmlns:a16="http://schemas.microsoft.com/office/drawing/2014/main" id="{466058D2-E28D-A912-10B4-25BBDDD57A6B}"/>
              </a:ext>
            </a:extLst>
          </p:cNvPr>
          <p:cNvSpPr txBox="1"/>
          <p:nvPr/>
        </p:nvSpPr>
        <p:spPr>
          <a:xfrm>
            <a:off x="2616071" y="1930733"/>
            <a:ext cx="2017639" cy="1014340"/>
          </a:xfrm>
          <a:prstGeom prst="rect">
            <a:avLst/>
          </a:prstGeom>
          <a:noFill/>
          <a:ln>
            <a:noFill/>
          </a:ln>
        </p:spPr>
        <p:txBody>
          <a:bodyPr spcFirstLastPara="1" wrap="square" lIns="91425" tIns="91425" rIns="91425" bIns="91425" anchor="t" anchorCtr="0">
            <a:noAutofit/>
          </a:bodyPr>
          <a:lstStyle/>
          <a:p>
            <a:pPr marL="0" lvl="0" indent="0" rtl="0">
              <a:spcBef>
                <a:spcPts val="0"/>
              </a:spcBef>
              <a:spcAft>
                <a:spcPts val="0"/>
              </a:spcAft>
              <a:buNone/>
            </a:pPr>
            <a:r>
              <a:rPr lang="en" sz="1200">
                <a:solidFill>
                  <a:schemeClr val="lt1"/>
                </a:solidFill>
                <a:latin typeface="Source Sans Pro"/>
                <a:ea typeface="Source Sans Pro"/>
                <a:cs typeface="Source Sans Pro"/>
                <a:sym typeface="Source Sans Pro"/>
              </a:rPr>
              <a:t>5) Produce Related Visits</a:t>
            </a:r>
          </a:p>
          <a:p>
            <a:pPr marL="0" lvl="0" indent="0" rtl="0">
              <a:spcBef>
                <a:spcPts val="0"/>
              </a:spcBef>
              <a:spcAft>
                <a:spcPts val="0"/>
              </a:spcAft>
              <a:buNone/>
            </a:pPr>
            <a:r>
              <a:rPr lang="en" sz="1200">
                <a:solidFill>
                  <a:schemeClr val="lt1"/>
                </a:solidFill>
                <a:latin typeface="Source Sans Pro"/>
                <a:ea typeface="Source Sans Pro"/>
                <a:cs typeface="Source Sans Pro"/>
                <a:sym typeface="Source Sans Pro"/>
              </a:rPr>
              <a:t>6) Special Day Visits</a:t>
            </a:r>
          </a:p>
          <a:p>
            <a:pPr marL="0" lvl="0" indent="0" rtl="0">
              <a:spcBef>
                <a:spcPts val="0"/>
              </a:spcBef>
              <a:spcAft>
                <a:spcPts val="0"/>
              </a:spcAft>
              <a:buNone/>
            </a:pPr>
            <a:r>
              <a:rPr lang="en" sz="1200">
                <a:solidFill>
                  <a:schemeClr val="lt1"/>
                </a:solidFill>
                <a:latin typeface="Source Sans Pro"/>
                <a:ea typeface="Source Sans Pro"/>
                <a:cs typeface="Source Sans Pro"/>
                <a:sym typeface="Source Sans Pro"/>
              </a:rPr>
              <a:t>7) Information Visits</a:t>
            </a:r>
            <a:endParaRPr sz="1200">
              <a:solidFill>
                <a:schemeClr val="lt1"/>
              </a:solidFill>
              <a:latin typeface="Source Sans Pro"/>
              <a:ea typeface="Source Sans Pro"/>
              <a:cs typeface="Source Sans Pro"/>
              <a:sym typeface="Source Sans Pro"/>
            </a:endParaRPr>
          </a:p>
        </p:txBody>
      </p:sp>
    </p:spTree>
    <p:extLst>
      <p:ext uri="{BB962C8B-B14F-4D97-AF65-F5344CB8AC3E}">
        <p14:creationId xmlns:p14="http://schemas.microsoft.com/office/powerpoint/2010/main" val="30670317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403"/>
        <p:cNvGrpSpPr/>
        <p:nvPr/>
      </p:nvGrpSpPr>
      <p:grpSpPr>
        <a:xfrm>
          <a:off x="0" y="0"/>
          <a:ext cx="0" cy="0"/>
          <a:chOff x="0" y="0"/>
          <a:chExt cx="0" cy="0"/>
        </a:xfrm>
      </p:grpSpPr>
      <p:sp>
        <p:nvSpPr>
          <p:cNvPr id="404" name="Google Shape;404;p30"/>
          <p:cNvSpPr txBox="1">
            <a:spLocks noGrp="1"/>
          </p:cNvSpPr>
          <p:nvPr>
            <p:ph type="ctrTitle"/>
          </p:nvPr>
        </p:nvSpPr>
        <p:spPr>
          <a:xfrm>
            <a:off x="709756" y="1845432"/>
            <a:ext cx="4354147" cy="12906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Customer Segmentation</a:t>
            </a:r>
            <a:endParaRPr/>
          </a:p>
        </p:txBody>
      </p:sp>
      <p:sp>
        <p:nvSpPr>
          <p:cNvPr id="406" name="Google Shape;406;p30"/>
          <p:cNvSpPr txBox="1">
            <a:spLocks noGrp="1"/>
          </p:cNvSpPr>
          <p:nvPr>
            <p:ph type="title" idx="2"/>
          </p:nvPr>
        </p:nvSpPr>
        <p:spPr>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05</a:t>
            </a:r>
            <a:endParaRPr/>
          </a:p>
        </p:txBody>
      </p:sp>
      <p:sp>
        <p:nvSpPr>
          <p:cNvPr id="489" name="Google Shape;489;p30"/>
          <p:cNvSpPr/>
          <p:nvPr/>
        </p:nvSpPr>
        <p:spPr>
          <a:xfrm rot="-10189978" flipH="1">
            <a:off x="4276173" y="1248422"/>
            <a:ext cx="328487" cy="328248"/>
          </a:xfrm>
          <a:custGeom>
            <a:avLst/>
            <a:gdLst/>
            <a:ahLst/>
            <a:cxnLst/>
            <a:rect l="l" t="t" r="r" b="b"/>
            <a:pathLst>
              <a:path w="45300" h="45267" extrusionOk="0">
                <a:moveTo>
                  <a:pt x="22629" y="6872"/>
                </a:moveTo>
                <a:cubicBezTo>
                  <a:pt x="26731" y="6872"/>
                  <a:pt x="30760" y="8466"/>
                  <a:pt x="33792" y="11476"/>
                </a:cubicBezTo>
                <a:cubicBezTo>
                  <a:pt x="38295" y="16012"/>
                  <a:pt x="39629" y="22784"/>
                  <a:pt x="37194" y="28688"/>
                </a:cubicBezTo>
                <a:cubicBezTo>
                  <a:pt x="34759" y="34559"/>
                  <a:pt x="29021" y="38428"/>
                  <a:pt x="22617" y="38428"/>
                </a:cubicBezTo>
                <a:lnTo>
                  <a:pt x="22617" y="38395"/>
                </a:lnTo>
                <a:cubicBezTo>
                  <a:pt x="13911" y="38395"/>
                  <a:pt x="6872" y="31356"/>
                  <a:pt x="6872" y="22650"/>
                </a:cubicBezTo>
                <a:cubicBezTo>
                  <a:pt x="6839" y="16279"/>
                  <a:pt x="10708" y="10508"/>
                  <a:pt x="16579" y="8073"/>
                </a:cubicBezTo>
                <a:cubicBezTo>
                  <a:pt x="18538" y="7265"/>
                  <a:pt x="20592" y="6872"/>
                  <a:pt x="22629" y="6872"/>
                </a:cubicBezTo>
                <a:close/>
                <a:moveTo>
                  <a:pt x="20916" y="1"/>
                </a:moveTo>
                <a:lnTo>
                  <a:pt x="20315" y="2102"/>
                </a:lnTo>
                <a:cubicBezTo>
                  <a:pt x="19148" y="2236"/>
                  <a:pt x="18014" y="2469"/>
                  <a:pt x="16913" y="2769"/>
                </a:cubicBezTo>
                <a:lnTo>
                  <a:pt x="15545" y="1068"/>
                </a:lnTo>
                <a:lnTo>
                  <a:pt x="12376" y="2369"/>
                </a:lnTo>
                <a:lnTo>
                  <a:pt x="12643" y="4571"/>
                </a:lnTo>
                <a:cubicBezTo>
                  <a:pt x="11609" y="5104"/>
                  <a:pt x="10642" y="5771"/>
                  <a:pt x="9741" y="6472"/>
                </a:cubicBezTo>
                <a:lnTo>
                  <a:pt x="7806" y="5405"/>
                </a:lnTo>
                <a:lnTo>
                  <a:pt x="5405" y="7840"/>
                </a:lnTo>
                <a:lnTo>
                  <a:pt x="6472" y="9774"/>
                </a:lnTo>
                <a:cubicBezTo>
                  <a:pt x="5772" y="10675"/>
                  <a:pt x="5104" y="11642"/>
                  <a:pt x="4537" y="12643"/>
                </a:cubicBezTo>
                <a:lnTo>
                  <a:pt x="2369" y="12410"/>
                </a:lnTo>
                <a:lnTo>
                  <a:pt x="1068" y="15545"/>
                </a:lnTo>
                <a:lnTo>
                  <a:pt x="2769" y="16913"/>
                </a:lnTo>
                <a:cubicBezTo>
                  <a:pt x="2436" y="18047"/>
                  <a:pt x="2236" y="19181"/>
                  <a:pt x="2102" y="20315"/>
                </a:cubicBezTo>
                <a:lnTo>
                  <a:pt x="1" y="20916"/>
                </a:lnTo>
                <a:lnTo>
                  <a:pt x="1" y="24351"/>
                </a:lnTo>
                <a:lnTo>
                  <a:pt x="2102" y="24952"/>
                </a:lnTo>
                <a:cubicBezTo>
                  <a:pt x="2236" y="26086"/>
                  <a:pt x="2469" y="27220"/>
                  <a:pt x="2769" y="28354"/>
                </a:cubicBezTo>
                <a:lnTo>
                  <a:pt x="1068" y="29722"/>
                </a:lnTo>
                <a:lnTo>
                  <a:pt x="2369" y="32857"/>
                </a:lnTo>
                <a:lnTo>
                  <a:pt x="4537" y="32624"/>
                </a:lnTo>
                <a:cubicBezTo>
                  <a:pt x="5104" y="33625"/>
                  <a:pt x="5772" y="34592"/>
                  <a:pt x="6472" y="35493"/>
                </a:cubicBezTo>
                <a:lnTo>
                  <a:pt x="5405" y="37427"/>
                </a:lnTo>
                <a:lnTo>
                  <a:pt x="7840" y="39863"/>
                </a:lnTo>
                <a:lnTo>
                  <a:pt x="9774" y="38795"/>
                </a:lnTo>
                <a:cubicBezTo>
                  <a:pt x="10675" y="39496"/>
                  <a:pt x="11642" y="40163"/>
                  <a:pt x="12643" y="40730"/>
                </a:cubicBezTo>
                <a:lnTo>
                  <a:pt x="12410" y="42898"/>
                </a:lnTo>
                <a:lnTo>
                  <a:pt x="15545" y="44199"/>
                </a:lnTo>
                <a:lnTo>
                  <a:pt x="16913" y="42498"/>
                </a:lnTo>
                <a:cubicBezTo>
                  <a:pt x="18047" y="42798"/>
                  <a:pt x="19181" y="43031"/>
                  <a:pt x="20349" y="43165"/>
                </a:cubicBezTo>
                <a:lnTo>
                  <a:pt x="20916" y="45266"/>
                </a:lnTo>
                <a:lnTo>
                  <a:pt x="24318" y="45266"/>
                </a:lnTo>
                <a:lnTo>
                  <a:pt x="24952" y="43165"/>
                </a:lnTo>
                <a:cubicBezTo>
                  <a:pt x="26086" y="43031"/>
                  <a:pt x="27220" y="42798"/>
                  <a:pt x="28354" y="42498"/>
                </a:cubicBezTo>
                <a:lnTo>
                  <a:pt x="29722" y="44199"/>
                </a:lnTo>
                <a:lnTo>
                  <a:pt x="32858" y="42898"/>
                </a:lnTo>
                <a:lnTo>
                  <a:pt x="32624" y="40730"/>
                </a:lnTo>
                <a:cubicBezTo>
                  <a:pt x="33625" y="40163"/>
                  <a:pt x="34592" y="39496"/>
                  <a:pt x="35493" y="38795"/>
                </a:cubicBezTo>
                <a:lnTo>
                  <a:pt x="37427" y="39863"/>
                </a:lnTo>
                <a:lnTo>
                  <a:pt x="39863" y="37461"/>
                </a:lnTo>
                <a:lnTo>
                  <a:pt x="38795" y="35526"/>
                </a:lnTo>
                <a:cubicBezTo>
                  <a:pt x="39496" y="34625"/>
                  <a:pt x="40163" y="33658"/>
                  <a:pt x="40730" y="32657"/>
                </a:cubicBezTo>
                <a:lnTo>
                  <a:pt x="42898" y="32891"/>
                </a:lnTo>
                <a:lnTo>
                  <a:pt x="44199" y="29722"/>
                </a:lnTo>
                <a:lnTo>
                  <a:pt x="42498" y="28354"/>
                </a:lnTo>
                <a:cubicBezTo>
                  <a:pt x="42798" y="27253"/>
                  <a:pt x="43031" y="26119"/>
                  <a:pt x="43165" y="24952"/>
                </a:cubicBezTo>
                <a:lnTo>
                  <a:pt x="45300" y="24351"/>
                </a:lnTo>
                <a:lnTo>
                  <a:pt x="45300" y="20916"/>
                </a:lnTo>
                <a:lnTo>
                  <a:pt x="43165" y="20315"/>
                </a:lnTo>
                <a:cubicBezTo>
                  <a:pt x="43031" y="19181"/>
                  <a:pt x="42798" y="18047"/>
                  <a:pt x="42498" y="16913"/>
                </a:cubicBezTo>
                <a:lnTo>
                  <a:pt x="44199" y="15545"/>
                </a:lnTo>
                <a:lnTo>
                  <a:pt x="42898" y="12376"/>
                </a:lnTo>
                <a:lnTo>
                  <a:pt x="40730" y="12643"/>
                </a:lnTo>
                <a:cubicBezTo>
                  <a:pt x="40163" y="11642"/>
                  <a:pt x="39496" y="10675"/>
                  <a:pt x="38795" y="9774"/>
                </a:cubicBezTo>
                <a:lnTo>
                  <a:pt x="39863" y="7840"/>
                </a:lnTo>
                <a:lnTo>
                  <a:pt x="37427" y="5405"/>
                </a:lnTo>
                <a:lnTo>
                  <a:pt x="35493" y="6472"/>
                </a:lnTo>
                <a:cubicBezTo>
                  <a:pt x="34592" y="5771"/>
                  <a:pt x="33658" y="5104"/>
                  <a:pt x="32624" y="4571"/>
                </a:cubicBezTo>
                <a:lnTo>
                  <a:pt x="32891" y="2369"/>
                </a:lnTo>
                <a:lnTo>
                  <a:pt x="29722" y="1068"/>
                </a:lnTo>
                <a:lnTo>
                  <a:pt x="28354" y="2769"/>
                </a:lnTo>
                <a:cubicBezTo>
                  <a:pt x="27220" y="2469"/>
                  <a:pt x="26086" y="2236"/>
                  <a:pt x="24952" y="2102"/>
                </a:cubicBezTo>
                <a:lnTo>
                  <a:pt x="24318" y="1"/>
                </a:lnTo>
                <a:close/>
              </a:path>
            </a:pathLst>
          </a:custGeom>
          <a:solidFill>
            <a:srgbClr val="C3FF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 name="Google Shape;490;p30"/>
          <p:cNvSpPr/>
          <p:nvPr/>
        </p:nvSpPr>
        <p:spPr>
          <a:xfrm rot="-10189508" flipH="1">
            <a:off x="4640637" y="839847"/>
            <a:ext cx="513511" cy="513137"/>
          </a:xfrm>
          <a:custGeom>
            <a:avLst/>
            <a:gdLst/>
            <a:ahLst/>
            <a:cxnLst/>
            <a:rect l="l" t="t" r="r" b="b"/>
            <a:pathLst>
              <a:path w="45300" h="45267" extrusionOk="0">
                <a:moveTo>
                  <a:pt x="22629" y="6872"/>
                </a:moveTo>
                <a:cubicBezTo>
                  <a:pt x="26731" y="6872"/>
                  <a:pt x="30760" y="8466"/>
                  <a:pt x="33792" y="11476"/>
                </a:cubicBezTo>
                <a:cubicBezTo>
                  <a:pt x="38295" y="16012"/>
                  <a:pt x="39629" y="22784"/>
                  <a:pt x="37194" y="28688"/>
                </a:cubicBezTo>
                <a:cubicBezTo>
                  <a:pt x="34759" y="34559"/>
                  <a:pt x="29021" y="38428"/>
                  <a:pt x="22617" y="38428"/>
                </a:cubicBezTo>
                <a:lnTo>
                  <a:pt x="22617" y="38395"/>
                </a:lnTo>
                <a:cubicBezTo>
                  <a:pt x="13911" y="38395"/>
                  <a:pt x="6872" y="31356"/>
                  <a:pt x="6872" y="22650"/>
                </a:cubicBezTo>
                <a:cubicBezTo>
                  <a:pt x="6839" y="16279"/>
                  <a:pt x="10708" y="10508"/>
                  <a:pt x="16579" y="8073"/>
                </a:cubicBezTo>
                <a:cubicBezTo>
                  <a:pt x="18538" y="7265"/>
                  <a:pt x="20592" y="6872"/>
                  <a:pt x="22629" y="6872"/>
                </a:cubicBezTo>
                <a:close/>
                <a:moveTo>
                  <a:pt x="20916" y="1"/>
                </a:moveTo>
                <a:lnTo>
                  <a:pt x="20315" y="2102"/>
                </a:lnTo>
                <a:cubicBezTo>
                  <a:pt x="19148" y="2236"/>
                  <a:pt x="18014" y="2469"/>
                  <a:pt x="16913" y="2769"/>
                </a:cubicBezTo>
                <a:lnTo>
                  <a:pt x="15545" y="1068"/>
                </a:lnTo>
                <a:lnTo>
                  <a:pt x="12376" y="2369"/>
                </a:lnTo>
                <a:lnTo>
                  <a:pt x="12643" y="4571"/>
                </a:lnTo>
                <a:cubicBezTo>
                  <a:pt x="11609" y="5104"/>
                  <a:pt x="10642" y="5771"/>
                  <a:pt x="9741" y="6472"/>
                </a:cubicBezTo>
                <a:lnTo>
                  <a:pt x="7806" y="5405"/>
                </a:lnTo>
                <a:lnTo>
                  <a:pt x="5405" y="7840"/>
                </a:lnTo>
                <a:lnTo>
                  <a:pt x="6472" y="9774"/>
                </a:lnTo>
                <a:cubicBezTo>
                  <a:pt x="5772" y="10675"/>
                  <a:pt x="5104" y="11642"/>
                  <a:pt x="4537" y="12643"/>
                </a:cubicBezTo>
                <a:lnTo>
                  <a:pt x="2369" y="12410"/>
                </a:lnTo>
                <a:lnTo>
                  <a:pt x="1068" y="15545"/>
                </a:lnTo>
                <a:lnTo>
                  <a:pt x="2769" y="16913"/>
                </a:lnTo>
                <a:cubicBezTo>
                  <a:pt x="2436" y="18047"/>
                  <a:pt x="2236" y="19181"/>
                  <a:pt x="2102" y="20315"/>
                </a:cubicBezTo>
                <a:lnTo>
                  <a:pt x="1" y="20916"/>
                </a:lnTo>
                <a:lnTo>
                  <a:pt x="1" y="24351"/>
                </a:lnTo>
                <a:lnTo>
                  <a:pt x="2102" y="24952"/>
                </a:lnTo>
                <a:cubicBezTo>
                  <a:pt x="2236" y="26086"/>
                  <a:pt x="2469" y="27220"/>
                  <a:pt x="2769" y="28354"/>
                </a:cubicBezTo>
                <a:lnTo>
                  <a:pt x="1068" y="29722"/>
                </a:lnTo>
                <a:lnTo>
                  <a:pt x="2369" y="32857"/>
                </a:lnTo>
                <a:lnTo>
                  <a:pt x="4537" y="32624"/>
                </a:lnTo>
                <a:cubicBezTo>
                  <a:pt x="5104" y="33625"/>
                  <a:pt x="5772" y="34592"/>
                  <a:pt x="6472" y="35493"/>
                </a:cubicBezTo>
                <a:lnTo>
                  <a:pt x="5405" y="37427"/>
                </a:lnTo>
                <a:lnTo>
                  <a:pt x="7840" y="39863"/>
                </a:lnTo>
                <a:lnTo>
                  <a:pt x="9774" y="38795"/>
                </a:lnTo>
                <a:cubicBezTo>
                  <a:pt x="10675" y="39496"/>
                  <a:pt x="11642" y="40163"/>
                  <a:pt x="12643" y="40730"/>
                </a:cubicBezTo>
                <a:lnTo>
                  <a:pt x="12410" y="42898"/>
                </a:lnTo>
                <a:lnTo>
                  <a:pt x="15545" y="44199"/>
                </a:lnTo>
                <a:lnTo>
                  <a:pt x="16913" y="42498"/>
                </a:lnTo>
                <a:cubicBezTo>
                  <a:pt x="18047" y="42798"/>
                  <a:pt x="19181" y="43031"/>
                  <a:pt x="20349" y="43165"/>
                </a:cubicBezTo>
                <a:lnTo>
                  <a:pt x="20916" y="45266"/>
                </a:lnTo>
                <a:lnTo>
                  <a:pt x="24318" y="45266"/>
                </a:lnTo>
                <a:lnTo>
                  <a:pt x="24952" y="43165"/>
                </a:lnTo>
                <a:cubicBezTo>
                  <a:pt x="26086" y="43031"/>
                  <a:pt x="27220" y="42798"/>
                  <a:pt x="28354" y="42498"/>
                </a:cubicBezTo>
                <a:lnTo>
                  <a:pt x="29722" y="44199"/>
                </a:lnTo>
                <a:lnTo>
                  <a:pt x="32858" y="42898"/>
                </a:lnTo>
                <a:lnTo>
                  <a:pt x="32624" y="40730"/>
                </a:lnTo>
                <a:cubicBezTo>
                  <a:pt x="33625" y="40163"/>
                  <a:pt x="34592" y="39496"/>
                  <a:pt x="35493" y="38795"/>
                </a:cubicBezTo>
                <a:lnTo>
                  <a:pt x="37427" y="39863"/>
                </a:lnTo>
                <a:lnTo>
                  <a:pt x="39863" y="37461"/>
                </a:lnTo>
                <a:lnTo>
                  <a:pt x="38795" y="35526"/>
                </a:lnTo>
                <a:cubicBezTo>
                  <a:pt x="39496" y="34625"/>
                  <a:pt x="40163" y="33658"/>
                  <a:pt x="40730" y="32657"/>
                </a:cubicBezTo>
                <a:lnTo>
                  <a:pt x="42898" y="32891"/>
                </a:lnTo>
                <a:lnTo>
                  <a:pt x="44199" y="29722"/>
                </a:lnTo>
                <a:lnTo>
                  <a:pt x="42498" y="28354"/>
                </a:lnTo>
                <a:cubicBezTo>
                  <a:pt x="42798" y="27253"/>
                  <a:pt x="43031" y="26119"/>
                  <a:pt x="43165" y="24952"/>
                </a:cubicBezTo>
                <a:lnTo>
                  <a:pt x="45300" y="24351"/>
                </a:lnTo>
                <a:lnTo>
                  <a:pt x="45300" y="20916"/>
                </a:lnTo>
                <a:lnTo>
                  <a:pt x="43165" y="20315"/>
                </a:lnTo>
                <a:cubicBezTo>
                  <a:pt x="43031" y="19181"/>
                  <a:pt x="42798" y="18047"/>
                  <a:pt x="42498" y="16913"/>
                </a:cubicBezTo>
                <a:lnTo>
                  <a:pt x="44199" y="15545"/>
                </a:lnTo>
                <a:lnTo>
                  <a:pt x="42898" y="12376"/>
                </a:lnTo>
                <a:lnTo>
                  <a:pt x="40730" y="12643"/>
                </a:lnTo>
                <a:cubicBezTo>
                  <a:pt x="40163" y="11642"/>
                  <a:pt x="39496" y="10675"/>
                  <a:pt x="38795" y="9774"/>
                </a:cubicBezTo>
                <a:lnTo>
                  <a:pt x="39863" y="7840"/>
                </a:lnTo>
                <a:lnTo>
                  <a:pt x="37427" y="5405"/>
                </a:lnTo>
                <a:lnTo>
                  <a:pt x="35493" y="6472"/>
                </a:lnTo>
                <a:cubicBezTo>
                  <a:pt x="34592" y="5771"/>
                  <a:pt x="33658" y="5104"/>
                  <a:pt x="32624" y="4571"/>
                </a:cubicBezTo>
                <a:lnTo>
                  <a:pt x="32891" y="2369"/>
                </a:lnTo>
                <a:lnTo>
                  <a:pt x="29722" y="1068"/>
                </a:lnTo>
                <a:lnTo>
                  <a:pt x="28354" y="2769"/>
                </a:lnTo>
                <a:cubicBezTo>
                  <a:pt x="27220" y="2469"/>
                  <a:pt x="26086" y="2236"/>
                  <a:pt x="24952" y="2102"/>
                </a:cubicBezTo>
                <a:lnTo>
                  <a:pt x="24318"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05" name="Google Shape;1914;p54">
            <a:extLst>
              <a:ext uri="{FF2B5EF4-FFF2-40B4-BE49-F238E27FC236}">
                <a16:creationId xmlns:a16="http://schemas.microsoft.com/office/drawing/2014/main" id="{8FDC7178-F79E-6300-7154-10746DB510A3}"/>
              </a:ext>
            </a:extLst>
          </p:cNvPr>
          <p:cNvGrpSpPr/>
          <p:nvPr/>
        </p:nvGrpSpPr>
        <p:grpSpPr>
          <a:xfrm>
            <a:off x="4631052" y="1503920"/>
            <a:ext cx="3325690" cy="2841055"/>
            <a:chOff x="8327975" y="936100"/>
            <a:chExt cx="4042900" cy="3453750"/>
          </a:xfrm>
        </p:grpSpPr>
        <p:sp>
          <p:nvSpPr>
            <p:cNvPr id="506" name="Google Shape;1915;p54">
              <a:extLst>
                <a:ext uri="{FF2B5EF4-FFF2-40B4-BE49-F238E27FC236}">
                  <a16:creationId xmlns:a16="http://schemas.microsoft.com/office/drawing/2014/main" id="{D4E717A7-47AB-394B-6DE4-434D118EEEEF}"/>
                </a:ext>
              </a:extLst>
            </p:cNvPr>
            <p:cNvSpPr/>
            <p:nvPr/>
          </p:nvSpPr>
          <p:spPr>
            <a:xfrm>
              <a:off x="9251525" y="1147275"/>
              <a:ext cx="289850" cy="350025"/>
            </a:xfrm>
            <a:custGeom>
              <a:avLst/>
              <a:gdLst/>
              <a:ahLst/>
              <a:cxnLst/>
              <a:rect l="l" t="t" r="r" b="b"/>
              <a:pathLst>
                <a:path w="11594" h="14001" extrusionOk="0">
                  <a:moveTo>
                    <a:pt x="5422" y="1"/>
                  </a:moveTo>
                  <a:cubicBezTo>
                    <a:pt x="2484" y="1"/>
                    <a:pt x="1" y="2647"/>
                    <a:pt x="485" y="5781"/>
                  </a:cubicBezTo>
                  <a:cubicBezTo>
                    <a:pt x="1019" y="9417"/>
                    <a:pt x="1152" y="10951"/>
                    <a:pt x="3154" y="12686"/>
                  </a:cubicBezTo>
                  <a:cubicBezTo>
                    <a:pt x="4195" y="13588"/>
                    <a:pt x="5396" y="14001"/>
                    <a:pt x="6545" y="14001"/>
                  </a:cubicBezTo>
                  <a:cubicBezTo>
                    <a:pt x="8710" y="14001"/>
                    <a:pt x="10689" y="12536"/>
                    <a:pt x="11059" y="10117"/>
                  </a:cubicBezTo>
                  <a:cubicBezTo>
                    <a:pt x="11593" y="6782"/>
                    <a:pt x="10659" y="1411"/>
                    <a:pt x="6956" y="244"/>
                  </a:cubicBezTo>
                  <a:cubicBezTo>
                    <a:pt x="6440" y="78"/>
                    <a:pt x="5924" y="1"/>
                    <a:pt x="5422" y="1"/>
                  </a:cubicBezTo>
                  <a:close/>
                </a:path>
              </a:pathLst>
            </a:custGeom>
            <a:solidFill>
              <a:srgbClr val="FFC3B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 name="Google Shape;1916;p54">
              <a:extLst>
                <a:ext uri="{FF2B5EF4-FFF2-40B4-BE49-F238E27FC236}">
                  <a16:creationId xmlns:a16="http://schemas.microsoft.com/office/drawing/2014/main" id="{25A52490-480D-633F-6620-F1C26A8A4C53}"/>
                </a:ext>
              </a:extLst>
            </p:cNvPr>
            <p:cNvSpPr/>
            <p:nvPr/>
          </p:nvSpPr>
          <p:spPr>
            <a:xfrm>
              <a:off x="8327975" y="4153825"/>
              <a:ext cx="4042900" cy="236025"/>
            </a:xfrm>
            <a:custGeom>
              <a:avLst/>
              <a:gdLst/>
              <a:ahLst/>
              <a:cxnLst/>
              <a:rect l="l" t="t" r="r" b="b"/>
              <a:pathLst>
                <a:path w="161716" h="9441" extrusionOk="0">
                  <a:moveTo>
                    <a:pt x="80858" y="1"/>
                  </a:moveTo>
                  <a:cubicBezTo>
                    <a:pt x="36193" y="1"/>
                    <a:pt x="0" y="2136"/>
                    <a:pt x="0" y="4738"/>
                  </a:cubicBezTo>
                  <a:cubicBezTo>
                    <a:pt x="0" y="7339"/>
                    <a:pt x="36193" y="9441"/>
                    <a:pt x="80858" y="9441"/>
                  </a:cubicBezTo>
                  <a:cubicBezTo>
                    <a:pt x="125523" y="9441"/>
                    <a:pt x="161716" y="7339"/>
                    <a:pt x="161716" y="4738"/>
                  </a:cubicBezTo>
                  <a:cubicBezTo>
                    <a:pt x="161716" y="2136"/>
                    <a:pt x="125523" y="1"/>
                    <a:pt x="80858" y="1"/>
                  </a:cubicBezTo>
                  <a:close/>
                </a:path>
              </a:pathLst>
            </a:custGeom>
            <a:solidFill>
              <a:srgbClr val="F5F5F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 name="Google Shape;1917;p54">
              <a:extLst>
                <a:ext uri="{FF2B5EF4-FFF2-40B4-BE49-F238E27FC236}">
                  <a16:creationId xmlns:a16="http://schemas.microsoft.com/office/drawing/2014/main" id="{942773EF-3F8E-574E-9DF8-333DE406F990}"/>
                </a:ext>
              </a:extLst>
            </p:cNvPr>
            <p:cNvSpPr/>
            <p:nvPr/>
          </p:nvSpPr>
          <p:spPr>
            <a:xfrm>
              <a:off x="9281150" y="1280950"/>
              <a:ext cx="20875" cy="962375"/>
            </a:xfrm>
            <a:custGeom>
              <a:avLst/>
              <a:gdLst/>
              <a:ahLst/>
              <a:cxnLst/>
              <a:rect l="l" t="t" r="r" b="b"/>
              <a:pathLst>
                <a:path w="835" h="38495" extrusionOk="0">
                  <a:moveTo>
                    <a:pt x="1" y="0"/>
                  </a:moveTo>
                  <a:lnTo>
                    <a:pt x="1" y="38494"/>
                  </a:lnTo>
                  <a:lnTo>
                    <a:pt x="835" y="38494"/>
                  </a:lnTo>
                  <a:lnTo>
                    <a:pt x="835" y="0"/>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 name="Google Shape;1918;p54">
              <a:extLst>
                <a:ext uri="{FF2B5EF4-FFF2-40B4-BE49-F238E27FC236}">
                  <a16:creationId xmlns:a16="http://schemas.microsoft.com/office/drawing/2014/main" id="{F9F786E0-CAC1-D9C5-4BA0-FA6A76AB6B82}"/>
                </a:ext>
              </a:extLst>
            </p:cNvPr>
            <p:cNvSpPr/>
            <p:nvPr/>
          </p:nvSpPr>
          <p:spPr>
            <a:xfrm>
              <a:off x="11679525" y="1280950"/>
              <a:ext cx="20875" cy="962375"/>
            </a:xfrm>
            <a:custGeom>
              <a:avLst/>
              <a:gdLst/>
              <a:ahLst/>
              <a:cxnLst/>
              <a:rect l="l" t="t" r="r" b="b"/>
              <a:pathLst>
                <a:path w="835" h="38495" extrusionOk="0">
                  <a:moveTo>
                    <a:pt x="1" y="0"/>
                  </a:moveTo>
                  <a:lnTo>
                    <a:pt x="1" y="38494"/>
                  </a:lnTo>
                  <a:lnTo>
                    <a:pt x="835" y="38494"/>
                  </a:lnTo>
                  <a:lnTo>
                    <a:pt x="835" y="0"/>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1919;p54">
              <a:extLst>
                <a:ext uri="{FF2B5EF4-FFF2-40B4-BE49-F238E27FC236}">
                  <a16:creationId xmlns:a16="http://schemas.microsoft.com/office/drawing/2014/main" id="{5EB4502D-0670-4EA9-5CDC-A2A27070086E}"/>
                </a:ext>
              </a:extLst>
            </p:cNvPr>
            <p:cNvSpPr/>
            <p:nvPr/>
          </p:nvSpPr>
          <p:spPr>
            <a:xfrm>
              <a:off x="9834875" y="3349925"/>
              <a:ext cx="166825" cy="314425"/>
            </a:xfrm>
            <a:custGeom>
              <a:avLst/>
              <a:gdLst/>
              <a:ahLst/>
              <a:cxnLst/>
              <a:rect l="l" t="t" r="r" b="b"/>
              <a:pathLst>
                <a:path w="6673" h="12577" extrusionOk="0">
                  <a:moveTo>
                    <a:pt x="801" y="1"/>
                  </a:moveTo>
                  <a:lnTo>
                    <a:pt x="1" y="12576"/>
                  </a:lnTo>
                  <a:lnTo>
                    <a:pt x="6672" y="12576"/>
                  </a:lnTo>
                  <a:lnTo>
                    <a:pt x="6672" y="434"/>
                  </a:lnTo>
                  <a:lnTo>
                    <a:pt x="801" y="1"/>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1920;p54">
              <a:extLst>
                <a:ext uri="{FF2B5EF4-FFF2-40B4-BE49-F238E27FC236}">
                  <a16:creationId xmlns:a16="http://schemas.microsoft.com/office/drawing/2014/main" id="{DD56352C-D438-1768-CA4E-51A055D4AB3F}"/>
                </a:ext>
              </a:extLst>
            </p:cNvPr>
            <p:cNvSpPr/>
            <p:nvPr/>
          </p:nvSpPr>
          <p:spPr>
            <a:xfrm>
              <a:off x="9848275" y="3224825"/>
              <a:ext cx="1184950" cy="1011600"/>
            </a:xfrm>
            <a:custGeom>
              <a:avLst/>
              <a:gdLst/>
              <a:ahLst/>
              <a:cxnLst/>
              <a:rect l="l" t="t" r="r" b="b"/>
              <a:pathLst>
                <a:path w="47398" h="40464" extrusionOk="0">
                  <a:moveTo>
                    <a:pt x="5277" y="1"/>
                  </a:moveTo>
                  <a:cubicBezTo>
                    <a:pt x="2336" y="1"/>
                    <a:pt x="0" y="2489"/>
                    <a:pt x="265" y="5438"/>
                  </a:cubicBezTo>
                  <a:lnTo>
                    <a:pt x="2333" y="34993"/>
                  </a:lnTo>
                  <a:cubicBezTo>
                    <a:pt x="2600" y="38061"/>
                    <a:pt x="5135" y="40397"/>
                    <a:pt x="8171" y="40463"/>
                  </a:cubicBezTo>
                  <a:lnTo>
                    <a:pt x="42062" y="40463"/>
                  </a:lnTo>
                  <a:cubicBezTo>
                    <a:pt x="42081" y="40463"/>
                    <a:pt x="42101" y="40464"/>
                    <a:pt x="42120" y="40464"/>
                  </a:cubicBezTo>
                  <a:cubicBezTo>
                    <a:pt x="45094" y="40464"/>
                    <a:pt x="47397" y="37942"/>
                    <a:pt x="47165" y="34993"/>
                  </a:cubicBezTo>
                  <a:lnTo>
                    <a:pt x="45064" y="5438"/>
                  </a:lnTo>
                  <a:cubicBezTo>
                    <a:pt x="44797" y="2403"/>
                    <a:pt x="42262" y="34"/>
                    <a:pt x="39226" y="1"/>
                  </a:cubicBezTo>
                  <a:lnTo>
                    <a:pt x="5336" y="1"/>
                  </a:lnTo>
                  <a:cubicBezTo>
                    <a:pt x="5316" y="1"/>
                    <a:pt x="5296" y="1"/>
                    <a:pt x="5277" y="1"/>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 name="Google Shape;1921;p54">
              <a:extLst>
                <a:ext uri="{FF2B5EF4-FFF2-40B4-BE49-F238E27FC236}">
                  <a16:creationId xmlns:a16="http://schemas.microsoft.com/office/drawing/2014/main" id="{7F655B0C-A4FF-03FA-11CA-41E76711F5D0}"/>
                </a:ext>
              </a:extLst>
            </p:cNvPr>
            <p:cNvSpPr/>
            <p:nvPr/>
          </p:nvSpPr>
          <p:spPr>
            <a:xfrm>
              <a:off x="9849125" y="3224800"/>
              <a:ext cx="1167450" cy="733925"/>
            </a:xfrm>
            <a:custGeom>
              <a:avLst/>
              <a:gdLst/>
              <a:ahLst/>
              <a:cxnLst/>
              <a:rect l="l" t="t" r="r" b="b"/>
              <a:pathLst>
                <a:path w="46698" h="29357" extrusionOk="0">
                  <a:moveTo>
                    <a:pt x="5187" y="1"/>
                  </a:moveTo>
                  <a:cubicBezTo>
                    <a:pt x="2273" y="1"/>
                    <a:pt x="1" y="2508"/>
                    <a:pt x="231" y="5406"/>
                  </a:cubicBezTo>
                  <a:lnTo>
                    <a:pt x="1899" y="29356"/>
                  </a:lnTo>
                  <a:lnTo>
                    <a:pt x="46698" y="29356"/>
                  </a:lnTo>
                  <a:lnTo>
                    <a:pt x="45030" y="5406"/>
                  </a:lnTo>
                  <a:cubicBezTo>
                    <a:pt x="44763" y="2370"/>
                    <a:pt x="42228" y="35"/>
                    <a:pt x="39192" y="2"/>
                  </a:cubicBezTo>
                  <a:lnTo>
                    <a:pt x="5302" y="2"/>
                  </a:lnTo>
                  <a:cubicBezTo>
                    <a:pt x="5263" y="1"/>
                    <a:pt x="5225" y="1"/>
                    <a:pt x="5187" y="1"/>
                  </a:cubicBezTo>
                  <a:close/>
                </a:path>
              </a:pathLst>
            </a:custGeom>
            <a:solidFill>
              <a:srgbClr val="7BD9C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 name="Google Shape;1922;p54">
              <a:extLst>
                <a:ext uri="{FF2B5EF4-FFF2-40B4-BE49-F238E27FC236}">
                  <a16:creationId xmlns:a16="http://schemas.microsoft.com/office/drawing/2014/main" id="{B9B9E5E0-007E-34AC-61C0-A2FBEF1031C0}"/>
                </a:ext>
              </a:extLst>
            </p:cNvPr>
            <p:cNvSpPr/>
            <p:nvPr/>
          </p:nvSpPr>
          <p:spPr>
            <a:xfrm>
              <a:off x="10136900" y="3310700"/>
              <a:ext cx="588550" cy="562150"/>
            </a:xfrm>
            <a:custGeom>
              <a:avLst/>
              <a:gdLst/>
              <a:ahLst/>
              <a:cxnLst/>
              <a:rect l="l" t="t" r="r" b="b"/>
              <a:pathLst>
                <a:path w="23542" h="22486" extrusionOk="0">
                  <a:moveTo>
                    <a:pt x="10830" y="467"/>
                  </a:moveTo>
                  <a:cubicBezTo>
                    <a:pt x="10887" y="467"/>
                    <a:pt x="10945" y="468"/>
                    <a:pt x="11003" y="469"/>
                  </a:cubicBezTo>
                  <a:cubicBezTo>
                    <a:pt x="17074" y="535"/>
                    <a:pt x="22044" y="5205"/>
                    <a:pt x="22578" y="11243"/>
                  </a:cubicBezTo>
                  <a:cubicBezTo>
                    <a:pt x="23073" y="17056"/>
                    <a:pt x="18532" y="22019"/>
                    <a:pt x="12744" y="22019"/>
                  </a:cubicBezTo>
                  <a:cubicBezTo>
                    <a:pt x="12686" y="22019"/>
                    <a:pt x="12628" y="22018"/>
                    <a:pt x="12571" y="22017"/>
                  </a:cubicBezTo>
                  <a:cubicBezTo>
                    <a:pt x="6500" y="21951"/>
                    <a:pt x="1496" y="17247"/>
                    <a:pt x="996" y="11210"/>
                  </a:cubicBezTo>
                  <a:cubicBezTo>
                    <a:pt x="467" y="5430"/>
                    <a:pt x="5041" y="467"/>
                    <a:pt x="10830" y="467"/>
                  </a:cubicBezTo>
                  <a:close/>
                  <a:moveTo>
                    <a:pt x="10830" y="0"/>
                  </a:moveTo>
                  <a:cubicBezTo>
                    <a:pt x="4774" y="0"/>
                    <a:pt x="0" y="5196"/>
                    <a:pt x="529" y="11243"/>
                  </a:cubicBezTo>
                  <a:cubicBezTo>
                    <a:pt x="962" y="17448"/>
                    <a:pt x="6366" y="22484"/>
                    <a:pt x="12537" y="22484"/>
                  </a:cubicBezTo>
                  <a:cubicBezTo>
                    <a:pt x="12576" y="22485"/>
                    <a:pt x="12615" y="22485"/>
                    <a:pt x="12653" y="22485"/>
                  </a:cubicBezTo>
                  <a:cubicBezTo>
                    <a:pt x="18736" y="22485"/>
                    <a:pt x="23542" y="17276"/>
                    <a:pt x="23011" y="11210"/>
                  </a:cubicBezTo>
                  <a:cubicBezTo>
                    <a:pt x="22578" y="5039"/>
                    <a:pt x="17174" y="2"/>
                    <a:pt x="11003" y="2"/>
                  </a:cubicBezTo>
                  <a:cubicBezTo>
                    <a:pt x="10945" y="1"/>
                    <a:pt x="10887" y="0"/>
                    <a:pt x="10830"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 name="Google Shape;1923;p54">
              <a:extLst>
                <a:ext uri="{FF2B5EF4-FFF2-40B4-BE49-F238E27FC236}">
                  <a16:creationId xmlns:a16="http://schemas.microsoft.com/office/drawing/2014/main" id="{E0BD8596-ABA7-C5EE-899F-BC8557110493}"/>
                </a:ext>
              </a:extLst>
            </p:cNvPr>
            <p:cNvSpPr/>
            <p:nvPr/>
          </p:nvSpPr>
          <p:spPr>
            <a:xfrm>
              <a:off x="10333575" y="3452500"/>
              <a:ext cx="250200" cy="277725"/>
            </a:xfrm>
            <a:custGeom>
              <a:avLst/>
              <a:gdLst/>
              <a:ahLst/>
              <a:cxnLst/>
              <a:rect l="l" t="t" r="r" b="b"/>
              <a:pathLst>
                <a:path w="10008" h="11109" extrusionOk="0">
                  <a:moveTo>
                    <a:pt x="0" y="0"/>
                  </a:moveTo>
                  <a:lnTo>
                    <a:pt x="768" y="11108"/>
                  </a:lnTo>
                  <a:lnTo>
                    <a:pt x="10007" y="5571"/>
                  </a:lnTo>
                  <a:lnTo>
                    <a:pt x="0" y="0"/>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 name="Google Shape;1924;p54">
              <a:extLst>
                <a:ext uri="{FF2B5EF4-FFF2-40B4-BE49-F238E27FC236}">
                  <a16:creationId xmlns:a16="http://schemas.microsoft.com/office/drawing/2014/main" id="{71D63788-CFD6-95F7-EAD3-BA14E6109E71}"/>
                </a:ext>
              </a:extLst>
            </p:cNvPr>
            <p:cNvSpPr/>
            <p:nvPr/>
          </p:nvSpPr>
          <p:spPr>
            <a:xfrm>
              <a:off x="11416000" y="4002900"/>
              <a:ext cx="84250" cy="191825"/>
            </a:xfrm>
            <a:custGeom>
              <a:avLst/>
              <a:gdLst/>
              <a:ahLst/>
              <a:cxnLst/>
              <a:rect l="l" t="t" r="r" b="b"/>
              <a:pathLst>
                <a:path w="3370" h="7673" extrusionOk="0">
                  <a:moveTo>
                    <a:pt x="34" y="0"/>
                  </a:moveTo>
                  <a:lnTo>
                    <a:pt x="1" y="7672"/>
                  </a:lnTo>
                  <a:lnTo>
                    <a:pt x="3303" y="7672"/>
                  </a:lnTo>
                  <a:lnTo>
                    <a:pt x="3370" y="0"/>
                  </a:lnTo>
                  <a:close/>
                </a:path>
              </a:pathLst>
            </a:custGeom>
            <a:solidFill>
              <a:srgbClr val="B55B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 name="Google Shape;1925;p54">
              <a:extLst>
                <a:ext uri="{FF2B5EF4-FFF2-40B4-BE49-F238E27FC236}">
                  <a16:creationId xmlns:a16="http://schemas.microsoft.com/office/drawing/2014/main" id="{7D0568CB-AF78-772D-D7EC-D35A87A7F056}"/>
                </a:ext>
              </a:extLst>
            </p:cNvPr>
            <p:cNvSpPr/>
            <p:nvPr/>
          </p:nvSpPr>
          <p:spPr>
            <a:xfrm>
              <a:off x="11882175" y="4002900"/>
              <a:ext cx="115950" cy="191825"/>
            </a:xfrm>
            <a:custGeom>
              <a:avLst/>
              <a:gdLst/>
              <a:ahLst/>
              <a:cxnLst/>
              <a:rect l="l" t="t" r="r" b="b"/>
              <a:pathLst>
                <a:path w="4638" h="7673" extrusionOk="0">
                  <a:moveTo>
                    <a:pt x="1" y="0"/>
                  </a:moveTo>
                  <a:lnTo>
                    <a:pt x="1301" y="7672"/>
                  </a:lnTo>
                  <a:lnTo>
                    <a:pt x="4637" y="7672"/>
                  </a:lnTo>
                  <a:lnTo>
                    <a:pt x="3336" y="0"/>
                  </a:lnTo>
                  <a:close/>
                </a:path>
              </a:pathLst>
            </a:custGeom>
            <a:solidFill>
              <a:srgbClr val="B55B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 name="Google Shape;1926;p54">
              <a:extLst>
                <a:ext uri="{FF2B5EF4-FFF2-40B4-BE49-F238E27FC236}">
                  <a16:creationId xmlns:a16="http://schemas.microsoft.com/office/drawing/2014/main" id="{4EB99111-DD26-AE86-3906-FECDED4AF1F6}"/>
                </a:ext>
              </a:extLst>
            </p:cNvPr>
            <p:cNvSpPr/>
            <p:nvPr/>
          </p:nvSpPr>
          <p:spPr>
            <a:xfrm>
              <a:off x="11754575" y="4185525"/>
              <a:ext cx="269400" cy="94250"/>
            </a:xfrm>
            <a:custGeom>
              <a:avLst/>
              <a:gdLst/>
              <a:ahLst/>
              <a:cxnLst/>
              <a:rect l="l" t="t" r="r" b="b"/>
              <a:pathLst>
                <a:path w="10776" h="3770" extrusionOk="0">
                  <a:moveTo>
                    <a:pt x="6205" y="0"/>
                  </a:moveTo>
                  <a:cubicBezTo>
                    <a:pt x="6005" y="0"/>
                    <a:pt x="5805" y="67"/>
                    <a:pt x="5672" y="201"/>
                  </a:cubicBezTo>
                  <a:cubicBezTo>
                    <a:pt x="4804" y="934"/>
                    <a:pt x="3170" y="1702"/>
                    <a:pt x="568" y="2269"/>
                  </a:cubicBezTo>
                  <a:cubicBezTo>
                    <a:pt x="1" y="2402"/>
                    <a:pt x="134" y="3770"/>
                    <a:pt x="1502" y="3770"/>
                  </a:cubicBezTo>
                  <a:cubicBezTo>
                    <a:pt x="2903" y="3770"/>
                    <a:pt x="5638" y="3670"/>
                    <a:pt x="6639" y="3670"/>
                  </a:cubicBezTo>
                  <a:cubicBezTo>
                    <a:pt x="8273" y="3670"/>
                    <a:pt x="8907" y="3736"/>
                    <a:pt x="10208" y="3770"/>
                  </a:cubicBezTo>
                  <a:cubicBezTo>
                    <a:pt x="10542" y="3770"/>
                    <a:pt x="10775" y="3503"/>
                    <a:pt x="10742" y="3169"/>
                  </a:cubicBezTo>
                  <a:lnTo>
                    <a:pt x="10208" y="234"/>
                  </a:lnTo>
                  <a:cubicBezTo>
                    <a:pt x="10208" y="100"/>
                    <a:pt x="10075" y="0"/>
                    <a:pt x="9941"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 name="Google Shape;1927;p54">
              <a:extLst>
                <a:ext uri="{FF2B5EF4-FFF2-40B4-BE49-F238E27FC236}">
                  <a16:creationId xmlns:a16="http://schemas.microsoft.com/office/drawing/2014/main" id="{21C40D47-6DE4-2602-67F8-E4154FD65383}"/>
                </a:ext>
              </a:extLst>
            </p:cNvPr>
            <p:cNvSpPr/>
            <p:nvPr/>
          </p:nvSpPr>
          <p:spPr>
            <a:xfrm>
              <a:off x="11220875" y="4185525"/>
              <a:ext cx="307750" cy="94250"/>
            </a:xfrm>
            <a:custGeom>
              <a:avLst/>
              <a:gdLst/>
              <a:ahLst/>
              <a:cxnLst/>
              <a:rect l="l" t="t" r="r" b="b"/>
              <a:pathLst>
                <a:path w="12310" h="3770" extrusionOk="0">
                  <a:moveTo>
                    <a:pt x="7839" y="0"/>
                  </a:moveTo>
                  <a:cubicBezTo>
                    <a:pt x="7539" y="0"/>
                    <a:pt x="7272" y="100"/>
                    <a:pt x="7039" y="267"/>
                  </a:cubicBezTo>
                  <a:cubicBezTo>
                    <a:pt x="4704" y="1635"/>
                    <a:pt x="3203" y="1702"/>
                    <a:pt x="567" y="2269"/>
                  </a:cubicBezTo>
                  <a:cubicBezTo>
                    <a:pt x="0" y="2402"/>
                    <a:pt x="301" y="3770"/>
                    <a:pt x="1668" y="3770"/>
                  </a:cubicBezTo>
                  <a:cubicBezTo>
                    <a:pt x="3936" y="3770"/>
                    <a:pt x="4971" y="3670"/>
                    <a:pt x="6905" y="3670"/>
                  </a:cubicBezTo>
                  <a:cubicBezTo>
                    <a:pt x="8540" y="3670"/>
                    <a:pt x="10441" y="3736"/>
                    <a:pt x="11742" y="3770"/>
                  </a:cubicBezTo>
                  <a:cubicBezTo>
                    <a:pt x="12076" y="3770"/>
                    <a:pt x="12309" y="3503"/>
                    <a:pt x="12242" y="3169"/>
                  </a:cubicBezTo>
                  <a:lnTo>
                    <a:pt x="11742" y="234"/>
                  </a:lnTo>
                  <a:cubicBezTo>
                    <a:pt x="11709" y="100"/>
                    <a:pt x="11609" y="0"/>
                    <a:pt x="11475"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 name="Google Shape;1928;p54">
              <a:extLst>
                <a:ext uri="{FF2B5EF4-FFF2-40B4-BE49-F238E27FC236}">
                  <a16:creationId xmlns:a16="http://schemas.microsoft.com/office/drawing/2014/main" id="{DE31060D-11BD-1C9D-D6F1-C40263105E34}"/>
                </a:ext>
              </a:extLst>
            </p:cNvPr>
            <p:cNvSpPr/>
            <p:nvPr/>
          </p:nvSpPr>
          <p:spPr>
            <a:xfrm>
              <a:off x="11079925" y="1573650"/>
              <a:ext cx="411175" cy="589625"/>
            </a:xfrm>
            <a:custGeom>
              <a:avLst/>
              <a:gdLst/>
              <a:ahLst/>
              <a:cxnLst/>
              <a:rect l="l" t="t" r="r" b="b"/>
              <a:pathLst>
                <a:path w="16447" h="23585" extrusionOk="0">
                  <a:moveTo>
                    <a:pt x="11909" y="1"/>
                  </a:moveTo>
                  <a:cubicBezTo>
                    <a:pt x="11909" y="1"/>
                    <a:pt x="7073" y="12076"/>
                    <a:pt x="5872" y="13344"/>
                  </a:cubicBezTo>
                  <a:cubicBezTo>
                    <a:pt x="4271" y="15011"/>
                    <a:pt x="2636" y="18647"/>
                    <a:pt x="1" y="21683"/>
                  </a:cubicBezTo>
                  <a:cubicBezTo>
                    <a:pt x="168" y="22217"/>
                    <a:pt x="1035" y="23417"/>
                    <a:pt x="1502" y="23584"/>
                  </a:cubicBezTo>
                  <a:cubicBezTo>
                    <a:pt x="5071" y="21182"/>
                    <a:pt x="9441" y="17113"/>
                    <a:pt x="10342" y="15178"/>
                  </a:cubicBezTo>
                  <a:cubicBezTo>
                    <a:pt x="12376" y="10708"/>
                    <a:pt x="16446" y="1302"/>
                    <a:pt x="16446" y="1302"/>
                  </a:cubicBezTo>
                  <a:lnTo>
                    <a:pt x="11909" y="1"/>
                  </a:lnTo>
                  <a:close/>
                </a:path>
              </a:pathLst>
            </a:custGeom>
            <a:solidFill>
              <a:srgbClr val="B55B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 name="Google Shape;1929;p54">
              <a:extLst>
                <a:ext uri="{FF2B5EF4-FFF2-40B4-BE49-F238E27FC236}">
                  <a16:creationId xmlns:a16="http://schemas.microsoft.com/office/drawing/2014/main" id="{3E711E44-AB50-D02F-813D-9185B419A4F0}"/>
                </a:ext>
              </a:extLst>
            </p:cNvPr>
            <p:cNvSpPr/>
            <p:nvPr/>
          </p:nvSpPr>
          <p:spPr>
            <a:xfrm>
              <a:off x="11291750" y="1455000"/>
              <a:ext cx="266050" cy="324650"/>
            </a:xfrm>
            <a:custGeom>
              <a:avLst/>
              <a:gdLst/>
              <a:ahLst/>
              <a:cxnLst/>
              <a:rect l="l" t="t" r="r" b="b"/>
              <a:pathLst>
                <a:path w="10642" h="12986" extrusionOk="0">
                  <a:moveTo>
                    <a:pt x="5576" y="0"/>
                  </a:moveTo>
                  <a:cubicBezTo>
                    <a:pt x="4823" y="0"/>
                    <a:pt x="4056" y="520"/>
                    <a:pt x="3336" y="1811"/>
                  </a:cubicBezTo>
                  <a:cubicBezTo>
                    <a:pt x="1969" y="4413"/>
                    <a:pt x="835" y="7182"/>
                    <a:pt x="1" y="10017"/>
                  </a:cubicBezTo>
                  <a:lnTo>
                    <a:pt x="6806" y="12986"/>
                  </a:lnTo>
                  <a:cubicBezTo>
                    <a:pt x="6806" y="12986"/>
                    <a:pt x="10642" y="6848"/>
                    <a:pt x="9341" y="3979"/>
                  </a:cubicBezTo>
                  <a:cubicBezTo>
                    <a:pt x="8419" y="1918"/>
                    <a:pt x="7022" y="0"/>
                    <a:pt x="5576" y="0"/>
                  </a:cubicBezTo>
                  <a:close/>
                </a:path>
              </a:pathLst>
            </a:custGeom>
            <a:solidFill>
              <a:srgbClr val="7BD9C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 name="Google Shape;1930;p54">
              <a:extLst>
                <a:ext uri="{FF2B5EF4-FFF2-40B4-BE49-F238E27FC236}">
                  <a16:creationId xmlns:a16="http://schemas.microsoft.com/office/drawing/2014/main" id="{7F7253AA-5351-EFAB-2898-5FBAEC5FEC7E}"/>
                </a:ext>
              </a:extLst>
            </p:cNvPr>
            <p:cNvSpPr/>
            <p:nvPr/>
          </p:nvSpPr>
          <p:spPr>
            <a:xfrm>
              <a:off x="11020725" y="2093200"/>
              <a:ext cx="111775" cy="124275"/>
            </a:xfrm>
            <a:custGeom>
              <a:avLst/>
              <a:gdLst/>
              <a:ahLst/>
              <a:cxnLst/>
              <a:rect l="l" t="t" r="r" b="b"/>
              <a:pathLst>
                <a:path w="4471" h="4971" extrusionOk="0">
                  <a:moveTo>
                    <a:pt x="3436" y="0"/>
                  </a:moveTo>
                  <a:lnTo>
                    <a:pt x="1" y="1701"/>
                  </a:lnTo>
                  <a:lnTo>
                    <a:pt x="2736" y="4970"/>
                  </a:lnTo>
                  <a:cubicBezTo>
                    <a:pt x="2736" y="4970"/>
                    <a:pt x="3536" y="4470"/>
                    <a:pt x="4470" y="2202"/>
                  </a:cubicBezTo>
                  <a:lnTo>
                    <a:pt x="3436" y="0"/>
                  </a:lnTo>
                  <a:close/>
                </a:path>
              </a:pathLst>
            </a:custGeom>
            <a:solidFill>
              <a:srgbClr val="B55B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 name="Google Shape;1931;p54">
              <a:extLst>
                <a:ext uri="{FF2B5EF4-FFF2-40B4-BE49-F238E27FC236}">
                  <a16:creationId xmlns:a16="http://schemas.microsoft.com/office/drawing/2014/main" id="{54270137-4007-FB33-2F6F-74FFC5DE5980}"/>
                </a:ext>
              </a:extLst>
            </p:cNvPr>
            <p:cNvSpPr/>
            <p:nvPr/>
          </p:nvSpPr>
          <p:spPr>
            <a:xfrm>
              <a:off x="10972350" y="2135725"/>
              <a:ext cx="116775" cy="121375"/>
            </a:xfrm>
            <a:custGeom>
              <a:avLst/>
              <a:gdLst/>
              <a:ahLst/>
              <a:cxnLst/>
              <a:rect l="l" t="t" r="r" b="b"/>
              <a:pathLst>
                <a:path w="4671" h="4855" extrusionOk="0">
                  <a:moveTo>
                    <a:pt x="1936" y="0"/>
                  </a:moveTo>
                  <a:lnTo>
                    <a:pt x="401" y="2135"/>
                  </a:lnTo>
                  <a:cubicBezTo>
                    <a:pt x="1" y="2702"/>
                    <a:pt x="101" y="3503"/>
                    <a:pt x="635" y="3970"/>
                  </a:cubicBezTo>
                  <a:lnTo>
                    <a:pt x="1335" y="4537"/>
                  </a:lnTo>
                  <a:cubicBezTo>
                    <a:pt x="1596" y="4745"/>
                    <a:pt x="1902" y="4854"/>
                    <a:pt x="2206" y="4854"/>
                  </a:cubicBezTo>
                  <a:cubicBezTo>
                    <a:pt x="2485" y="4854"/>
                    <a:pt x="2763" y="4762"/>
                    <a:pt x="3003" y="4570"/>
                  </a:cubicBezTo>
                  <a:lnTo>
                    <a:pt x="4671" y="3269"/>
                  </a:lnTo>
                  <a:lnTo>
                    <a:pt x="1936" y="0"/>
                  </a:lnTo>
                  <a:close/>
                </a:path>
              </a:pathLst>
            </a:custGeom>
            <a:solidFill>
              <a:srgbClr val="B55B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 name="Google Shape;1932;p54">
              <a:extLst>
                <a:ext uri="{FF2B5EF4-FFF2-40B4-BE49-F238E27FC236}">
                  <a16:creationId xmlns:a16="http://schemas.microsoft.com/office/drawing/2014/main" id="{F8425FA1-9B36-D0D9-F82D-DB7B65FD591D}"/>
                </a:ext>
              </a:extLst>
            </p:cNvPr>
            <p:cNvSpPr/>
            <p:nvPr/>
          </p:nvSpPr>
          <p:spPr>
            <a:xfrm>
              <a:off x="9914950" y="1932275"/>
              <a:ext cx="1328450" cy="1224550"/>
            </a:xfrm>
            <a:custGeom>
              <a:avLst/>
              <a:gdLst/>
              <a:ahLst/>
              <a:cxnLst/>
              <a:rect l="l" t="t" r="r" b="b"/>
              <a:pathLst>
                <a:path w="53138" h="48982" extrusionOk="0">
                  <a:moveTo>
                    <a:pt x="38526" y="0"/>
                  </a:moveTo>
                  <a:cubicBezTo>
                    <a:pt x="38008" y="0"/>
                    <a:pt x="37481" y="75"/>
                    <a:pt x="36960" y="233"/>
                  </a:cubicBezTo>
                  <a:lnTo>
                    <a:pt x="4503" y="10006"/>
                  </a:lnTo>
                  <a:cubicBezTo>
                    <a:pt x="1601" y="10874"/>
                    <a:pt x="0" y="13909"/>
                    <a:pt x="867" y="16778"/>
                  </a:cubicBezTo>
                  <a:lnTo>
                    <a:pt x="9373" y="45098"/>
                  </a:lnTo>
                  <a:cubicBezTo>
                    <a:pt x="10079" y="47460"/>
                    <a:pt x="12220" y="48982"/>
                    <a:pt x="14557" y="48982"/>
                  </a:cubicBezTo>
                  <a:cubicBezTo>
                    <a:pt x="15092" y="48982"/>
                    <a:pt x="15638" y="48902"/>
                    <a:pt x="16178" y="48734"/>
                  </a:cubicBezTo>
                  <a:lnTo>
                    <a:pt x="48601" y="38994"/>
                  </a:lnTo>
                  <a:cubicBezTo>
                    <a:pt x="51503" y="38093"/>
                    <a:pt x="53138" y="35091"/>
                    <a:pt x="52271" y="32189"/>
                  </a:cubicBezTo>
                  <a:lnTo>
                    <a:pt x="43731" y="3869"/>
                  </a:lnTo>
                  <a:cubicBezTo>
                    <a:pt x="43022" y="1521"/>
                    <a:pt x="40860" y="0"/>
                    <a:pt x="3852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1933;p54">
              <a:extLst>
                <a:ext uri="{FF2B5EF4-FFF2-40B4-BE49-F238E27FC236}">
                  <a16:creationId xmlns:a16="http://schemas.microsoft.com/office/drawing/2014/main" id="{898F125C-6BD4-01E0-E129-2FD7ACBEDEF7}"/>
                </a:ext>
              </a:extLst>
            </p:cNvPr>
            <p:cNvSpPr/>
            <p:nvPr/>
          </p:nvSpPr>
          <p:spPr>
            <a:xfrm>
              <a:off x="9914950" y="1932275"/>
              <a:ext cx="1328450" cy="1224550"/>
            </a:xfrm>
            <a:custGeom>
              <a:avLst/>
              <a:gdLst/>
              <a:ahLst/>
              <a:cxnLst/>
              <a:rect l="l" t="t" r="r" b="b"/>
              <a:pathLst>
                <a:path w="53138" h="48982" extrusionOk="0">
                  <a:moveTo>
                    <a:pt x="38526" y="0"/>
                  </a:moveTo>
                  <a:cubicBezTo>
                    <a:pt x="38008" y="0"/>
                    <a:pt x="37481" y="75"/>
                    <a:pt x="36960" y="233"/>
                  </a:cubicBezTo>
                  <a:lnTo>
                    <a:pt x="4503" y="10006"/>
                  </a:lnTo>
                  <a:cubicBezTo>
                    <a:pt x="1601" y="10874"/>
                    <a:pt x="0" y="13909"/>
                    <a:pt x="867" y="16778"/>
                  </a:cubicBezTo>
                  <a:lnTo>
                    <a:pt x="9373" y="45098"/>
                  </a:lnTo>
                  <a:cubicBezTo>
                    <a:pt x="10079" y="47460"/>
                    <a:pt x="12220" y="48982"/>
                    <a:pt x="14557" y="48982"/>
                  </a:cubicBezTo>
                  <a:cubicBezTo>
                    <a:pt x="15092" y="48982"/>
                    <a:pt x="15638" y="48902"/>
                    <a:pt x="16178" y="48734"/>
                  </a:cubicBezTo>
                  <a:lnTo>
                    <a:pt x="48601" y="38994"/>
                  </a:lnTo>
                  <a:cubicBezTo>
                    <a:pt x="51503" y="38093"/>
                    <a:pt x="53138" y="35091"/>
                    <a:pt x="52271" y="32189"/>
                  </a:cubicBezTo>
                  <a:lnTo>
                    <a:pt x="43731" y="3869"/>
                  </a:lnTo>
                  <a:cubicBezTo>
                    <a:pt x="43022" y="1521"/>
                    <a:pt x="40860" y="0"/>
                    <a:pt x="38526" y="0"/>
                  </a:cubicBezTo>
                  <a:close/>
                </a:path>
              </a:pathLst>
            </a:custGeom>
            <a:solidFill>
              <a:srgbClr val="7BD9C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 name="Google Shape;1934;p54">
              <a:extLst>
                <a:ext uri="{FF2B5EF4-FFF2-40B4-BE49-F238E27FC236}">
                  <a16:creationId xmlns:a16="http://schemas.microsoft.com/office/drawing/2014/main" id="{2F0B0BDC-1413-0067-BC79-63324D2A65EE}"/>
                </a:ext>
              </a:extLst>
            </p:cNvPr>
            <p:cNvSpPr/>
            <p:nvPr/>
          </p:nvSpPr>
          <p:spPr>
            <a:xfrm>
              <a:off x="10175125" y="2176975"/>
              <a:ext cx="615475" cy="523350"/>
            </a:xfrm>
            <a:custGeom>
              <a:avLst/>
              <a:gdLst/>
              <a:ahLst/>
              <a:cxnLst/>
              <a:rect l="l" t="t" r="r" b="b"/>
              <a:pathLst>
                <a:path w="24619" h="20934" extrusionOk="0">
                  <a:moveTo>
                    <a:pt x="16167" y="0"/>
                  </a:moveTo>
                  <a:cubicBezTo>
                    <a:pt x="12792" y="0"/>
                    <a:pt x="9430" y="1156"/>
                    <a:pt x="6705" y="3454"/>
                  </a:cubicBezTo>
                  <a:cubicBezTo>
                    <a:pt x="1602" y="7724"/>
                    <a:pt x="0" y="14896"/>
                    <a:pt x="2836" y="20933"/>
                  </a:cubicBezTo>
                  <a:lnTo>
                    <a:pt x="16179" y="14729"/>
                  </a:lnTo>
                  <a:lnTo>
                    <a:pt x="24618" y="2653"/>
                  </a:lnTo>
                  <a:cubicBezTo>
                    <a:pt x="22068" y="881"/>
                    <a:pt x="19113" y="0"/>
                    <a:pt x="16167"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 name="Google Shape;1935;p54">
              <a:extLst>
                <a:ext uri="{FF2B5EF4-FFF2-40B4-BE49-F238E27FC236}">
                  <a16:creationId xmlns:a16="http://schemas.microsoft.com/office/drawing/2014/main" id="{20298345-72D2-9CD9-16D9-3E5CBC4378F1}"/>
                </a:ext>
              </a:extLst>
            </p:cNvPr>
            <p:cNvSpPr/>
            <p:nvPr/>
          </p:nvSpPr>
          <p:spPr>
            <a:xfrm>
              <a:off x="10246000" y="2243300"/>
              <a:ext cx="753900" cy="668775"/>
            </a:xfrm>
            <a:custGeom>
              <a:avLst/>
              <a:gdLst/>
              <a:ahLst/>
              <a:cxnLst/>
              <a:rect l="l" t="t" r="r" b="b"/>
              <a:pathLst>
                <a:path w="30156" h="26751" extrusionOk="0">
                  <a:moveTo>
                    <a:pt x="21950" y="1201"/>
                  </a:moveTo>
                  <a:cubicBezTo>
                    <a:pt x="22383" y="1502"/>
                    <a:pt x="22784" y="1868"/>
                    <a:pt x="23151" y="2235"/>
                  </a:cubicBezTo>
                  <a:cubicBezTo>
                    <a:pt x="29122" y="8240"/>
                    <a:pt x="28388" y="18113"/>
                    <a:pt x="21616" y="23184"/>
                  </a:cubicBezTo>
                  <a:cubicBezTo>
                    <a:pt x="19110" y="25048"/>
                    <a:pt x="16207" y="25934"/>
                    <a:pt x="13339" y="25934"/>
                  </a:cubicBezTo>
                  <a:cubicBezTo>
                    <a:pt x="8457" y="25934"/>
                    <a:pt x="3677" y="23366"/>
                    <a:pt x="1135" y="18681"/>
                  </a:cubicBezTo>
                  <a:lnTo>
                    <a:pt x="13677" y="12843"/>
                  </a:lnTo>
                  <a:lnTo>
                    <a:pt x="13877" y="12743"/>
                  </a:lnTo>
                  <a:lnTo>
                    <a:pt x="14011" y="12576"/>
                  </a:lnTo>
                  <a:lnTo>
                    <a:pt x="21950" y="1201"/>
                  </a:lnTo>
                  <a:close/>
                  <a:moveTo>
                    <a:pt x="21783" y="0"/>
                  </a:moveTo>
                  <a:lnTo>
                    <a:pt x="21783" y="34"/>
                  </a:lnTo>
                  <a:lnTo>
                    <a:pt x="13344" y="12076"/>
                  </a:lnTo>
                  <a:lnTo>
                    <a:pt x="1" y="18314"/>
                  </a:lnTo>
                  <a:cubicBezTo>
                    <a:pt x="2531" y="23702"/>
                    <a:pt x="7858" y="26750"/>
                    <a:pt x="13331" y="26750"/>
                  </a:cubicBezTo>
                  <a:cubicBezTo>
                    <a:pt x="16227" y="26750"/>
                    <a:pt x="19164" y="25897"/>
                    <a:pt x="21750" y="24084"/>
                  </a:cubicBezTo>
                  <a:cubicBezTo>
                    <a:pt x="29222" y="18847"/>
                    <a:pt x="30156" y="8140"/>
                    <a:pt x="23751" y="1668"/>
                  </a:cubicBezTo>
                  <a:cubicBezTo>
                    <a:pt x="23117" y="1035"/>
                    <a:pt x="22484" y="501"/>
                    <a:pt x="2178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 name="Google Shape;1936;p54">
              <a:extLst>
                <a:ext uri="{FF2B5EF4-FFF2-40B4-BE49-F238E27FC236}">
                  <a16:creationId xmlns:a16="http://schemas.microsoft.com/office/drawing/2014/main" id="{9C4C6BA7-157C-AD00-01E1-51AFEC182DD1}"/>
                </a:ext>
              </a:extLst>
            </p:cNvPr>
            <p:cNvSpPr/>
            <p:nvPr/>
          </p:nvSpPr>
          <p:spPr>
            <a:xfrm>
              <a:off x="11416000" y="4002900"/>
              <a:ext cx="84250" cy="99250"/>
            </a:xfrm>
            <a:custGeom>
              <a:avLst/>
              <a:gdLst/>
              <a:ahLst/>
              <a:cxnLst/>
              <a:rect l="l" t="t" r="r" b="b"/>
              <a:pathLst>
                <a:path w="3370" h="3970" extrusionOk="0">
                  <a:moveTo>
                    <a:pt x="34" y="0"/>
                  </a:moveTo>
                  <a:lnTo>
                    <a:pt x="1" y="3970"/>
                  </a:lnTo>
                  <a:lnTo>
                    <a:pt x="3337" y="3970"/>
                  </a:lnTo>
                  <a:lnTo>
                    <a:pt x="3370" y="0"/>
                  </a:lnTo>
                  <a:close/>
                </a:path>
              </a:pathLst>
            </a:custGeom>
            <a:solidFill>
              <a:srgbClr val="9E514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 name="Google Shape;1937;p54">
              <a:extLst>
                <a:ext uri="{FF2B5EF4-FFF2-40B4-BE49-F238E27FC236}">
                  <a16:creationId xmlns:a16="http://schemas.microsoft.com/office/drawing/2014/main" id="{E449C0EE-1922-56D0-9E73-BB5301A0AD26}"/>
                </a:ext>
              </a:extLst>
            </p:cNvPr>
            <p:cNvSpPr/>
            <p:nvPr/>
          </p:nvSpPr>
          <p:spPr>
            <a:xfrm>
              <a:off x="11882175" y="4002900"/>
              <a:ext cx="100100" cy="99250"/>
            </a:xfrm>
            <a:custGeom>
              <a:avLst/>
              <a:gdLst/>
              <a:ahLst/>
              <a:cxnLst/>
              <a:rect l="l" t="t" r="r" b="b"/>
              <a:pathLst>
                <a:path w="4004" h="3970" extrusionOk="0">
                  <a:moveTo>
                    <a:pt x="1" y="0"/>
                  </a:moveTo>
                  <a:lnTo>
                    <a:pt x="668" y="3970"/>
                  </a:lnTo>
                  <a:lnTo>
                    <a:pt x="4003" y="3970"/>
                  </a:lnTo>
                  <a:lnTo>
                    <a:pt x="3336" y="0"/>
                  </a:lnTo>
                  <a:close/>
                </a:path>
              </a:pathLst>
            </a:custGeom>
            <a:solidFill>
              <a:srgbClr val="9E514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 name="Google Shape;1938;p54">
              <a:extLst>
                <a:ext uri="{FF2B5EF4-FFF2-40B4-BE49-F238E27FC236}">
                  <a16:creationId xmlns:a16="http://schemas.microsoft.com/office/drawing/2014/main" id="{F173BDC9-E138-EF65-9202-998E52F96364}"/>
                </a:ext>
              </a:extLst>
            </p:cNvPr>
            <p:cNvSpPr/>
            <p:nvPr/>
          </p:nvSpPr>
          <p:spPr>
            <a:xfrm>
              <a:off x="11308425" y="1430425"/>
              <a:ext cx="577100" cy="779550"/>
            </a:xfrm>
            <a:custGeom>
              <a:avLst/>
              <a:gdLst/>
              <a:ahLst/>
              <a:cxnLst/>
              <a:rect l="l" t="t" r="r" b="b"/>
              <a:pathLst>
                <a:path w="23084" h="31182" extrusionOk="0">
                  <a:moveTo>
                    <a:pt x="13381" y="1"/>
                  </a:moveTo>
                  <a:cubicBezTo>
                    <a:pt x="12118" y="1"/>
                    <a:pt x="10859" y="42"/>
                    <a:pt x="9608" y="126"/>
                  </a:cubicBezTo>
                  <a:cubicBezTo>
                    <a:pt x="7873" y="292"/>
                    <a:pt x="6139" y="593"/>
                    <a:pt x="4437" y="1026"/>
                  </a:cubicBezTo>
                  <a:cubicBezTo>
                    <a:pt x="4437" y="1026"/>
                    <a:pt x="1" y="12468"/>
                    <a:pt x="2836" y="31181"/>
                  </a:cubicBezTo>
                  <a:lnTo>
                    <a:pt x="20649" y="31181"/>
                  </a:lnTo>
                  <a:cubicBezTo>
                    <a:pt x="20882" y="28446"/>
                    <a:pt x="19848" y="13735"/>
                    <a:pt x="23084" y="859"/>
                  </a:cubicBezTo>
                  <a:cubicBezTo>
                    <a:pt x="21116" y="493"/>
                    <a:pt x="19148" y="226"/>
                    <a:pt x="17180" y="126"/>
                  </a:cubicBezTo>
                  <a:cubicBezTo>
                    <a:pt x="15912" y="42"/>
                    <a:pt x="14645" y="1"/>
                    <a:pt x="13381" y="1"/>
                  </a:cubicBezTo>
                  <a:close/>
                </a:path>
              </a:pathLst>
            </a:custGeom>
            <a:solidFill>
              <a:srgbClr val="7BD9C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 name="Google Shape;1939;p54">
              <a:extLst>
                <a:ext uri="{FF2B5EF4-FFF2-40B4-BE49-F238E27FC236}">
                  <a16:creationId xmlns:a16="http://schemas.microsoft.com/office/drawing/2014/main" id="{F7F8EFD3-4B38-39D8-3968-C19DD2DA5B8B}"/>
                </a:ext>
              </a:extLst>
            </p:cNvPr>
            <p:cNvSpPr/>
            <p:nvPr/>
          </p:nvSpPr>
          <p:spPr>
            <a:xfrm>
              <a:off x="11774600" y="1482525"/>
              <a:ext cx="103425" cy="374700"/>
            </a:xfrm>
            <a:custGeom>
              <a:avLst/>
              <a:gdLst/>
              <a:ahLst/>
              <a:cxnLst/>
              <a:rect l="l" t="t" r="r" b="b"/>
              <a:pathLst>
                <a:path w="4137" h="14988" extrusionOk="0">
                  <a:moveTo>
                    <a:pt x="3404" y="1"/>
                  </a:moveTo>
                  <a:cubicBezTo>
                    <a:pt x="2229" y="1"/>
                    <a:pt x="733" y="347"/>
                    <a:pt x="434" y="1978"/>
                  </a:cubicBezTo>
                  <a:cubicBezTo>
                    <a:pt x="0" y="4079"/>
                    <a:pt x="467" y="9150"/>
                    <a:pt x="2202" y="14987"/>
                  </a:cubicBezTo>
                  <a:cubicBezTo>
                    <a:pt x="2402" y="9984"/>
                    <a:pt x="3036" y="4980"/>
                    <a:pt x="4137" y="76"/>
                  </a:cubicBezTo>
                  <a:lnTo>
                    <a:pt x="4137" y="43"/>
                  </a:lnTo>
                  <a:cubicBezTo>
                    <a:pt x="3921" y="18"/>
                    <a:pt x="3671" y="1"/>
                    <a:pt x="3404" y="1"/>
                  </a:cubicBezTo>
                  <a:close/>
                </a:path>
              </a:pathLst>
            </a:custGeom>
            <a:solidFill>
              <a:srgbClr val="B7B7B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 name="Google Shape;1940;p54">
              <a:extLst>
                <a:ext uri="{FF2B5EF4-FFF2-40B4-BE49-F238E27FC236}">
                  <a16:creationId xmlns:a16="http://schemas.microsoft.com/office/drawing/2014/main" id="{4ED8AB65-A807-AE29-7FE2-23AAF491F67B}"/>
                </a:ext>
              </a:extLst>
            </p:cNvPr>
            <p:cNvSpPr/>
            <p:nvPr/>
          </p:nvSpPr>
          <p:spPr>
            <a:xfrm>
              <a:off x="11494400" y="1257600"/>
              <a:ext cx="243525" cy="238525"/>
            </a:xfrm>
            <a:custGeom>
              <a:avLst/>
              <a:gdLst/>
              <a:ahLst/>
              <a:cxnLst/>
              <a:rect l="l" t="t" r="r" b="b"/>
              <a:pathLst>
                <a:path w="9741" h="9541" extrusionOk="0">
                  <a:moveTo>
                    <a:pt x="9074" y="0"/>
                  </a:moveTo>
                  <a:lnTo>
                    <a:pt x="4537" y="1168"/>
                  </a:lnTo>
                  <a:cubicBezTo>
                    <a:pt x="4937" y="3069"/>
                    <a:pt x="4904" y="6438"/>
                    <a:pt x="2169" y="7072"/>
                  </a:cubicBezTo>
                  <a:cubicBezTo>
                    <a:pt x="2169" y="7072"/>
                    <a:pt x="0" y="9540"/>
                    <a:pt x="4103" y="9540"/>
                  </a:cubicBezTo>
                  <a:cubicBezTo>
                    <a:pt x="8640" y="9540"/>
                    <a:pt x="9741" y="7072"/>
                    <a:pt x="9741" y="7072"/>
                  </a:cubicBezTo>
                  <a:cubicBezTo>
                    <a:pt x="8106" y="5437"/>
                    <a:pt x="8473" y="2402"/>
                    <a:pt x="9074" y="0"/>
                  </a:cubicBezTo>
                  <a:close/>
                </a:path>
              </a:pathLst>
            </a:custGeom>
            <a:solidFill>
              <a:srgbClr val="B55B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 name="Google Shape;1941;p54">
              <a:extLst>
                <a:ext uri="{FF2B5EF4-FFF2-40B4-BE49-F238E27FC236}">
                  <a16:creationId xmlns:a16="http://schemas.microsoft.com/office/drawing/2014/main" id="{01F92008-94CC-572E-1FD7-9816982978BA}"/>
                </a:ext>
              </a:extLst>
            </p:cNvPr>
            <p:cNvSpPr/>
            <p:nvPr/>
          </p:nvSpPr>
          <p:spPr>
            <a:xfrm>
              <a:off x="11596975" y="1408525"/>
              <a:ext cx="163475" cy="128450"/>
            </a:xfrm>
            <a:custGeom>
              <a:avLst/>
              <a:gdLst/>
              <a:ahLst/>
              <a:cxnLst/>
              <a:rect l="l" t="t" r="r" b="b"/>
              <a:pathLst>
                <a:path w="6539" h="5138" extrusionOk="0">
                  <a:moveTo>
                    <a:pt x="5137" y="1"/>
                  </a:moveTo>
                  <a:cubicBezTo>
                    <a:pt x="5137" y="1"/>
                    <a:pt x="4837" y="2303"/>
                    <a:pt x="0" y="3470"/>
                  </a:cubicBezTo>
                  <a:cubicBezTo>
                    <a:pt x="2669" y="4037"/>
                    <a:pt x="3203" y="5138"/>
                    <a:pt x="3203" y="5138"/>
                  </a:cubicBezTo>
                  <a:cubicBezTo>
                    <a:pt x="3203" y="5138"/>
                    <a:pt x="6538" y="3770"/>
                    <a:pt x="6405" y="868"/>
                  </a:cubicBezTo>
                  <a:cubicBezTo>
                    <a:pt x="6405" y="868"/>
                    <a:pt x="5604" y="368"/>
                    <a:pt x="5137"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 name="Google Shape;1942;p54">
              <a:extLst>
                <a:ext uri="{FF2B5EF4-FFF2-40B4-BE49-F238E27FC236}">
                  <a16:creationId xmlns:a16="http://schemas.microsoft.com/office/drawing/2014/main" id="{8BC2C978-F051-31B2-7951-667B45DAFD11}"/>
                </a:ext>
              </a:extLst>
            </p:cNvPr>
            <p:cNvSpPr/>
            <p:nvPr/>
          </p:nvSpPr>
          <p:spPr>
            <a:xfrm>
              <a:off x="11505250" y="1421875"/>
              <a:ext cx="91750" cy="101775"/>
            </a:xfrm>
            <a:custGeom>
              <a:avLst/>
              <a:gdLst/>
              <a:ahLst/>
              <a:cxnLst/>
              <a:rect l="l" t="t" r="r" b="b"/>
              <a:pathLst>
                <a:path w="3670" h="4071" extrusionOk="0">
                  <a:moveTo>
                    <a:pt x="2368" y="1"/>
                  </a:moveTo>
                  <a:lnTo>
                    <a:pt x="2368" y="1"/>
                  </a:lnTo>
                  <a:cubicBezTo>
                    <a:pt x="1868" y="101"/>
                    <a:pt x="1368" y="267"/>
                    <a:pt x="901" y="468"/>
                  </a:cubicBezTo>
                  <a:cubicBezTo>
                    <a:pt x="0" y="3370"/>
                    <a:pt x="534" y="4070"/>
                    <a:pt x="534" y="4070"/>
                  </a:cubicBezTo>
                  <a:cubicBezTo>
                    <a:pt x="534" y="4070"/>
                    <a:pt x="1535" y="3069"/>
                    <a:pt x="3669" y="2936"/>
                  </a:cubicBezTo>
                  <a:cubicBezTo>
                    <a:pt x="1935" y="2302"/>
                    <a:pt x="2368" y="1"/>
                    <a:pt x="2368"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 name="Google Shape;1943;p54">
              <a:extLst>
                <a:ext uri="{FF2B5EF4-FFF2-40B4-BE49-F238E27FC236}">
                  <a16:creationId xmlns:a16="http://schemas.microsoft.com/office/drawing/2014/main" id="{8772E4FF-4B8E-9C43-797A-AE48579E29A6}"/>
                </a:ext>
              </a:extLst>
            </p:cNvPr>
            <p:cNvSpPr/>
            <p:nvPr/>
          </p:nvSpPr>
          <p:spPr>
            <a:xfrm>
              <a:off x="11602800" y="1256750"/>
              <a:ext cx="118450" cy="129300"/>
            </a:xfrm>
            <a:custGeom>
              <a:avLst/>
              <a:gdLst/>
              <a:ahLst/>
              <a:cxnLst/>
              <a:rect l="l" t="t" r="r" b="b"/>
              <a:pathLst>
                <a:path w="4738" h="5172" extrusionOk="0">
                  <a:moveTo>
                    <a:pt x="4738" y="1"/>
                  </a:moveTo>
                  <a:lnTo>
                    <a:pt x="201" y="1168"/>
                  </a:lnTo>
                  <a:cubicBezTo>
                    <a:pt x="435" y="2269"/>
                    <a:pt x="535" y="3904"/>
                    <a:pt x="1" y="5171"/>
                  </a:cubicBezTo>
                  <a:cubicBezTo>
                    <a:pt x="435" y="5105"/>
                    <a:pt x="835" y="4971"/>
                    <a:pt x="1235" y="4804"/>
                  </a:cubicBezTo>
                  <a:cubicBezTo>
                    <a:pt x="2803" y="4070"/>
                    <a:pt x="3603" y="2936"/>
                    <a:pt x="4471" y="1268"/>
                  </a:cubicBezTo>
                  <a:cubicBezTo>
                    <a:pt x="4537" y="835"/>
                    <a:pt x="4638" y="435"/>
                    <a:pt x="4738" y="1"/>
                  </a:cubicBezTo>
                  <a:close/>
                </a:path>
              </a:pathLst>
            </a:custGeom>
            <a:solidFill>
              <a:srgbClr val="9E514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 name="Google Shape;1944;p54">
              <a:extLst>
                <a:ext uri="{FF2B5EF4-FFF2-40B4-BE49-F238E27FC236}">
                  <a16:creationId xmlns:a16="http://schemas.microsoft.com/office/drawing/2014/main" id="{D220375E-9707-B61F-C684-797B98DBA21E}"/>
                </a:ext>
              </a:extLst>
            </p:cNvPr>
            <p:cNvSpPr/>
            <p:nvPr/>
          </p:nvSpPr>
          <p:spPr>
            <a:xfrm>
              <a:off x="11504400" y="1170025"/>
              <a:ext cx="88950" cy="97125"/>
            </a:xfrm>
            <a:custGeom>
              <a:avLst/>
              <a:gdLst/>
              <a:ahLst/>
              <a:cxnLst/>
              <a:rect l="l" t="t" r="r" b="b"/>
              <a:pathLst>
                <a:path w="3558" h="3885" extrusionOk="0">
                  <a:moveTo>
                    <a:pt x="1735" y="1"/>
                  </a:moveTo>
                  <a:cubicBezTo>
                    <a:pt x="735" y="1"/>
                    <a:pt x="1" y="1035"/>
                    <a:pt x="368" y="2002"/>
                  </a:cubicBezTo>
                  <a:cubicBezTo>
                    <a:pt x="601" y="2769"/>
                    <a:pt x="1168" y="3403"/>
                    <a:pt x="1902" y="3770"/>
                  </a:cubicBezTo>
                  <a:cubicBezTo>
                    <a:pt x="2078" y="3849"/>
                    <a:pt x="2244" y="3885"/>
                    <a:pt x="2399" y="3885"/>
                  </a:cubicBezTo>
                  <a:cubicBezTo>
                    <a:pt x="3098" y="3885"/>
                    <a:pt x="3558" y="3155"/>
                    <a:pt x="3503" y="2336"/>
                  </a:cubicBezTo>
                  <a:cubicBezTo>
                    <a:pt x="3403" y="1402"/>
                    <a:pt x="2803" y="34"/>
                    <a:pt x="1735" y="1"/>
                  </a:cubicBezTo>
                  <a:close/>
                </a:path>
              </a:pathLst>
            </a:custGeom>
            <a:solidFill>
              <a:srgbClr val="B55B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 name="Google Shape;1945;p54">
              <a:extLst>
                <a:ext uri="{FF2B5EF4-FFF2-40B4-BE49-F238E27FC236}">
                  <a16:creationId xmlns:a16="http://schemas.microsoft.com/office/drawing/2014/main" id="{44EEDF58-E8E6-46AC-03F0-6ECF38F20F88}"/>
                </a:ext>
              </a:extLst>
            </p:cNvPr>
            <p:cNvSpPr/>
            <p:nvPr/>
          </p:nvSpPr>
          <p:spPr>
            <a:xfrm>
              <a:off x="11504400" y="1170025"/>
              <a:ext cx="88950" cy="97125"/>
            </a:xfrm>
            <a:custGeom>
              <a:avLst/>
              <a:gdLst/>
              <a:ahLst/>
              <a:cxnLst/>
              <a:rect l="l" t="t" r="r" b="b"/>
              <a:pathLst>
                <a:path w="3558" h="3885" extrusionOk="0">
                  <a:moveTo>
                    <a:pt x="1735" y="1"/>
                  </a:moveTo>
                  <a:cubicBezTo>
                    <a:pt x="735" y="1"/>
                    <a:pt x="1" y="1035"/>
                    <a:pt x="368" y="2002"/>
                  </a:cubicBezTo>
                  <a:cubicBezTo>
                    <a:pt x="601" y="2769"/>
                    <a:pt x="1168" y="3403"/>
                    <a:pt x="1902" y="3770"/>
                  </a:cubicBezTo>
                  <a:cubicBezTo>
                    <a:pt x="2078" y="3849"/>
                    <a:pt x="2244" y="3885"/>
                    <a:pt x="2399" y="3885"/>
                  </a:cubicBezTo>
                  <a:cubicBezTo>
                    <a:pt x="3098" y="3885"/>
                    <a:pt x="3558" y="3155"/>
                    <a:pt x="3503" y="2336"/>
                  </a:cubicBezTo>
                  <a:cubicBezTo>
                    <a:pt x="3403" y="1402"/>
                    <a:pt x="2803" y="34"/>
                    <a:pt x="1735" y="1"/>
                  </a:cubicBezTo>
                  <a:close/>
                </a:path>
              </a:pathLst>
            </a:custGeom>
            <a:solidFill>
              <a:srgbClr val="9E514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 name="Google Shape;1946;p54">
              <a:extLst>
                <a:ext uri="{FF2B5EF4-FFF2-40B4-BE49-F238E27FC236}">
                  <a16:creationId xmlns:a16="http://schemas.microsoft.com/office/drawing/2014/main" id="{B7D40681-182D-4C72-F9B5-B6A7410684E9}"/>
                </a:ext>
              </a:extLst>
            </p:cNvPr>
            <p:cNvSpPr/>
            <p:nvPr/>
          </p:nvSpPr>
          <p:spPr>
            <a:xfrm>
              <a:off x="11517200" y="1048225"/>
              <a:ext cx="144850" cy="118875"/>
            </a:xfrm>
            <a:custGeom>
              <a:avLst/>
              <a:gdLst/>
              <a:ahLst/>
              <a:cxnLst/>
              <a:rect l="l" t="t" r="r" b="b"/>
              <a:pathLst>
                <a:path w="5794" h="4755" extrusionOk="0">
                  <a:moveTo>
                    <a:pt x="3160" y="0"/>
                  </a:moveTo>
                  <a:cubicBezTo>
                    <a:pt x="1827" y="0"/>
                    <a:pt x="0" y="4485"/>
                    <a:pt x="2858" y="4739"/>
                  </a:cubicBezTo>
                  <a:cubicBezTo>
                    <a:pt x="2958" y="4749"/>
                    <a:pt x="3055" y="4754"/>
                    <a:pt x="3148" y="4754"/>
                  </a:cubicBezTo>
                  <a:cubicBezTo>
                    <a:pt x="5793" y="4754"/>
                    <a:pt x="5292" y="745"/>
                    <a:pt x="3358" y="36"/>
                  </a:cubicBezTo>
                  <a:cubicBezTo>
                    <a:pt x="3294" y="12"/>
                    <a:pt x="3228" y="0"/>
                    <a:pt x="3160"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 name="Google Shape;1947;p54">
              <a:extLst>
                <a:ext uri="{FF2B5EF4-FFF2-40B4-BE49-F238E27FC236}">
                  <a16:creationId xmlns:a16="http://schemas.microsoft.com/office/drawing/2014/main" id="{BD765ED2-B9D0-5856-66AC-4FC8C7FB2A0F}"/>
                </a:ext>
              </a:extLst>
            </p:cNvPr>
            <p:cNvSpPr/>
            <p:nvPr/>
          </p:nvSpPr>
          <p:spPr>
            <a:xfrm>
              <a:off x="11521725" y="1038225"/>
              <a:ext cx="276650" cy="322450"/>
            </a:xfrm>
            <a:custGeom>
              <a:avLst/>
              <a:gdLst/>
              <a:ahLst/>
              <a:cxnLst/>
              <a:rect l="l" t="t" r="r" b="b"/>
              <a:pathLst>
                <a:path w="11066" h="12898" extrusionOk="0">
                  <a:moveTo>
                    <a:pt x="6094" y="1"/>
                  </a:moveTo>
                  <a:cubicBezTo>
                    <a:pt x="5830" y="1"/>
                    <a:pt x="5558" y="23"/>
                    <a:pt x="5279" y="69"/>
                  </a:cubicBezTo>
                  <a:cubicBezTo>
                    <a:pt x="1810" y="669"/>
                    <a:pt x="142" y="5373"/>
                    <a:pt x="75" y="8408"/>
                  </a:cubicBezTo>
                  <a:cubicBezTo>
                    <a:pt x="0" y="10951"/>
                    <a:pt x="1956" y="12898"/>
                    <a:pt x="4230" y="12898"/>
                  </a:cubicBezTo>
                  <a:cubicBezTo>
                    <a:pt x="4999" y="12898"/>
                    <a:pt x="5804" y="12675"/>
                    <a:pt x="6580" y="12178"/>
                  </a:cubicBezTo>
                  <a:cubicBezTo>
                    <a:pt x="8614" y="10877"/>
                    <a:pt x="9081" y="8975"/>
                    <a:pt x="10115" y="5773"/>
                  </a:cubicBezTo>
                  <a:cubicBezTo>
                    <a:pt x="11066" y="2831"/>
                    <a:pt x="9087" y="1"/>
                    <a:pt x="6094" y="1"/>
                  </a:cubicBezTo>
                  <a:close/>
                </a:path>
              </a:pathLst>
            </a:custGeom>
            <a:solidFill>
              <a:srgbClr val="B55B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 name="Google Shape;1948;p54">
              <a:extLst>
                <a:ext uri="{FF2B5EF4-FFF2-40B4-BE49-F238E27FC236}">
                  <a16:creationId xmlns:a16="http://schemas.microsoft.com/office/drawing/2014/main" id="{EC20EE9F-81EA-42C6-0D92-B89ABB1B75B3}"/>
                </a:ext>
              </a:extLst>
            </p:cNvPr>
            <p:cNvSpPr/>
            <p:nvPr/>
          </p:nvSpPr>
          <p:spPr>
            <a:xfrm>
              <a:off x="11531925" y="936100"/>
              <a:ext cx="360275" cy="309525"/>
            </a:xfrm>
            <a:custGeom>
              <a:avLst/>
              <a:gdLst/>
              <a:ahLst/>
              <a:cxnLst/>
              <a:rect l="l" t="t" r="r" b="b"/>
              <a:pathLst>
                <a:path w="14411" h="12381" extrusionOk="0">
                  <a:moveTo>
                    <a:pt x="3832" y="0"/>
                  </a:moveTo>
                  <a:cubicBezTo>
                    <a:pt x="3746" y="0"/>
                    <a:pt x="3658" y="6"/>
                    <a:pt x="3570" y="18"/>
                  </a:cubicBezTo>
                  <a:cubicBezTo>
                    <a:pt x="1502" y="285"/>
                    <a:pt x="1" y="4287"/>
                    <a:pt x="2602" y="6256"/>
                  </a:cubicBezTo>
                  <a:cubicBezTo>
                    <a:pt x="3967" y="7264"/>
                    <a:pt x="6835" y="8167"/>
                    <a:pt x="8157" y="8167"/>
                  </a:cubicBezTo>
                  <a:cubicBezTo>
                    <a:pt x="8322" y="8167"/>
                    <a:pt x="8463" y="8153"/>
                    <a:pt x="8573" y="8124"/>
                  </a:cubicBezTo>
                  <a:lnTo>
                    <a:pt x="8573" y="8124"/>
                  </a:lnTo>
                  <a:cubicBezTo>
                    <a:pt x="7209" y="10555"/>
                    <a:pt x="7242" y="12381"/>
                    <a:pt x="8345" y="12381"/>
                  </a:cubicBezTo>
                  <a:cubicBezTo>
                    <a:pt x="8482" y="12381"/>
                    <a:pt x="8637" y="12352"/>
                    <a:pt x="8807" y="12293"/>
                  </a:cubicBezTo>
                  <a:cubicBezTo>
                    <a:pt x="13010" y="10859"/>
                    <a:pt x="14411" y="5688"/>
                    <a:pt x="11175" y="5455"/>
                  </a:cubicBezTo>
                  <a:cubicBezTo>
                    <a:pt x="8043" y="5197"/>
                    <a:pt x="6443" y="0"/>
                    <a:pt x="3832"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 name="Google Shape;1949;p54">
              <a:extLst>
                <a:ext uri="{FF2B5EF4-FFF2-40B4-BE49-F238E27FC236}">
                  <a16:creationId xmlns:a16="http://schemas.microsoft.com/office/drawing/2014/main" id="{B6AD3D10-7BF5-BF25-43DC-984A2FAF1F21}"/>
                </a:ext>
              </a:extLst>
            </p:cNvPr>
            <p:cNvSpPr/>
            <p:nvPr/>
          </p:nvSpPr>
          <p:spPr>
            <a:xfrm>
              <a:off x="11586975" y="1249475"/>
              <a:ext cx="53375" cy="17625"/>
            </a:xfrm>
            <a:custGeom>
              <a:avLst/>
              <a:gdLst/>
              <a:ahLst/>
              <a:cxnLst/>
              <a:rect l="l" t="t" r="r" b="b"/>
              <a:pathLst>
                <a:path w="2135" h="705" extrusionOk="0">
                  <a:moveTo>
                    <a:pt x="2052" y="0"/>
                  </a:moveTo>
                  <a:cubicBezTo>
                    <a:pt x="2035" y="0"/>
                    <a:pt x="2018" y="8"/>
                    <a:pt x="2002" y="25"/>
                  </a:cubicBezTo>
                  <a:cubicBezTo>
                    <a:pt x="1588" y="361"/>
                    <a:pt x="1074" y="537"/>
                    <a:pt x="553" y="537"/>
                  </a:cubicBezTo>
                  <a:cubicBezTo>
                    <a:pt x="402" y="537"/>
                    <a:pt x="250" y="522"/>
                    <a:pt x="100" y="492"/>
                  </a:cubicBezTo>
                  <a:cubicBezTo>
                    <a:pt x="67" y="492"/>
                    <a:pt x="33" y="525"/>
                    <a:pt x="0" y="559"/>
                  </a:cubicBezTo>
                  <a:cubicBezTo>
                    <a:pt x="0" y="592"/>
                    <a:pt x="33" y="659"/>
                    <a:pt x="67" y="659"/>
                  </a:cubicBezTo>
                  <a:cubicBezTo>
                    <a:pt x="167" y="659"/>
                    <a:pt x="267" y="692"/>
                    <a:pt x="400" y="692"/>
                  </a:cubicBezTo>
                  <a:cubicBezTo>
                    <a:pt x="477" y="701"/>
                    <a:pt x="553" y="705"/>
                    <a:pt x="630" y="705"/>
                  </a:cubicBezTo>
                  <a:cubicBezTo>
                    <a:pt x="1159" y="705"/>
                    <a:pt x="1694" y="508"/>
                    <a:pt x="2102" y="158"/>
                  </a:cubicBezTo>
                  <a:cubicBezTo>
                    <a:pt x="2135" y="125"/>
                    <a:pt x="2135" y="58"/>
                    <a:pt x="2102" y="25"/>
                  </a:cubicBezTo>
                  <a:cubicBezTo>
                    <a:pt x="2085" y="8"/>
                    <a:pt x="2068" y="0"/>
                    <a:pt x="2052"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 name="Google Shape;1950;p54">
              <a:extLst>
                <a:ext uri="{FF2B5EF4-FFF2-40B4-BE49-F238E27FC236}">
                  <a16:creationId xmlns:a16="http://schemas.microsoft.com/office/drawing/2014/main" id="{3C830B27-AAED-8E3A-80B0-D613C3DB5CB3}"/>
                </a:ext>
              </a:extLst>
            </p:cNvPr>
            <p:cNvSpPr/>
            <p:nvPr/>
          </p:nvSpPr>
          <p:spPr>
            <a:xfrm>
              <a:off x="11698700" y="1218225"/>
              <a:ext cx="106775" cy="85250"/>
            </a:xfrm>
            <a:custGeom>
              <a:avLst/>
              <a:gdLst/>
              <a:ahLst/>
              <a:cxnLst/>
              <a:rect l="l" t="t" r="r" b="b"/>
              <a:pathLst>
                <a:path w="4271" h="3410" extrusionOk="0">
                  <a:moveTo>
                    <a:pt x="2757" y="0"/>
                  </a:moveTo>
                  <a:cubicBezTo>
                    <a:pt x="1911" y="0"/>
                    <a:pt x="1010" y="778"/>
                    <a:pt x="568" y="1442"/>
                  </a:cubicBezTo>
                  <a:cubicBezTo>
                    <a:pt x="1" y="2342"/>
                    <a:pt x="201" y="3410"/>
                    <a:pt x="1302" y="3410"/>
                  </a:cubicBezTo>
                  <a:cubicBezTo>
                    <a:pt x="2136" y="3377"/>
                    <a:pt x="2936" y="3043"/>
                    <a:pt x="3537" y="2443"/>
                  </a:cubicBezTo>
                  <a:cubicBezTo>
                    <a:pt x="4271" y="1709"/>
                    <a:pt x="4237" y="541"/>
                    <a:pt x="3270" y="108"/>
                  </a:cubicBezTo>
                  <a:cubicBezTo>
                    <a:pt x="3104" y="33"/>
                    <a:pt x="2932" y="0"/>
                    <a:pt x="2757" y="0"/>
                  </a:cubicBezTo>
                  <a:close/>
                </a:path>
              </a:pathLst>
            </a:custGeom>
            <a:solidFill>
              <a:srgbClr val="B55B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 name="Google Shape;1951;p54">
              <a:extLst>
                <a:ext uri="{FF2B5EF4-FFF2-40B4-BE49-F238E27FC236}">
                  <a16:creationId xmlns:a16="http://schemas.microsoft.com/office/drawing/2014/main" id="{6CAC33E2-C235-9B1A-313B-1B9098592CE4}"/>
                </a:ext>
              </a:extLst>
            </p:cNvPr>
            <p:cNvSpPr/>
            <p:nvPr/>
          </p:nvSpPr>
          <p:spPr>
            <a:xfrm>
              <a:off x="11332625" y="2209100"/>
              <a:ext cx="339425" cy="1873875"/>
            </a:xfrm>
            <a:custGeom>
              <a:avLst/>
              <a:gdLst/>
              <a:ahLst/>
              <a:cxnLst/>
              <a:rect l="l" t="t" r="r" b="b"/>
              <a:pathLst>
                <a:path w="13577" h="74955" extrusionOk="0">
                  <a:moveTo>
                    <a:pt x="1868" y="1"/>
                  </a:moveTo>
                  <a:cubicBezTo>
                    <a:pt x="1868" y="1"/>
                    <a:pt x="267" y="23484"/>
                    <a:pt x="134" y="33625"/>
                  </a:cubicBezTo>
                  <a:cubicBezTo>
                    <a:pt x="0" y="44166"/>
                    <a:pt x="2135" y="74954"/>
                    <a:pt x="2135" y="74954"/>
                  </a:cubicBezTo>
                  <a:lnTo>
                    <a:pt x="7772" y="74954"/>
                  </a:lnTo>
                  <a:cubicBezTo>
                    <a:pt x="7772" y="74954"/>
                    <a:pt x="9507" y="44800"/>
                    <a:pt x="10274" y="34425"/>
                  </a:cubicBezTo>
                  <a:cubicBezTo>
                    <a:pt x="10341" y="33391"/>
                    <a:pt x="10441" y="32257"/>
                    <a:pt x="10541" y="31056"/>
                  </a:cubicBezTo>
                  <a:cubicBezTo>
                    <a:pt x="10541" y="31023"/>
                    <a:pt x="10541" y="30990"/>
                    <a:pt x="10541" y="30990"/>
                  </a:cubicBezTo>
                  <a:cubicBezTo>
                    <a:pt x="11041" y="24618"/>
                    <a:pt x="11875" y="16279"/>
                    <a:pt x="12542" y="9875"/>
                  </a:cubicBezTo>
                  <a:cubicBezTo>
                    <a:pt x="13110" y="4204"/>
                    <a:pt x="13577" y="34"/>
                    <a:pt x="13577" y="34"/>
                  </a:cubicBezTo>
                  <a:lnTo>
                    <a:pt x="1868" y="1"/>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 name="Google Shape;1952;p54">
              <a:extLst>
                <a:ext uri="{FF2B5EF4-FFF2-40B4-BE49-F238E27FC236}">
                  <a16:creationId xmlns:a16="http://schemas.microsoft.com/office/drawing/2014/main" id="{60F0D18B-35F4-C300-C484-10E96F104F48}"/>
                </a:ext>
              </a:extLst>
            </p:cNvPr>
            <p:cNvSpPr/>
            <p:nvPr/>
          </p:nvSpPr>
          <p:spPr>
            <a:xfrm>
              <a:off x="11370150" y="4022075"/>
              <a:ext cx="169300" cy="63400"/>
            </a:xfrm>
            <a:custGeom>
              <a:avLst/>
              <a:gdLst/>
              <a:ahLst/>
              <a:cxnLst/>
              <a:rect l="l" t="t" r="r" b="b"/>
              <a:pathLst>
                <a:path w="6772" h="2536" extrusionOk="0">
                  <a:moveTo>
                    <a:pt x="0" y="0"/>
                  </a:moveTo>
                  <a:lnTo>
                    <a:pt x="134" y="2536"/>
                  </a:lnTo>
                  <a:lnTo>
                    <a:pt x="6638" y="2536"/>
                  </a:lnTo>
                  <a:cubicBezTo>
                    <a:pt x="6638" y="2536"/>
                    <a:pt x="6772" y="234"/>
                    <a:pt x="6738" y="234"/>
                  </a:cubicBezTo>
                  <a:lnTo>
                    <a:pt x="0" y="0"/>
                  </a:ln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 name="Google Shape;1953;p54">
              <a:extLst>
                <a:ext uri="{FF2B5EF4-FFF2-40B4-BE49-F238E27FC236}">
                  <a16:creationId xmlns:a16="http://schemas.microsoft.com/office/drawing/2014/main" id="{67655B48-BD05-2D3E-D11F-3A1FE8FDAD0D}"/>
                </a:ext>
              </a:extLst>
            </p:cNvPr>
            <p:cNvSpPr/>
            <p:nvPr/>
          </p:nvSpPr>
          <p:spPr>
            <a:xfrm>
              <a:off x="11555275" y="2339200"/>
              <a:ext cx="90925" cy="646325"/>
            </a:xfrm>
            <a:custGeom>
              <a:avLst/>
              <a:gdLst/>
              <a:ahLst/>
              <a:cxnLst/>
              <a:rect l="l" t="t" r="r" b="b"/>
              <a:pathLst>
                <a:path w="3637" h="25853" extrusionOk="0">
                  <a:moveTo>
                    <a:pt x="468" y="1"/>
                  </a:moveTo>
                  <a:lnTo>
                    <a:pt x="468" y="1"/>
                  </a:lnTo>
                  <a:cubicBezTo>
                    <a:pt x="1" y="12343"/>
                    <a:pt x="367" y="19848"/>
                    <a:pt x="1635" y="25852"/>
                  </a:cubicBezTo>
                  <a:cubicBezTo>
                    <a:pt x="1635" y="25852"/>
                    <a:pt x="1635" y="25819"/>
                    <a:pt x="1635" y="25786"/>
                  </a:cubicBezTo>
                  <a:cubicBezTo>
                    <a:pt x="2135" y="19414"/>
                    <a:pt x="2969" y="11075"/>
                    <a:pt x="3636" y="4671"/>
                  </a:cubicBezTo>
                  <a:lnTo>
                    <a:pt x="468" y="1"/>
                  </a:lnTo>
                  <a:close/>
                </a:path>
              </a:pathLst>
            </a:custGeom>
            <a:solidFill>
              <a:srgbClr val="2F9C8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 name="Google Shape;1954;p54">
              <a:extLst>
                <a:ext uri="{FF2B5EF4-FFF2-40B4-BE49-F238E27FC236}">
                  <a16:creationId xmlns:a16="http://schemas.microsoft.com/office/drawing/2014/main" id="{BA0A123F-63B7-7A08-304D-B4EBD0FB3D2C}"/>
                </a:ext>
              </a:extLst>
            </p:cNvPr>
            <p:cNvSpPr/>
            <p:nvPr/>
          </p:nvSpPr>
          <p:spPr>
            <a:xfrm>
              <a:off x="11537775" y="2209100"/>
              <a:ext cx="476175" cy="1873875"/>
            </a:xfrm>
            <a:custGeom>
              <a:avLst/>
              <a:gdLst/>
              <a:ahLst/>
              <a:cxnLst/>
              <a:rect l="l" t="t" r="r" b="b"/>
              <a:pathLst>
                <a:path w="19047" h="74955" extrusionOk="0">
                  <a:moveTo>
                    <a:pt x="11475" y="1"/>
                  </a:moveTo>
                  <a:lnTo>
                    <a:pt x="0" y="34"/>
                  </a:lnTo>
                  <a:cubicBezTo>
                    <a:pt x="0" y="34"/>
                    <a:pt x="2602" y="24051"/>
                    <a:pt x="4203" y="33558"/>
                  </a:cubicBezTo>
                  <a:cubicBezTo>
                    <a:pt x="5971" y="43999"/>
                    <a:pt x="12976" y="74954"/>
                    <a:pt x="12976" y="74954"/>
                  </a:cubicBezTo>
                  <a:lnTo>
                    <a:pt x="19047" y="74954"/>
                  </a:lnTo>
                  <a:cubicBezTo>
                    <a:pt x="19047" y="74954"/>
                    <a:pt x="14944" y="44833"/>
                    <a:pt x="14143" y="34492"/>
                  </a:cubicBezTo>
                  <a:cubicBezTo>
                    <a:pt x="13276" y="23284"/>
                    <a:pt x="11475" y="1"/>
                    <a:pt x="11475" y="1"/>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 name="Google Shape;1955;p54">
              <a:extLst>
                <a:ext uri="{FF2B5EF4-FFF2-40B4-BE49-F238E27FC236}">
                  <a16:creationId xmlns:a16="http://schemas.microsoft.com/office/drawing/2014/main" id="{CC806157-51F9-1ECF-025F-059F894AEDBA}"/>
                </a:ext>
              </a:extLst>
            </p:cNvPr>
            <p:cNvSpPr/>
            <p:nvPr/>
          </p:nvSpPr>
          <p:spPr>
            <a:xfrm>
              <a:off x="11841325" y="4024575"/>
              <a:ext cx="179300" cy="60900"/>
            </a:xfrm>
            <a:custGeom>
              <a:avLst/>
              <a:gdLst/>
              <a:ahLst/>
              <a:cxnLst/>
              <a:rect l="l" t="t" r="r" b="b"/>
              <a:pathLst>
                <a:path w="7172" h="2436" extrusionOk="0">
                  <a:moveTo>
                    <a:pt x="0" y="0"/>
                  </a:moveTo>
                  <a:lnTo>
                    <a:pt x="500" y="2436"/>
                  </a:lnTo>
                  <a:lnTo>
                    <a:pt x="7172" y="2436"/>
                  </a:lnTo>
                  <a:cubicBezTo>
                    <a:pt x="7172" y="2436"/>
                    <a:pt x="7005" y="267"/>
                    <a:pt x="6972" y="267"/>
                  </a:cubicBezTo>
                  <a:lnTo>
                    <a:pt x="0" y="0"/>
                  </a:ln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 name="Google Shape;1956;p54">
              <a:extLst>
                <a:ext uri="{FF2B5EF4-FFF2-40B4-BE49-F238E27FC236}">
                  <a16:creationId xmlns:a16="http://schemas.microsoft.com/office/drawing/2014/main" id="{F6CA4D90-FCB0-0853-97D6-9E929B263610}"/>
                </a:ext>
              </a:extLst>
            </p:cNvPr>
            <p:cNvSpPr/>
            <p:nvPr/>
          </p:nvSpPr>
          <p:spPr>
            <a:xfrm>
              <a:off x="11631175" y="1164925"/>
              <a:ext cx="18350" cy="24400"/>
            </a:xfrm>
            <a:custGeom>
              <a:avLst/>
              <a:gdLst/>
              <a:ahLst/>
              <a:cxnLst/>
              <a:rect l="l" t="t" r="r" b="b"/>
              <a:pathLst>
                <a:path w="734" h="976" extrusionOk="0">
                  <a:moveTo>
                    <a:pt x="463" y="1"/>
                  </a:moveTo>
                  <a:cubicBezTo>
                    <a:pt x="305" y="1"/>
                    <a:pt x="129" y="191"/>
                    <a:pt x="67" y="438"/>
                  </a:cubicBezTo>
                  <a:cubicBezTo>
                    <a:pt x="0" y="705"/>
                    <a:pt x="100" y="939"/>
                    <a:pt x="267" y="972"/>
                  </a:cubicBezTo>
                  <a:cubicBezTo>
                    <a:pt x="277" y="974"/>
                    <a:pt x="287" y="976"/>
                    <a:pt x="297" y="976"/>
                  </a:cubicBezTo>
                  <a:cubicBezTo>
                    <a:pt x="429" y="976"/>
                    <a:pt x="605" y="788"/>
                    <a:pt x="667" y="572"/>
                  </a:cubicBezTo>
                  <a:cubicBezTo>
                    <a:pt x="734" y="305"/>
                    <a:pt x="634" y="38"/>
                    <a:pt x="500" y="5"/>
                  </a:cubicBezTo>
                  <a:cubicBezTo>
                    <a:pt x="488" y="2"/>
                    <a:pt x="476" y="1"/>
                    <a:pt x="463"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 name="Google Shape;1957;p54">
              <a:extLst>
                <a:ext uri="{FF2B5EF4-FFF2-40B4-BE49-F238E27FC236}">
                  <a16:creationId xmlns:a16="http://schemas.microsoft.com/office/drawing/2014/main" id="{24D34829-2016-1EDB-49C3-A2D980190170}"/>
                </a:ext>
              </a:extLst>
            </p:cNvPr>
            <p:cNvSpPr/>
            <p:nvPr/>
          </p:nvSpPr>
          <p:spPr>
            <a:xfrm>
              <a:off x="11557775" y="1149100"/>
              <a:ext cx="18375" cy="24375"/>
            </a:xfrm>
            <a:custGeom>
              <a:avLst/>
              <a:gdLst/>
              <a:ahLst/>
              <a:cxnLst/>
              <a:rect l="l" t="t" r="r" b="b"/>
              <a:pathLst>
                <a:path w="735" h="975" extrusionOk="0">
                  <a:moveTo>
                    <a:pt x="464" y="0"/>
                  </a:moveTo>
                  <a:cubicBezTo>
                    <a:pt x="305" y="0"/>
                    <a:pt x="129" y="188"/>
                    <a:pt x="67" y="404"/>
                  </a:cubicBezTo>
                  <a:cubicBezTo>
                    <a:pt x="1" y="671"/>
                    <a:pt x="101" y="938"/>
                    <a:pt x="267" y="971"/>
                  </a:cubicBezTo>
                  <a:cubicBezTo>
                    <a:pt x="280" y="974"/>
                    <a:pt x="292" y="975"/>
                    <a:pt x="304" y="975"/>
                  </a:cubicBezTo>
                  <a:cubicBezTo>
                    <a:pt x="458" y="975"/>
                    <a:pt x="606" y="785"/>
                    <a:pt x="668" y="538"/>
                  </a:cubicBezTo>
                  <a:cubicBezTo>
                    <a:pt x="734" y="271"/>
                    <a:pt x="668" y="37"/>
                    <a:pt x="501" y="4"/>
                  </a:cubicBezTo>
                  <a:cubicBezTo>
                    <a:pt x="489" y="1"/>
                    <a:pt x="476" y="0"/>
                    <a:pt x="464"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 name="Google Shape;1958;p54">
              <a:extLst>
                <a:ext uri="{FF2B5EF4-FFF2-40B4-BE49-F238E27FC236}">
                  <a16:creationId xmlns:a16="http://schemas.microsoft.com/office/drawing/2014/main" id="{0C163B6E-C37A-96D5-D957-78B1D0A6D1F5}"/>
                </a:ext>
              </a:extLst>
            </p:cNvPr>
            <p:cNvSpPr/>
            <p:nvPr/>
          </p:nvSpPr>
          <p:spPr>
            <a:xfrm>
              <a:off x="11551950" y="1170875"/>
              <a:ext cx="45050" cy="62575"/>
            </a:xfrm>
            <a:custGeom>
              <a:avLst/>
              <a:gdLst/>
              <a:ahLst/>
              <a:cxnLst/>
              <a:rect l="l" t="t" r="r" b="b"/>
              <a:pathLst>
                <a:path w="1802" h="2503" extrusionOk="0">
                  <a:moveTo>
                    <a:pt x="1801" y="0"/>
                  </a:moveTo>
                  <a:cubicBezTo>
                    <a:pt x="1301" y="734"/>
                    <a:pt x="667" y="1401"/>
                    <a:pt x="0" y="2002"/>
                  </a:cubicBezTo>
                  <a:cubicBezTo>
                    <a:pt x="297" y="2476"/>
                    <a:pt x="988" y="2502"/>
                    <a:pt x="1139" y="2502"/>
                  </a:cubicBezTo>
                  <a:cubicBezTo>
                    <a:pt x="1157" y="2502"/>
                    <a:pt x="1168" y="2502"/>
                    <a:pt x="1168" y="2502"/>
                  </a:cubicBezTo>
                  <a:lnTo>
                    <a:pt x="1801" y="0"/>
                  </a:lnTo>
                  <a:close/>
                </a:path>
              </a:pathLst>
            </a:custGeom>
            <a:solidFill>
              <a:srgbClr val="A0272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 name="Google Shape;1959;p54">
              <a:extLst>
                <a:ext uri="{FF2B5EF4-FFF2-40B4-BE49-F238E27FC236}">
                  <a16:creationId xmlns:a16="http://schemas.microsoft.com/office/drawing/2014/main" id="{BDE38290-5208-DF7C-2BF3-35810CF75A2D}"/>
                </a:ext>
              </a:extLst>
            </p:cNvPr>
            <p:cNvSpPr/>
            <p:nvPr/>
          </p:nvSpPr>
          <p:spPr>
            <a:xfrm>
              <a:off x="11647850" y="1139175"/>
              <a:ext cx="31600" cy="30200"/>
            </a:xfrm>
            <a:custGeom>
              <a:avLst/>
              <a:gdLst/>
              <a:ahLst/>
              <a:cxnLst/>
              <a:rect l="l" t="t" r="r" b="b"/>
              <a:pathLst>
                <a:path w="1264" h="1208" extrusionOk="0">
                  <a:moveTo>
                    <a:pt x="234" y="1"/>
                  </a:moveTo>
                  <a:cubicBezTo>
                    <a:pt x="134" y="1"/>
                    <a:pt x="67" y="34"/>
                    <a:pt x="34" y="134"/>
                  </a:cubicBezTo>
                  <a:cubicBezTo>
                    <a:pt x="0" y="201"/>
                    <a:pt x="67" y="301"/>
                    <a:pt x="134" y="301"/>
                  </a:cubicBezTo>
                  <a:cubicBezTo>
                    <a:pt x="501" y="434"/>
                    <a:pt x="801" y="734"/>
                    <a:pt x="934" y="1101"/>
                  </a:cubicBezTo>
                  <a:cubicBezTo>
                    <a:pt x="934" y="1168"/>
                    <a:pt x="968" y="1201"/>
                    <a:pt x="1034" y="1201"/>
                  </a:cubicBezTo>
                  <a:cubicBezTo>
                    <a:pt x="1047" y="1206"/>
                    <a:pt x="1061" y="1208"/>
                    <a:pt x="1075" y="1208"/>
                  </a:cubicBezTo>
                  <a:cubicBezTo>
                    <a:pt x="1167" y="1208"/>
                    <a:pt x="1263" y="1117"/>
                    <a:pt x="1234" y="1001"/>
                  </a:cubicBezTo>
                  <a:cubicBezTo>
                    <a:pt x="1068" y="534"/>
                    <a:pt x="701" y="134"/>
                    <a:pt x="234"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 name="Google Shape;1960;p54">
              <a:extLst>
                <a:ext uri="{FF2B5EF4-FFF2-40B4-BE49-F238E27FC236}">
                  <a16:creationId xmlns:a16="http://schemas.microsoft.com/office/drawing/2014/main" id="{42DD0CE9-4238-AF55-B3BE-66224AE52BC5}"/>
                </a:ext>
              </a:extLst>
            </p:cNvPr>
            <p:cNvSpPr/>
            <p:nvPr/>
          </p:nvSpPr>
          <p:spPr>
            <a:xfrm>
              <a:off x="11832150" y="1070575"/>
              <a:ext cx="42550" cy="43825"/>
            </a:xfrm>
            <a:custGeom>
              <a:avLst/>
              <a:gdLst/>
              <a:ahLst/>
              <a:cxnLst/>
              <a:rect l="l" t="t" r="r" b="b"/>
              <a:pathLst>
                <a:path w="1702" h="1753" extrusionOk="0">
                  <a:moveTo>
                    <a:pt x="1447" y="1"/>
                  </a:moveTo>
                  <a:cubicBezTo>
                    <a:pt x="1358" y="1"/>
                    <a:pt x="1262" y="65"/>
                    <a:pt x="1234" y="176"/>
                  </a:cubicBezTo>
                  <a:cubicBezTo>
                    <a:pt x="1101" y="710"/>
                    <a:pt x="701" y="1143"/>
                    <a:pt x="167" y="1310"/>
                  </a:cubicBezTo>
                  <a:cubicBezTo>
                    <a:pt x="100" y="1344"/>
                    <a:pt x="33" y="1377"/>
                    <a:pt x="33" y="1444"/>
                  </a:cubicBezTo>
                  <a:cubicBezTo>
                    <a:pt x="0" y="1510"/>
                    <a:pt x="0" y="1544"/>
                    <a:pt x="33" y="1610"/>
                  </a:cubicBezTo>
                  <a:cubicBezTo>
                    <a:pt x="61" y="1693"/>
                    <a:pt x="156" y="1752"/>
                    <a:pt x="263" y="1752"/>
                  </a:cubicBezTo>
                  <a:cubicBezTo>
                    <a:pt x="286" y="1752"/>
                    <a:pt x="310" y="1750"/>
                    <a:pt x="334" y="1744"/>
                  </a:cubicBezTo>
                  <a:cubicBezTo>
                    <a:pt x="1001" y="1510"/>
                    <a:pt x="1501" y="943"/>
                    <a:pt x="1701" y="276"/>
                  </a:cubicBezTo>
                  <a:cubicBezTo>
                    <a:pt x="1701" y="143"/>
                    <a:pt x="1635" y="9"/>
                    <a:pt x="1501" y="9"/>
                  </a:cubicBezTo>
                  <a:cubicBezTo>
                    <a:pt x="1484" y="4"/>
                    <a:pt x="1466" y="1"/>
                    <a:pt x="1447"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 name="Google Shape;1961;p54">
              <a:extLst>
                <a:ext uri="{FF2B5EF4-FFF2-40B4-BE49-F238E27FC236}">
                  <a16:creationId xmlns:a16="http://schemas.microsoft.com/office/drawing/2014/main" id="{EF335F0C-45E7-177F-EB2A-C118D38D7B7A}"/>
                </a:ext>
              </a:extLst>
            </p:cNvPr>
            <p:cNvSpPr/>
            <p:nvPr/>
          </p:nvSpPr>
          <p:spPr>
            <a:xfrm>
              <a:off x="11828800" y="1103850"/>
              <a:ext cx="56725" cy="22350"/>
            </a:xfrm>
            <a:custGeom>
              <a:avLst/>
              <a:gdLst/>
              <a:ahLst/>
              <a:cxnLst/>
              <a:rect l="l" t="t" r="r" b="b"/>
              <a:pathLst>
                <a:path w="2269" h="894" extrusionOk="0">
                  <a:moveTo>
                    <a:pt x="849" y="0"/>
                  </a:moveTo>
                  <a:cubicBezTo>
                    <a:pt x="623" y="0"/>
                    <a:pt x="394" y="37"/>
                    <a:pt x="167" y="113"/>
                  </a:cubicBezTo>
                  <a:cubicBezTo>
                    <a:pt x="67" y="146"/>
                    <a:pt x="1" y="279"/>
                    <a:pt x="34" y="413"/>
                  </a:cubicBezTo>
                  <a:cubicBezTo>
                    <a:pt x="62" y="495"/>
                    <a:pt x="157" y="555"/>
                    <a:pt x="264" y="555"/>
                  </a:cubicBezTo>
                  <a:cubicBezTo>
                    <a:pt x="287" y="555"/>
                    <a:pt x="311" y="552"/>
                    <a:pt x="334" y="546"/>
                  </a:cubicBezTo>
                  <a:cubicBezTo>
                    <a:pt x="501" y="494"/>
                    <a:pt x="671" y="468"/>
                    <a:pt x="839" y="468"/>
                  </a:cubicBezTo>
                  <a:cubicBezTo>
                    <a:pt x="1209" y="468"/>
                    <a:pt x="1571" y="594"/>
                    <a:pt x="1869" y="846"/>
                  </a:cubicBezTo>
                  <a:cubicBezTo>
                    <a:pt x="1916" y="870"/>
                    <a:pt x="1963" y="894"/>
                    <a:pt x="2010" y="894"/>
                  </a:cubicBezTo>
                  <a:cubicBezTo>
                    <a:pt x="2030" y="894"/>
                    <a:pt x="2049" y="890"/>
                    <a:pt x="2069" y="880"/>
                  </a:cubicBezTo>
                  <a:cubicBezTo>
                    <a:pt x="2102" y="880"/>
                    <a:pt x="2169" y="846"/>
                    <a:pt x="2202" y="813"/>
                  </a:cubicBezTo>
                  <a:cubicBezTo>
                    <a:pt x="2269" y="680"/>
                    <a:pt x="2236" y="546"/>
                    <a:pt x="2136" y="480"/>
                  </a:cubicBezTo>
                  <a:cubicBezTo>
                    <a:pt x="1774" y="163"/>
                    <a:pt x="1321" y="0"/>
                    <a:pt x="849"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 name="Google Shape;1962;p54">
              <a:extLst>
                <a:ext uri="{FF2B5EF4-FFF2-40B4-BE49-F238E27FC236}">
                  <a16:creationId xmlns:a16="http://schemas.microsoft.com/office/drawing/2014/main" id="{083663CA-5F5F-6149-5C07-09A3606B4E1C}"/>
                </a:ext>
              </a:extLst>
            </p:cNvPr>
            <p:cNvSpPr/>
            <p:nvPr/>
          </p:nvSpPr>
          <p:spPr>
            <a:xfrm>
              <a:off x="11545275" y="1113225"/>
              <a:ext cx="39225" cy="20475"/>
            </a:xfrm>
            <a:custGeom>
              <a:avLst/>
              <a:gdLst/>
              <a:ahLst/>
              <a:cxnLst/>
              <a:rect l="l" t="t" r="r" b="b"/>
              <a:pathLst>
                <a:path w="1569" h="819" extrusionOk="0">
                  <a:moveTo>
                    <a:pt x="1327" y="1"/>
                  </a:moveTo>
                  <a:cubicBezTo>
                    <a:pt x="863" y="1"/>
                    <a:pt x="408" y="200"/>
                    <a:pt x="67" y="572"/>
                  </a:cubicBezTo>
                  <a:cubicBezTo>
                    <a:pt x="0" y="605"/>
                    <a:pt x="0" y="705"/>
                    <a:pt x="67" y="772"/>
                  </a:cubicBezTo>
                  <a:cubicBezTo>
                    <a:pt x="100" y="805"/>
                    <a:pt x="134" y="805"/>
                    <a:pt x="134" y="805"/>
                  </a:cubicBezTo>
                  <a:cubicBezTo>
                    <a:pt x="153" y="815"/>
                    <a:pt x="173" y="819"/>
                    <a:pt x="191" y="819"/>
                  </a:cubicBezTo>
                  <a:cubicBezTo>
                    <a:pt x="237" y="819"/>
                    <a:pt x="277" y="795"/>
                    <a:pt x="300" y="772"/>
                  </a:cubicBezTo>
                  <a:cubicBezTo>
                    <a:pt x="545" y="497"/>
                    <a:pt x="901" y="334"/>
                    <a:pt x="1266" y="334"/>
                  </a:cubicBezTo>
                  <a:cubicBezTo>
                    <a:pt x="1300" y="334"/>
                    <a:pt x="1334" y="335"/>
                    <a:pt x="1368" y="338"/>
                  </a:cubicBezTo>
                  <a:cubicBezTo>
                    <a:pt x="1468" y="338"/>
                    <a:pt x="1535" y="271"/>
                    <a:pt x="1568" y="205"/>
                  </a:cubicBezTo>
                  <a:cubicBezTo>
                    <a:pt x="1568" y="105"/>
                    <a:pt x="1501" y="4"/>
                    <a:pt x="1435" y="4"/>
                  </a:cubicBezTo>
                  <a:cubicBezTo>
                    <a:pt x="1399" y="2"/>
                    <a:pt x="1363" y="1"/>
                    <a:pt x="1327"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 name="Google Shape;1963;p54">
              <a:extLst>
                <a:ext uri="{FF2B5EF4-FFF2-40B4-BE49-F238E27FC236}">
                  <a16:creationId xmlns:a16="http://schemas.microsoft.com/office/drawing/2014/main" id="{F4BFC930-4532-F127-F17F-7D714830F6ED}"/>
                </a:ext>
              </a:extLst>
            </p:cNvPr>
            <p:cNvSpPr/>
            <p:nvPr/>
          </p:nvSpPr>
          <p:spPr>
            <a:xfrm>
              <a:off x="11829650" y="1565325"/>
              <a:ext cx="241025" cy="644650"/>
            </a:xfrm>
            <a:custGeom>
              <a:avLst/>
              <a:gdLst/>
              <a:ahLst/>
              <a:cxnLst/>
              <a:rect l="l" t="t" r="r" b="b"/>
              <a:pathLst>
                <a:path w="9641" h="25786" extrusionOk="0">
                  <a:moveTo>
                    <a:pt x="4203" y="0"/>
                  </a:moveTo>
                  <a:lnTo>
                    <a:pt x="0" y="2569"/>
                  </a:lnTo>
                  <a:cubicBezTo>
                    <a:pt x="0" y="2569"/>
                    <a:pt x="5237" y="12809"/>
                    <a:pt x="4670" y="14444"/>
                  </a:cubicBezTo>
                  <a:cubicBezTo>
                    <a:pt x="3869" y="16612"/>
                    <a:pt x="2669" y="21415"/>
                    <a:pt x="1268" y="23817"/>
                  </a:cubicBezTo>
                  <a:cubicBezTo>
                    <a:pt x="1401" y="24351"/>
                    <a:pt x="2168" y="25585"/>
                    <a:pt x="2635" y="25785"/>
                  </a:cubicBezTo>
                  <a:cubicBezTo>
                    <a:pt x="5971" y="23517"/>
                    <a:pt x="9640" y="16112"/>
                    <a:pt x="9640" y="14010"/>
                  </a:cubicBezTo>
                  <a:cubicBezTo>
                    <a:pt x="9640" y="9273"/>
                    <a:pt x="4203" y="0"/>
                    <a:pt x="4203" y="0"/>
                  </a:cubicBezTo>
                  <a:close/>
                </a:path>
              </a:pathLst>
            </a:custGeom>
            <a:solidFill>
              <a:srgbClr val="B55B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 name="Google Shape;1964;p54">
              <a:extLst>
                <a:ext uri="{FF2B5EF4-FFF2-40B4-BE49-F238E27FC236}">
                  <a16:creationId xmlns:a16="http://schemas.microsoft.com/office/drawing/2014/main" id="{26AB3EAD-9C9D-F1D3-FE06-EE6FBBC1A697}"/>
                </a:ext>
              </a:extLst>
            </p:cNvPr>
            <p:cNvSpPr/>
            <p:nvPr/>
          </p:nvSpPr>
          <p:spPr>
            <a:xfrm>
              <a:off x="11743075" y="1450500"/>
              <a:ext cx="297575" cy="379200"/>
            </a:xfrm>
            <a:custGeom>
              <a:avLst/>
              <a:gdLst/>
              <a:ahLst/>
              <a:cxnLst/>
              <a:rect l="l" t="t" r="r" b="b"/>
              <a:pathLst>
                <a:path w="11903" h="15168" extrusionOk="0">
                  <a:moveTo>
                    <a:pt x="4914" y="1"/>
                  </a:moveTo>
                  <a:cubicBezTo>
                    <a:pt x="1991" y="1"/>
                    <a:pt x="1" y="2415"/>
                    <a:pt x="1228" y="6127"/>
                  </a:cubicBezTo>
                  <a:cubicBezTo>
                    <a:pt x="2462" y="9964"/>
                    <a:pt x="5131" y="15167"/>
                    <a:pt x="5131" y="15167"/>
                  </a:cubicBezTo>
                  <a:lnTo>
                    <a:pt x="11902" y="11431"/>
                  </a:lnTo>
                  <a:cubicBezTo>
                    <a:pt x="11902" y="11431"/>
                    <a:pt x="8834" y="523"/>
                    <a:pt x="5698" y="56"/>
                  </a:cubicBezTo>
                  <a:cubicBezTo>
                    <a:pt x="5430" y="19"/>
                    <a:pt x="5168" y="1"/>
                    <a:pt x="4914" y="1"/>
                  </a:cubicBezTo>
                  <a:close/>
                </a:path>
              </a:pathLst>
            </a:custGeom>
            <a:solidFill>
              <a:srgbClr val="7BD9C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 name="Google Shape;1965;p54">
              <a:extLst>
                <a:ext uri="{FF2B5EF4-FFF2-40B4-BE49-F238E27FC236}">
                  <a16:creationId xmlns:a16="http://schemas.microsoft.com/office/drawing/2014/main" id="{6C8EBB83-5224-C655-F38B-0110CBBBB88A}"/>
                </a:ext>
              </a:extLst>
            </p:cNvPr>
            <p:cNvSpPr/>
            <p:nvPr/>
          </p:nvSpPr>
          <p:spPr>
            <a:xfrm>
              <a:off x="11861325" y="4178750"/>
              <a:ext cx="44225" cy="21175"/>
            </a:xfrm>
            <a:custGeom>
              <a:avLst/>
              <a:gdLst/>
              <a:ahLst/>
              <a:cxnLst/>
              <a:rect l="l" t="t" r="r" b="b"/>
              <a:pathLst>
                <a:path w="1769" h="847" extrusionOk="0">
                  <a:moveTo>
                    <a:pt x="334" y="171"/>
                  </a:moveTo>
                  <a:cubicBezTo>
                    <a:pt x="734" y="238"/>
                    <a:pt x="1135" y="405"/>
                    <a:pt x="1468" y="605"/>
                  </a:cubicBezTo>
                  <a:cubicBezTo>
                    <a:pt x="1220" y="664"/>
                    <a:pt x="997" y="690"/>
                    <a:pt x="811" y="690"/>
                  </a:cubicBezTo>
                  <a:cubicBezTo>
                    <a:pt x="572" y="690"/>
                    <a:pt x="395" y="647"/>
                    <a:pt x="301" y="572"/>
                  </a:cubicBezTo>
                  <a:cubicBezTo>
                    <a:pt x="201" y="472"/>
                    <a:pt x="167" y="371"/>
                    <a:pt x="201" y="271"/>
                  </a:cubicBezTo>
                  <a:cubicBezTo>
                    <a:pt x="201" y="205"/>
                    <a:pt x="234" y="171"/>
                    <a:pt x="267" y="171"/>
                  </a:cubicBezTo>
                  <a:close/>
                  <a:moveTo>
                    <a:pt x="374" y="1"/>
                  </a:moveTo>
                  <a:cubicBezTo>
                    <a:pt x="307" y="1"/>
                    <a:pt x="248" y="12"/>
                    <a:pt x="201" y="38"/>
                  </a:cubicBezTo>
                  <a:cubicBezTo>
                    <a:pt x="101" y="71"/>
                    <a:pt x="34" y="171"/>
                    <a:pt x="34" y="271"/>
                  </a:cubicBezTo>
                  <a:cubicBezTo>
                    <a:pt x="1" y="405"/>
                    <a:pt x="67" y="572"/>
                    <a:pt x="201" y="672"/>
                  </a:cubicBezTo>
                  <a:cubicBezTo>
                    <a:pt x="339" y="782"/>
                    <a:pt x="523" y="847"/>
                    <a:pt x="715" y="847"/>
                  </a:cubicBezTo>
                  <a:cubicBezTo>
                    <a:pt x="754" y="847"/>
                    <a:pt x="795" y="844"/>
                    <a:pt x="835" y="838"/>
                  </a:cubicBezTo>
                  <a:cubicBezTo>
                    <a:pt x="1101" y="838"/>
                    <a:pt x="1402" y="805"/>
                    <a:pt x="1702" y="738"/>
                  </a:cubicBezTo>
                  <a:cubicBezTo>
                    <a:pt x="1735" y="705"/>
                    <a:pt x="1735" y="705"/>
                    <a:pt x="1769" y="672"/>
                  </a:cubicBezTo>
                  <a:cubicBezTo>
                    <a:pt x="1769" y="638"/>
                    <a:pt x="1735" y="605"/>
                    <a:pt x="1735" y="572"/>
                  </a:cubicBezTo>
                  <a:cubicBezTo>
                    <a:pt x="1619" y="514"/>
                    <a:pt x="821" y="1"/>
                    <a:pt x="374" y="1"/>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 name="Google Shape;1966;p54">
              <a:extLst>
                <a:ext uri="{FF2B5EF4-FFF2-40B4-BE49-F238E27FC236}">
                  <a16:creationId xmlns:a16="http://schemas.microsoft.com/office/drawing/2014/main" id="{AA86FA32-84F9-23BA-9A6B-119C7F258C4D}"/>
                </a:ext>
              </a:extLst>
            </p:cNvPr>
            <p:cNvSpPr/>
            <p:nvPr/>
          </p:nvSpPr>
          <p:spPr>
            <a:xfrm>
              <a:off x="11878000" y="4159350"/>
              <a:ext cx="26725" cy="37875"/>
            </a:xfrm>
            <a:custGeom>
              <a:avLst/>
              <a:gdLst/>
              <a:ahLst/>
              <a:cxnLst/>
              <a:rect l="l" t="t" r="r" b="b"/>
              <a:pathLst>
                <a:path w="1069" h="1515" extrusionOk="0">
                  <a:moveTo>
                    <a:pt x="368" y="147"/>
                  </a:moveTo>
                  <a:cubicBezTo>
                    <a:pt x="468" y="147"/>
                    <a:pt x="534" y="180"/>
                    <a:pt x="568" y="247"/>
                  </a:cubicBezTo>
                  <a:cubicBezTo>
                    <a:pt x="768" y="547"/>
                    <a:pt x="901" y="881"/>
                    <a:pt x="901" y="1248"/>
                  </a:cubicBezTo>
                  <a:cubicBezTo>
                    <a:pt x="568" y="1014"/>
                    <a:pt x="168" y="447"/>
                    <a:pt x="234" y="247"/>
                  </a:cubicBezTo>
                  <a:cubicBezTo>
                    <a:pt x="234" y="213"/>
                    <a:pt x="234" y="147"/>
                    <a:pt x="334" y="147"/>
                  </a:cubicBezTo>
                  <a:close/>
                  <a:moveTo>
                    <a:pt x="429" y="1"/>
                  </a:moveTo>
                  <a:cubicBezTo>
                    <a:pt x="399" y="1"/>
                    <a:pt x="368" y="5"/>
                    <a:pt x="334" y="13"/>
                  </a:cubicBezTo>
                  <a:cubicBezTo>
                    <a:pt x="201" y="13"/>
                    <a:pt x="101" y="80"/>
                    <a:pt x="67" y="213"/>
                  </a:cubicBezTo>
                  <a:cubicBezTo>
                    <a:pt x="1" y="580"/>
                    <a:pt x="601" y="1314"/>
                    <a:pt x="968" y="1514"/>
                  </a:cubicBezTo>
                  <a:lnTo>
                    <a:pt x="1001" y="1514"/>
                  </a:lnTo>
                  <a:cubicBezTo>
                    <a:pt x="1001" y="1514"/>
                    <a:pt x="1035" y="1514"/>
                    <a:pt x="1035" y="1481"/>
                  </a:cubicBezTo>
                  <a:cubicBezTo>
                    <a:pt x="1068" y="1481"/>
                    <a:pt x="1068" y="1448"/>
                    <a:pt x="1068" y="1414"/>
                  </a:cubicBezTo>
                  <a:cubicBezTo>
                    <a:pt x="1068" y="1381"/>
                    <a:pt x="1035" y="414"/>
                    <a:pt x="668" y="113"/>
                  </a:cubicBezTo>
                  <a:cubicBezTo>
                    <a:pt x="593" y="38"/>
                    <a:pt x="518" y="1"/>
                    <a:pt x="429" y="1"/>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 name="Google Shape;1967;p54">
              <a:extLst>
                <a:ext uri="{FF2B5EF4-FFF2-40B4-BE49-F238E27FC236}">
                  <a16:creationId xmlns:a16="http://schemas.microsoft.com/office/drawing/2014/main" id="{CA30F461-B61B-3AE6-FD1F-FB8D3079C1C0}"/>
                </a:ext>
              </a:extLst>
            </p:cNvPr>
            <p:cNvSpPr/>
            <p:nvPr/>
          </p:nvSpPr>
          <p:spPr>
            <a:xfrm>
              <a:off x="11357625" y="4178750"/>
              <a:ext cx="51750" cy="21175"/>
            </a:xfrm>
            <a:custGeom>
              <a:avLst/>
              <a:gdLst/>
              <a:ahLst/>
              <a:cxnLst/>
              <a:rect l="l" t="t" r="r" b="b"/>
              <a:pathLst>
                <a:path w="2070" h="847" extrusionOk="0">
                  <a:moveTo>
                    <a:pt x="401" y="171"/>
                  </a:moveTo>
                  <a:cubicBezTo>
                    <a:pt x="868" y="238"/>
                    <a:pt x="1335" y="371"/>
                    <a:pt x="1735" y="605"/>
                  </a:cubicBezTo>
                  <a:cubicBezTo>
                    <a:pt x="1429" y="661"/>
                    <a:pt x="1158" y="687"/>
                    <a:pt x="931" y="687"/>
                  </a:cubicBezTo>
                  <a:cubicBezTo>
                    <a:pt x="614" y="687"/>
                    <a:pt x="384" y="635"/>
                    <a:pt x="268" y="538"/>
                  </a:cubicBezTo>
                  <a:cubicBezTo>
                    <a:pt x="201" y="472"/>
                    <a:pt x="168" y="371"/>
                    <a:pt x="168" y="271"/>
                  </a:cubicBezTo>
                  <a:cubicBezTo>
                    <a:pt x="168" y="238"/>
                    <a:pt x="201" y="205"/>
                    <a:pt x="234" y="205"/>
                  </a:cubicBezTo>
                  <a:cubicBezTo>
                    <a:pt x="268" y="171"/>
                    <a:pt x="334" y="171"/>
                    <a:pt x="401" y="171"/>
                  </a:cubicBezTo>
                  <a:close/>
                  <a:moveTo>
                    <a:pt x="364" y="1"/>
                  </a:moveTo>
                  <a:cubicBezTo>
                    <a:pt x="287" y="1"/>
                    <a:pt x="220" y="12"/>
                    <a:pt x="168" y="38"/>
                  </a:cubicBezTo>
                  <a:cubicBezTo>
                    <a:pt x="101" y="105"/>
                    <a:pt x="34" y="171"/>
                    <a:pt x="34" y="271"/>
                  </a:cubicBezTo>
                  <a:cubicBezTo>
                    <a:pt x="1" y="405"/>
                    <a:pt x="34" y="538"/>
                    <a:pt x="168" y="638"/>
                  </a:cubicBezTo>
                  <a:cubicBezTo>
                    <a:pt x="362" y="777"/>
                    <a:pt x="580" y="847"/>
                    <a:pt x="821" y="847"/>
                  </a:cubicBezTo>
                  <a:cubicBezTo>
                    <a:pt x="869" y="847"/>
                    <a:pt x="918" y="844"/>
                    <a:pt x="968" y="838"/>
                  </a:cubicBezTo>
                  <a:cubicBezTo>
                    <a:pt x="1302" y="838"/>
                    <a:pt x="1669" y="805"/>
                    <a:pt x="2002" y="738"/>
                  </a:cubicBezTo>
                  <a:cubicBezTo>
                    <a:pt x="2036" y="738"/>
                    <a:pt x="2069" y="705"/>
                    <a:pt x="2069" y="672"/>
                  </a:cubicBezTo>
                  <a:cubicBezTo>
                    <a:pt x="2069" y="638"/>
                    <a:pt x="2069" y="605"/>
                    <a:pt x="2036" y="572"/>
                  </a:cubicBezTo>
                  <a:cubicBezTo>
                    <a:pt x="1891" y="514"/>
                    <a:pt x="886" y="1"/>
                    <a:pt x="364" y="1"/>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 name="Google Shape;1968;p54">
              <a:extLst>
                <a:ext uri="{FF2B5EF4-FFF2-40B4-BE49-F238E27FC236}">
                  <a16:creationId xmlns:a16="http://schemas.microsoft.com/office/drawing/2014/main" id="{F55B442B-C43E-9CA6-7D73-20C44353339A}"/>
                </a:ext>
              </a:extLst>
            </p:cNvPr>
            <p:cNvSpPr/>
            <p:nvPr/>
          </p:nvSpPr>
          <p:spPr>
            <a:xfrm>
              <a:off x="11377650" y="4159450"/>
              <a:ext cx="31725" cy="37775"/>
            </a:xfrm>
            <a:custGeom>
              <a:avLst/>
              <a:gdLst/>
              <a:ahLst/>
              <a:cxnLst/>
              <a:rect l="l" t="t" r="r" b="b"/>
              <a:pathLst>
                <a:path w="1269" h="1511" extrusionOk="0">
                  <a:moveTo>
                    <a:pt x="434" y="143"/>
                  </a:moveTo>
                  <a:cubicBezTo>
                    <a:pt x="534" y="143"/>
                    <a:pt x="634" y="176"/>
                    <a:pt x="701" y="243"/>
                  </a:cubicBezTo>
                  <a:cubicBezTo>
                    <a:pt x="934" y="543"/>
                    <a:pt x="1101" y="910"/>
                    <a:pt x="1101" y="1277"/>
                  </a:cubicBezTo>
                  <a:cubicBezTo>
                    <a:pt x="701" y="1010"/>
                    <a:pt x="201" y="476"/>
                    <a:pt x="234" y="243"/>
                  </a:cubicBezTo>
                  <a:cubicBezTo>
                    <a:pt x="234" y="209"/>
                    <a:pt x="267" y="143"/>
                    <a:pt x="401" y="143"/>
                  </a:cubicBezTo>
                  <a:close/>
                  <a:moveTo>
                    <a:pt x="474" y="1"/>
                  </a:moveTo>
                  <a:cubicBezTo>
                    <a:pt x="449" y="1"/>
                    <a:pt x="424" y="3"/>
                    <a:pt x="401" y="9"/>
                  </a:cubicBezTo>
                  <a:cubicBezTo>
                    <a:pt x="167" y="9"/>
                    <a:pt x="101" y="143"/>
                    <a:pt x="101" y="209"/>
                  </a:cubicBezTo>
                  <a:cubicBezTo>
                    <a:pt x="0" y="610"/>
                    <a:pt x="768" y="1310"/>
                    <a:pt x="1168" y="1510"/>
                  </a:cubicBezTo>
                  <a:lnTo>
                    <a:pt x="1201" y="1510"/>
                  </a:lnTo>
                  <a:cubicBezTo>
                    <a:pt x="1201" y="1510"/>
                    <a:pt x="1201" y="1477"/>
                    <a:pt x="1235" y="1477"/>
                  </a:cubicBezTo>
                  <a:cubicBezTo>
                    <a:pt x="1235" y="1477"/>
                    <a:pt x="1268" y="1444"/>
                    <a:pt x="1268" y="1410"/>
                  </a:cubicBezTo>
                  <a:cubicBezTo>
                    <a:pt x="1268" y="1377"/>
                    <a:pt x="1235" y="476"/>
                    <a:pt x="801" y="143"/>
                  </a:cubicBezTo>
                  <a:cubicBezTo>
                    <a:pt x="719" y="60"/>
                    <a:pt x="591" y="1"/>
                    <a:pt x="474" y="1"/>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 name="Google Shape;1969;p54">
              <a:extLst>
                <a:ext uri="{FF2B5EF4-FFF2-40B4-BE49-F238E27FC236}">
                  <a16:creationId xmlns:a16="http://schemas.microsoft.com/office/drawing/2014/main" id="{E21279C1-0B7C-20DD-14AA-3DC1260D1D21}"/>
                </a:ext>
              </a:extLst>
            </p:cNvPr>
            <p:cNvSpPr/>
            <p:nvPr/>
          </p:nvSpPr>
          <p:spPr>
            <a:xfrm>
              <a:off x="11797125" y="2150725"/>
              <a:ext cx="120925" cy="87625"/>
            </a:xfrm>
            <a:custGeom>
              <a:avLst/>
              <a:gdLst/>
              <a:ahLst/>
              <a:cxnLst/>
              <a:rect l="l" t="t" r="r" b="b"/>
              <a:pathLst>
                <a:path w="4837" h="3505" extrusionOk="0">
                  <a:moveTo>
                    <a:pt x="0" y="1"/>
                  </a:moveTo>
                  <a:lnTo>
                    <a:pt x="1501" y="3503"/>
                  </a:lnTo>
                  <a:cubicBezTo>
                    <a:pt x="1501" y="3503"/>
                    <a:pt x="1535" y="3505"/>
                    <a:pt x="1597" y="3505"/>
                  </a:cubicBezTo>
                  <a:cubicBezTo>
                    <a:pt x="2089" y="3505"/>
                    <a:pt x="4333" y="3400"/>
                    <a:pt x="4837" y="1502"/>
                  </a:cubicBezTo>
                  <a:lnTo>
                    <a:pt x="3136" y="268"/>
                  </a:lnTo>
                  <a:lnTo>
                    <a:pt x="0" y="1"/>
                  </a:lnTo>
                  <a:close/>
                </a:path>
              </a:pathLst>
            </a:custGeom>
            <a:solidFill>
              <a:srgbClr val="B55B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 name="Google Shape;1970;p54">
              <a:extLst>
                <a:ext uri="{FF2B5EF4-FFF2-40B4-BE49-F238E27FC236}">
                  <a16:creationId xmlns:a16="http://schemas.microsoft.com/office/drawing/2014/main" id="{933D2AAC-5322-E02B-8B1F-8613F87F60DF}"/>
                </a:ext>
              </a:extLst>
            </p:cNvPr>
            <p:cNvSpPr/>
            <p:nvPr/>
          </p:nvSpPr>
          <p:spPr>
            <a:xfrm>
              <a:off x="11734575" y="2150725"/>
              <a:ext cx="100100" cy="109550"/>
            </a:xfrm>
            <a:custGeom>
              <a:avLst/>
              <a:gdLst/>
              <a:ahLst/>
              <a:cxnLst/>
              <a:rect l="l" t="t" r="r" b="b"/>
              <a:pathLst>
                <a:path w="4004" h="4382" extrusionOk="0">
                  <a:moveTo>
                    <a:pt x="2502" y="1"/>
                  </a:moveTo>
                  <a:lnTo>
                    <a:pt x="634" y="1135"/>
                  </a:lnTo>
                  <a:cubicBezTo>
                    <a:pt x="167" y="1402"/>
                    <a:pt x="0" y="1969"/>
                    <a:pt x="234" y="2436"/>
                  </a:cubicBezTo>
                  <a:lnTo>
                    <a:pt x="934" y="3837"/>
                  </a:lnTo>
                  <a:cubicBezTo>
                    <a:pt x="1107" y="4182"/>
                    <a:pt x="1461" y="4381"/>
                    <a:pt x="1836" y="4381"/>
                  </a:cubicBezTo>
                  <a:cubicBezTo>
                    <a:pt x="1969" y="4381"/>
                    <a:pt x="2104" y="4356"/>
                    <a:pt x="2235" y="4304"/>
                  </a:cubicBezTo>
                  <a:lnTo>
                    <a:pt x="4003" y="3503"/>
                  </a:lnTo>
                  <a:lnTo>
                    <a:pt x="2502" y="1"/>
                  </a:lnTo>
                  <a:close/>
                </a:path>
              </a:pathLst>
            </a:custGeom>
            <a:solidFill>
              <a:srgbClr val="B55B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 name="Google Shape;1971;p54">
              <a:extLst>
                <a:ext uri="{FF2B5EF4-FFF2-40B4-BE49-F238E27FC236}">
                  <a16:creationId xmlns:a16="http://schemas.microsoft.com/office/drawing/2014/main" id="{1F84AF8F-AE25-69FA-89EE-0C1102756094}"/>
                </a:ext>
              </a:extLst>
            </p:cNvPr>
            <p:cNvSpPr/>
            <p:nvPr/>
          </p:nvSpPr>
          <p:spPr>
            <a:xfrm>
              <a:off x="10960675" y="2121225"/>
              <a:ext cx="122625" cy="67050"/>
            </a:xfrm>
            <a:custGeom>
              <a:avLst/>
              <a:gdLst/>
              <a:ahLst/>
              <a:cxnLst/>
              <a:rect l="l" t="t" r="r" b="b"/>
              <a:pathLst>
                <a:path w="4905" h="2682" extrusionOk="0">
                  <a:moveTo>
                    <a:pt x="3611" y="1"/>
                  </a:moveTo>
                  <a:cubicBezTo>
                    <a:pt x="3587" y="1"/>
                    <a:pt x="3562" y="5"/>
                    <a:pt x="3537" y="13"/>
                  </a:cubicBezTo>
                  <a:cubicBezTo>
                    <a:pt x="2469" y="380"/>
                    <a:pt x="1369" y="647"/>
                    <a:pt x="234" y="747"/>
                  </a:cubicBezTo>
                  <a:cubicBezTo>
                    <a:pt x="101" y="747"/>
                    <a:pt x="1" y="847"/>
                    <a:pt x="34" y="981"/>
                  </a:cubicBezTo>
                  <a:cubicBezTo>
                    <a:pt x="101" y="1281"/>
                    <a:pt x="334" y="1514"/>
                    <a:pt x="668" y="1614"/>
                  </a:cubicBezTo>
                  <a:cubicBezTo>
                    <a:pt x="1002" y="1681"/>
                    <a:pt x="1902" y="1848"/>
                    <a:pt x="2102" y="1915"/>
                  </a:cubicBezTo>
                  <a:cubicBezTo>
                    <a:pt x="2136" y="1915"/>
                    <a:pt x="2169" y="1915"/>
                    <a:pt x="2169" y="1948"/>
                  </a:cubicBezTo>
                  <a:cubicBezTo>
                    <a:pt x="2736" y="2348"/>
                    <a:pt x="3403" y="2615"/>
                    <a:pt x="4070" y="2682"/>
                  </a:cubicBezTo>
                  <a:cubicBezTo>
                    <a:pt x="4904" y="2682"/>
                    <a:pt x="4070" y="714"/>
                    <a:pt x="3804" y="113"/>
                  </a:cubicBezTo>
                  <a:cubicBezTo>
                    <a:pt x="3754" y="38"/>
                    <a:pt x="3685" y="1"/>
                    <a:pt x="3611" y="1"/>
                  </a:cubicBezTo>
                  <a:close/>
                </a:path>
              </a:pathLst>
            </a:custGeom>
            <a:solidFill>
              <a:srgbClr val="B55B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 name="Google Shape;1972;p54">
              <a:extLst>
                <a:ext uri="{FF2B5EF4-FFF2-40B4-BE49-F238E27FC236}">
                  <a16:creationId xmlns:a16="http://schemas.microsoft.com/office/drawing/2014/main" id="{77A08237-C639-BDA2-F6D4-95CAC1A2B80A}"/>
                </a:ext>
              </a:extLst>
            </p:cNvPr>
            <p:cNvSpPr/>
            <p:nvPr/>
          </p:nvSpPr>
          <p:spPr>
            <a:xfrm>
              <a:off x="9287000" y="1398525"/>
              <a:ext cx="216000" cy="283575"/>
            </a:xfrm>
            <a:custGeom>
              <a:avLst/>
              <a:gdLst/>
              <a:ahLst/>
              <a:cxnLst/>
              <a:rect l="l" t="t" r="r" b="b"/>
              <a:pathLst>
                <a:path w="8640" h="11343" extrusionOk="0">
                  <a:moveTo>
                    <a:pt x="901" y="1"/>
                  </a:moveTo>
                  <a:lnTo>
                    <a:pt x="901" y="1"/>
                  </a:lnTo>
                  <a:cubicBezTo>
                    <a:pt x="1268" y="2202"/>
                    <a:pt x="1568" y="6238"/>
                    <a:pt x="0" y="7639"/>
                  </a:cubicBezTo>
                  <a:cubicBezTo>
                    <a:pt x="1168" y="9507"/>
                    <a:pt x="3036" y="10842"/>
                    <a:pt x="5204" y="11342"/>
                  </a:cubicBezTo>
                  <a:cubicBezTo>
                    <a:pt x="8640" y="9608"/>
                    <a:pt x="6805" y="7840"/>
                    <a:pt x="6805" y="7840"/>
                  </a:cubicBezTo>
                  <a:cubicBezTo>
                    <a:pt x="4370" y="7206"/>
                    <a:pt x="4503" y="5371"/>
                    <a:pt x="4970" y="3670"/>
                  </a:cubicBezTo>
                  <a:lnTo>
                    <a:pt x="901" y="1"/>
                  </a:lnTo>
                  <a:close/>
                </a:path>
              </a:pathLst>
            </a:custGeom>
            <a:solidFill>
              <a:srgbClr val="FFC3B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 name="Google Shape;1973;p54">
              <a:extLst>
                <a:ext uri="{FF2B5EF4-FFF2-40B4-BE49-F238E27FC236}">
                  <a16:creationId xmlns:a16="http://schemas.microsoft.com/office/drawing/2014/main" id="{6D1D6245-F83E-99AE-0B7E-D517FE32D79B}"/>
                </a:ext>
              </a:extLst>
            </p:cNvPr>
            <p:cNvSpPr/>
            <p:nvPr/>
          </p:nvSpPr>
          <p:spPr>
            <a:xfrm>
              <a:off x="8960925" y="1716250"/>
              <a:ext cx="224350" cy="614625"/>
            </a:xfrm>
            <a:custGeom>
              <a:avLst/>
              <a:gdLst/>
              <a:ahLst/>
              <a:cxnLst/>
              <a:rect l="l" t="t" r="r" b="b"/>
              <a:pathLst>
                <a:path w="8974" h="24585" extrusionOk="0">
                  <a:moveTo>
                    <a:pt x="5238" y="1"/>
                  </a:moveTo>
                  <a:cubicBezTo>
                    <a:pt x="4937" y="2002"/>
                    <a:pt x="4604" y="4037"/>
                    <a:pt x="4270" y="6072"/>
                  </a:cubicBezTo>
                  <a:cubicBezTo>
                    <a:pt x="3970" y="8073"/>
                    <a:pt x="3570" y="10108"/>
                    <a:pt x="3136" y="12043"/>
                  </a:cubicBezTo>
                  <a:cubicBezTo>
                    <a:pt x="2702" y="13944"/>
                    <a:pt x="2102" y="15945"/>
                    <a:pt x="1535" y="17914"/>
                  </a:cubicBezTo>
                  <a:cubicBezTo>
                    <a:pt x="1001" y="19915"/>
                    <a:pt x="467" y="21950"/>
                    <a:pt x="0" y="23951"/>
                  </a:cubicBezTo>
                  <a:lnTo>
                    <a:pt x="1768" y="24585"/>
                  </a:lnTo>
                  <a:cubicBezTo>
                    <a:pt x="2669" y="22717"/>
                    <a:pt x="3503" y="20816"/>
                    <a:pt x="4304" y="18881"/>
                  </a:cubicBezTo>
                  <a:cubicBezTo>
                    <a:pt x="4704" y="17914"/>
                    <a:pt x="5071" y="16913"/>
                    <a:pt x="5471" y="15945"/>
                  </a:cubicBezTo>
                  <a:cubicBezTo>
                    <a:pt x="5838" y="15011"/>
                    <a:pt x="6205" y="13944"/>
                    <a:pt x="6505" y="12910"/>
                  </a:cubicBezTo>
                  <a:cubicBezTo>
                    <a:pt x="7106" y="10842"/>
                    <a:pt x="7539" y="8807"/>
                    <a:pt x="7973" y="6739"/>
                  </a:cubicBezTo>
                  <a:cubicBezTo>
                    <a:pt x="8373" y="4637"/>
                    <a:pt x="8707" y="2569"/>
                    <a:pt x="8974" y="468"/>
                  </a:cubicBezTo>
                  <a:lnTo>
                    <a:pt x="5238" y="1"/>
                  </a:lnTo>
                  <a:close/>
                </a:path>
              </a:pathLst>
            </a:custGeom>
            <a:solidFill>
              <a:srgbClr val="FFC3B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 name="Google Shape;1974;p54">
              <a:extLst>
                <a:ext uri="{FF2B5EF4-FFF2-40B4-BE49-F238E27FC236}">
                  <a16:creationId xmlns:a16="http://schemas.microsoft.com/office/drawing/2014/main" id="{F02135B8-A2B8-9FB3-4C52-AB3A5B207C83}"/>
                </a:ext>
              </a:extLst>
            </p:cNvPr>
            <p:cNvSpPr/>
            <p:nvPr/>
          </p:nvSpPr>
          <p:spPr>
            <a:xfrm>
              <a:off x="9054325" y="1602825"/>
              <a:ext cx="197675" cy="276075"/>
            </a:xfrm>
            <a:custGeom>
              <a:avLst/>
              <a:gdLst/>
              <a:ahLst/>
              <a:cxnLst/>
              <a:rect l="l" t="t" r="r" b="b"/>
              <a:pathLst>
                <a:path w="7907" h="11043" extrusionOk="0">
                  <a:moveTo>
                    <a:pt x="3606" y="0"/>
                  </a:moveTo>
                  <a:cubicBezTo>
                    <a:pt x="3372" y="0"/>
                    <a:pt x="3137" y="43"/>
                    <a:pt x="2903" y="135"/>
                  </a:cubicBezTo>
                  <a:cubicBezTo>
                    <a:pt x="1435" y="668"/>
                    <a:pt x="0" y="6606"/>
                    <a:pt x="0" y="6606"/>
                  </a:cubicBezTo>
                  <a:lnTo>
                    <a:pt x="5838" y="11042"/>
                  </a:lnTo>
                  <a:cubicBezTo>
                    <a:pt x="5838" y="11042"/>
                    <a:pt x="7906" y="5272"/>
                    <a:pt x="7172" y="3370"/>
                  </a:cubicBezTo>
                  <a:cubicBezTo>
                    <a:pt x="6482" y="1673"/>
                    <a:pt x="5072" y="0"/>
                    <a:pt x="3606"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 name="Google Shape;1975;p54">
              <a:extLst>
                <a:ext uri="{FF2B5EF4-FFF2-40B4-BE49-F238E27FC236}">
                  <a16:creationId xmlns:a16="http://schemas.microsoft.com/office/drawing/2014/main" id="{000AB361-511E-A682-F670-786F8B160F0B}"/>
                </a:ext>
              </a:extLst>
            </p:cNvPr>
            <p:cNvSpPr/>
            <p:nvPr/>
          </p:nvSpPr>
          <p:spPr>
            <a:xfrm>
              <a:off x="8903375" y="2290825"/>
              <a:ext cx="123450" cy="83425"/>
            </a:xfrm>
            <a:custGeom>
              <a:avLst/>
              <a:gdLst/>
              <a:ahLst/>
              <a:cxnLst/>
              <a:rect l="l" t="t" r="r" b="b"/>
              <a:pathLst>
                <a:path w="4938" h="3337" extrusionOk="0">
                  <a:moveTo>
                    <a:pt x="4170" y="1"/>
                  </a:moveTo>
                  <a:lnTo>
                    <a:pt x="2669" y="268"/>
                  </a:lnTo>
                  <a:lnTo>
                    <a:pt x="1" y="3236"/>
                  </a:lnTo>
                  <a:lnTo>
                    <a:pt x="3737" y="3337"/>
                  </a:lnTo>
                  <a:cubicBezTo>
                    <a:pt x="3737" y="3337"/>
                    <a:pt x="4938" y="1302"/>
                    <a:pt x="4170" y="1"/>
                  </a:cubicBezTo>
                  <a:close/>
                </a:path>
              </a:pathLst>
            </a:custGeom>
            <a:solidFill>
              <a:srgbClr val="FFC3B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 name="Google Shape;1976;p54">
              <a:extLst>
                <a:ext uri="{FF2B5EF4-FFF2-40B4-BE49-F238E27FC236}">
                  <a16:creationId xmlns:a16="http://schemas.microsoft.com/office/drawing/2014/main" id="{85121902-D4F3-5BDB-7DEE-A87DBCB07A3E}"/>
                </a:ext>
              </a:extLst>
            </p:cNvPr>
            <p:cNvSpPr/>
            <p:nvPr/>
          </p:nvSpPr>
          <p:spPr>
            <a:xfrm>
              <a:off x="8898375" y="2371725"/>
              <a:ext cx="98425" cy="77575"/>
            </a:xfrm>
            <a:custGeom>
              <a:avLst/>
              <a:gdLst/>
              <a:ahLst/>
              <a:cxnLst/>
              <a:rect l="l" t="t" r="r" b="b"/>
              <a:pathLst>
                <a:path w="3937" h="3103" extrusionOk="0">
                  <a:moveTo>
                    <a:pt x="201" y="0"/>
                  </a:moveTo>
                  <a:lnTo>
                    <a:pt x="1" y="3103"/>
                  </a:lnTo>
                  <a:lnTo>
                    <a:pt x="3136" y="3003"/>
                  </a:lnTo>
                  <a:lnTo>
                    <a:pt x="3937" y="101"/>
                  </a:lnTo>
                  <a:lnTo>
                    <a:pt x="201" y="0"/>
                  </a:lnTo>
                  <a:close/>
                </a:path>
              </a:pathLst>
            </a:custGeom>
            <a:solidFill>
              <a:srgbClr val="FFC3B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 name="Google Shape;1977;p54">
              <a:extLst>
                <a:ext uri="{FF2B5EF4-FFF2-40B4-BE49-F238E27FC236}">
                  <a16:creationId xmlns:a16="http://schemas.microsoft.com/office/drawing/2014/main" id="{47334752-A704-5913-289E-9394AB948F89}"/>
                </a:ext>
              </a:extLst>
            </p:cNvPr>
            <p:cNvSpPr/>
            <p:nvPr/>
          </p:nvSpPr>
          <p:spPr>
            <a:xfrm>
              <a:off x="9126875" y="1588375"/>
              <a:ext cx="496225" cy="589900"/>
            </a:xfrm>
            <a:custGeom>
              <a:avLst/>
              <a:gdLst/>
              <a:ahLst/>
              <a:cxnLst/>
              <a:rect l="l" t="t" r="r" b="b"/>
              <a:pathLst>
                <a:path w="19849" h="23596" extrusionOk="0">
                  <a:moveTo>
                    <a:pt x="8447" y="0"/>
                  </a:moveTo>
                  <a:cubicBezTo>
                    <a:pt x="7766" y="0"/>
                    <a:pt x="7086" y="15"/>
                    <a:pt x="6405" y="45"/>
                  </a:cubicBezTo>
                  <a:cubicBezTo>
                    <a:pt x="4270" y="112"/>
                    <a:pt x="2135" y="346"/>
                    <a:pt x="1" y="713"/>
                  </a:cubicBezTo>
                  <a:cubicBezTo>
                    <a:pt x="2569" y="13322"/>
                    <a:pt x="2436" y="17058"/>
                    <a:pt x="2002" y="23162"/>
                  </a:cubicBezTo>
                  <a:lnTo>
                    <a:pt x="16979" y="23596"/>
                  </a:lnTo>
                  <a:cubicBezTo>
                    <a:pt x="19448" y="10920"/>
                    <a:pt x="19848" y="5449"/>
                    <a:pt x="19781" y="3114"/>
                  </a:cubicBezTo>
                  <a:cubicBezTo>
                    <a:pt x="19715" y="2147"/>
                    <a:pt x="19014" y="1280"/>
                    <a:pt x="18047" y="1079"/>
                  </a:cubicBezTo>
                  <a:cubicBezTo>
                    <a:pt x="16813" y="813"/>
                    <a:pt x="14945" y="479"/>
                    <a:pt x="13210" y="246"/>
                  </a:cubicBezTo>
                  <a:cubicBezTo>
                    <a:pt x="11622" y="82"/>
                    <a:pt x="10034" y="0"/>
                    <a:pt x="8447"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 name="Google Shape;1978;p54">
              <a:extLst>
                <a:ext uri="{FF2B5EF4-FFF2-40B4-BE49-F238E27FC236}">
                  <a16:creationId xmlns:a16="http://schemas.microsoft.com/office/drawing/2014/main" id="{8F5A52C4-D620-0415-F625-D9C55C39A2DC}"/>
                </a:ext>
              </a:extLst>
            </p:cNvPr>
            <p:cNvSpPr/>
            <p:nvPr/>
          </p:nvSpPr>
          <p:spPr>
            <a:xfrm>
              <a:off x="9526325" y="1683725"/>
              <a:ext cx="386975" cy="517075"/>
            </a:xfrm>
            <a:custGeom>
              <a:avLst/>
              <a:gdLst/>
              <a:ahLst/>
              <a:cxnLst/>
              <a:rect l="l" t="t" r="r" b="b"/>
              <a:pathLst>
                <a:path w="15479" h="20683" extrusionOk="0">
                  <a:moveTo>
                    <a:pt x="3570" y="1"/>
                  </a:moveTo>
                  <a:lnTo>
                    <a:pt x="1" y="1235"/>
                  </a:lnTo>
                  <a:lnTo>
                    <a:pt x="1935" y="7139"/>
                  </a:lnTo>
                  <a:cubicBezTo>
                    <a:pt x="2569" y="9107"/>
                    <a:pt x="3170" y="11109"/>
                    <a:pt x="3770" y="13077"/>
                  </a:cubicBezTo>
                  <a:lnTo>
                    <a:pt x="4003" y="13811"/>
                  </a:lnTo>
                  <a:lnTo>
                    <a:pt x="4104" y="14178"/>
                  </a:lnTo>
                  <a:lnTo>
                    <a:pt x="4170" y="14378"/>
                  </a:lnTo>
                  <a:cubicBezTo>
                    <a:pt x="4204" y="14511"/>
                    <a:pt x="4270" y="14645"/>
                    <a:pt x="4304" y="14778"/>
                  </a:cubicBezTo>
                  <a:cubicBezTo>
                    <a:pt x="4504" y="15178"/>
                    <a:pt x="4771" y="15545"/>
                    <a:pt x="5071" y="15879"/>
                  </a:cubicBezTo>
                  <a:cubicBezTo>
                    <a:pt x="5304" y="16112"/>
                    <a:pt x="5571" y="16346"/>
                    <a:pt x="5838" y="16579"/>
                  </a:cubicBezTo>
                  <a:cubicBezTo>
                    <a:pt x="6739" y="17246"/>
                    <a:pt x="7706" y="17847"/>
                    <a:pt x="8740" y="18347"/>
                  </a:cubicBezTo>
                  <a:cubicBezTo>
                    <a:pt x="10675" y="19281"/>
                    <a:pt x="12710" y="20048"/>
                    <a:pt x="14778" y="20682"/>
                  </a:cubicBezTo>
                  <a:lnTo>
                    <a:pt x="15478" y="18948"/>
                  </a:lnTo>
                  <a:cubicBezTo>
                    <a:pt x="13677" y="17947"/>
                    <a:pt x="11876" y="16913"/>
                    <a:pt x="10208" y="15812"/>
                  </a:cubicBezTo>
                  <a:cubicBezTo>
                    <a:pt x="9407" y="15278"/>
                    <a:pt x="8640" y="14711"/>
                    <a:pt x="7940" y="14078"/>
                  </a:cubicBezTo>
                  <a:cubicBezTo>
                    <a:pt x="7806" y="13944"/>
                    <a:pt x="7673" y="13811"/>
                    <a:pt x="7573" y="13677"/>
                  </a:cubicBezTo>
                  <a:cubicBezTo>
                    <a:pt x="7439" y="13544"/>
                    <a:pt x="7439" y="13477"/>
                    <a:pt x="7439" y="13477"/>
                  </a:cubicBezTo>
                  <a:lnTo>
                    <a:pt x="7439" y="13510"/>
                  </a:lnTo>
                  <a:lnTo>
                    <a:pt x="7406" y="13310"/>
                  </a:lnTo>
                  <a:lnTo>
                    <a:pt x="7306" y="12943"/>
                  </a:lnTo>
                  <a:lnTo>
                    <a:pt x="7139" y="12176"/>
                  </a:lnTo>
                  <a:cubicBezTo>
                    <a:pt x="6639" y="10108"/>
                    <a:pt x="6072" y="8073"/>
                    <a:pt x="5471" y="6038"/>
                  </a:cubicBezTo>
                  <a:cubicBezTo>
                    <a:pt x="4904" y="4004"/>
                    <a:pt x="4270" y="2002"/>
                    <a:pt x="3570" y="1"/>
                  </a:cubicBezTo>
                  <a:close/>
                </a:path>
              </a:pathLst>
            </a:custGeom>
            <a:solidFill>
              <a:srgbClr val="FFC3B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 name="Google Shape;1979;p54">
              <a:extLst>
                <a:ext uri="{FF2B5EF4-FFF2-40B4-BE49-F238E27FC236}">
                  <a16:creationId xmlns:a16="http://schemas.microsoft.com/office/drawing/2014/main" id="{218F76CC-5294-61C3-4DDF-6D042AAB6A53}"/>
                </a:ext>
              </a:extLst>
            </p:cNvPr>
            <p:cNvSpPr/>
            <p:nvPr/>
          </p:nvSpPr>
          <p:spPr>
            <a:xfrm>
              <a:off x="9456275" y="1613150"/>
              <a:ext cx="215175" cy="271575"/>
            </a:xfrm>
            <a:custGeom>
              <a:avLst/>
              <a:gdLst/>
              <a:ahLst/>
              <a:cxnLst/>
              <a:rect l="l" t="t" r="r" b="b"/>
              <a:pathLst>
                <a:path w="8607" h="10863" extrusionOk="0">
                  <a:moveTo>
                    <a:pt x="3914" y="0"/>
                  </a:moveTo>
                  <a:cubicBezTo>
                    <a:pt x="2429" y="0"/>
                    <a:pt x="1699" y="883"/>
                    <a:pt x="901" y="2424"/>
                  </a:cubicBezTo>
                  <a:cubicBezTo>
                    <a:pt x="1" y="4258"/>
                    <a:pt x="3870" y="10863"/>
                    <a:pt x="3870" y="10863"/>
                  </a:cubicBezTo>
                  <a:lnTo>
                    <a:pt x="8607" y="6526"/>
                  </a:lnTo>
                  <a:cubicBezTo>
                    <a:pt x="8607" y="6526"/>
                    <a:pt x="7739" y="689"/>
                    <a:pt x="4971" y="122"/>
                  </a:cubicBezTo>
                  <a:cubicBezTo>
                    <a:pt x="4579" y="40"/>
                    <a:pt x="4230" y="0"/>
                    <a:pt x="3914"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 name="Google Shape;1980;p54">
              <a:extLst>
                <a:ext uri="{FF2B5EF4-FFF2-40B4-BE49-F238E27FC236}">
                  <a16:creationId xmlns:a16="http://schemas.microsoft.com/office/drawing/2014/main" id="{4C76FC5A-CB74-6BA1-004E-B2FF3A32F15A}"/>
                </a:ext>
              </a:extLst>
            </p:cNvPr>
            <p:cNvSpPr/>
            <p:nvPr/>
          </p:nvSpPr>
          <p:spPr>
            <a:xfrm>
              <a:off x="9863225" y="2148225"/>
              <a:ext cx="121800" cy="85925"/>
            </a:xfrm>
            <a:custGeom>
              <a:avLst/>
              <a:gdLst/>
              <a:ahLst/>
              <a:cxnLst/>
              <a:rect l="l" t="t" r="r" b="b"/>
              <a:pathLst>
                <a:path w="4872" h="3437" extrusionOk="0">
                  <a:moveTo>
                    <a:pt x="1102" y="1"/>
                  </a:moveTo>
                  <a:lnTo>
                    <a:pt x="134" y="868"/>
                  </a:lnTo>
                  <a:cubicBezTo>
                    <a:pt x="1" y="2369"/>
                    <a:pt x="1802" y="3437"/>
                    <a:pt x="1802" y="3437"/>
                  </a:cubicBezTo>
                  <a:lnTo>
                    <a:pt x="4871" y="1402"/>
                  </a:lnTo>
                  <a:lnTo>
                    <a:pt x="1102" y="1"/>
                  </a:lnTo>
                  <a:close/>
                </a:path>
              </a:pathLst>
            </a:custGeom>
            <a:solidFill>
              <a:srgbClr val="FFC3B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 name="Google Shape;1981;p54">
              <a:extLst>
                <a:ext uri="{FF2B5EF4-FFF2-40B4-BE49-F238E27FC236}">
                  <a16:creationId xmlns:a16="http://schemas.microsoft.com/office/drawing/2014/main" id="{55DD02B6-6B13-F05A-B648-A8EE9DB751D3}"/>
                </a:ext>
              </a:extLst>
            </p:cNvPr>
            <p:cNvSpPr/>
            <p:nvPr/>
          </p:nvSpPr>
          <p:spPr>
            <a:xfrm>
              <a:off x="9908275" y="2183250"/>
              <a:ext cx="113425" cy="85925"/>
            </a:xfrm>
            <a:custGeom>
              <a:avLst/>
              <a:gdLst/>
              <a:ahLst/>
              <a:cxnLst/>
              <a:rect l="l" t="t" r="r" b="b"/>
              <a:pathLst>
                <a:path w="4537" h="3437" extrusionOk="0">
                  <a:moveTo>
                    <a:pt x="3036" y="1"/>
                  </a:moveTo>
                  <a:lnTo>
                    <a:pt x="0" y="2036"/>
                  </a:lnTo>
                  <a:lnTo>
                    <a:pt x="2202" y="3437"/>
                  </a:lnTo>
                  <a:lnTo>
                    <a:pt x="4537" y="1969"/>
                  </a:lnTo>
                  <a:lnTo>
                    <a:pt x="3036" y="1"/>
                  </a:lnTo>
                  <a:close/>
                </a:path>
              </a:pathLst>
            </a:custGeom>
            <a:solidFill>
              <a:srgbClr val="FFC3B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1982;p54">
              <a:extLst>
                <a:ext uri="{FF2B5EF4-FFF2-40B4-BE49-F238E27FC236}">
                  <a16:creationId xmlns:a16="http://schemas.microsoft.com/office/drawing/2014/main" id="{C94147DA-0EDB-79DC-6B0D-F6B23F76BF25}"/>
                </a:ext>
              </a:extLst>
            </p:cNvPr>
            <p:cNvSpPr/>
            <p:nvPr/>
          </p:nvSpPr>
          <p:spPr>
            <a:xfrm>
              <a:off x="9516325" y="1284275"/>
              <a:ext cx="19200" cy="27550"/>
            </a:xfrm>
            <a:custGeom>
              <a:avLst/>
              <a:gdLst/>
              <a:ahLst/>
              <a:cxnLst/>
              <a:rect l="l" t="t" r="r" b="b"/>
              <a:pathLst>
                <a:path w="768" h="1102" extrusionOk="0">
                  <a:moveTo>
                    <a:pt x="334" y="1"/>
                  </a:moveTo>
                  <a:cubicBezTo>
                    <a:pt x="134" y="34"/>
                    <a:pt x="0" y="268"/>
                    <a:pt x="34" y="601"/>
                  </a:cubicBezTo>
                  <a:cubicBezTo>
                    <a:pt x="67" y="868"/>
                    <a:pt x="234" y="1101"/>
                    <a:pt x="434" y="1101"/>
                  </a:cubicBezTo>
                  <a:cubicBezTo>
                    <a:pt x="667" y="1068"/>
                    <a:pt x="768" y="835"/>
                    <a:pt x="768" y="534"/>
                  </a:cubicBezTo>
                  <a:cubicBezTo>
                    <a:pt x="734" y="234"/>
                    <a:pt x="567" y="1"/>
                    <a:pt x="334"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1983;p54">
              <a:extLst>
                <a:ext uri="{FF2B5EF4-FFF2-40B4-BE49-F238E27FC236}">
                  <a16:creationId xmlns:a16="http://schemas.microsoft.com/office/drawing/2014/main" id="{BBA56B21-74B9-0943-98FE-C185858AFBDA}"/>
                </a:ext>
              </a:extLst>
            </p:cNvPr>
            <p:cNvSpPr/>
            <p:nvPr/>
          </p:nvSpPr>
          <p:spPr>
            <a:xfrm>
              <a:off x="9523000" y="1278450"/>
              <a:ext cx="16700" cy="9200"/>
            </a:xfrm>
            <a:custGeom>
              <a:avLst/>
              <a:gdLst/>
              <a:ahLst/>
              <a:cxnLst/>
              <a:rect l="l" t="t" r="r" b="b"/>
              <a:pathLst>
                <a:path w="668" h="368" extrusionOk="0">
                  <a:moveTo>
                    <a:pt x="667" y="0"/>
                  </a:moveTo>
                  <a:lnTo>
                    <a:pt x="0" y="267"/>
                  </a:lnTo>
                  <a:cubicBezTo>
                    <a:pt x="80" y="340"/>
                    <a:pt x="157" y="368"/>
                    <a:pt x="228" y="368"/>
                  </a:cubicBezTo>
                  <a:cubicBezTo>
                    <a:pt x="483" y="368"/>
                    <a:pt x="667" y="0"/>
                    <a:pt x="667"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1984;p54">
              <a:extLst>
                <a:ext uri="{FF2B5EF4-FFF2-40B4-BE49-F238E27FC236}">
                  <a16:creationId xmlns:a16="http://schemas.microsoft.com/office/drawing/2014/main" id="{D32B66A2-F743-C2D1-B381-0B714001CB58}"/>
                </a:ext>
              </a:extLst>
            </p:cNvPr>
            <p:cNvSpPr/>
            <p:nvPr/>
          </p:nvSpPr>
          <p:spPr>
            <a:xfrm>
              <a:off x="9524650" y="1314300"/>
              <a:ext cx="30050" cy="53075"/>
            </a:xfrm>
            <a:custGeom>
              <a:avLst/>
              <a:gdLst/>
              <a:ahLst/>
              <a:cxnLst/>
              <a:rect l="l" t="t" r="r" b="b"/>
              <a:pathLst>
                <a:path w="1202" h="2123" extrusionOk="0">
                  <a:moveTo>
                    <a:pt x="1" y="1"/>
                  </a:moveTo>
                  <a:lnTo>
                    <a:pt x="168" y="2102"/>
                  </a:lnTo>
                  <a:cubicBezTo>
                    <a:pt x="243" y="2116"/>
                    <a:pt x="319" y="2122"/>
                    <a:pt x="395" y="2122"/>
                  </a:cubicBezTo>
                  <a:cubicBezTo>
                    <a:pt x="692" y="2122"/>
                    <a:pt x="989" y="2021"/>
                    <a:pt x="1202" y="1835"/>
                  </a:cubicBezTo>
                  <a:cubicBezTo>
                    <a:pt x="735" y="1268"/>
                    <a:pt x="334" y="668"/>
                    <a:pt x="1" y="1"/>
                  </a:cubicBezTo>
                  <a:close/>
                </a:path>
              </a:pathLst>
            </a:custGeom>
            <a:solidFill>
              <a:srgbClr val="ED847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1985;p54">
              <a:extLst>
                <a:ext uri="{FF2B5EF4-FFF2-40B4-BE49-F238E27FC236}">
                  <a16:creationId xmlns:a16="http://schemas.microsoft.com/office/drawing/2014/main" id="{078873ED-76E1-129C-96F6-759B39E89913}"/>
                </a:ext>
              </a:extLst>
            </p:cNvPr>
            <p:cNvSpPr/>
            <p:nvPr/>
          </p:nvSpPr>
          <p:spPr>
            <a:xfrm>
              <a:off x="9483800" y="1244900"/>
              <a:ext cx="46325" cy="36900"/>
            </a:xfrm>
            <a:custGeom>
              <a:avLst/>
              <a:gdLst/>
              <a:ahLst/>
              <a:cxnLst/>
              <a:rect l="l" t="t" r="r" b="b"/>
              <a:pathLst>
                <a:path w="1853" h="1476" extrusionOk="0">
                  <a:moveTo>
                    <a:pt x="1639" y="0"/>
                  </a:moveTo>
                  <a:cubicBezTo>
                    <a:pt x="1627" y="0"/>
                    <a:pt x="1614" y="3"/>
                    <a:pt x="1602" y="8"/>
                  </a:cubicBezTo>
                  <a:cubicBezTo>
                    <a:pt x="1535" y="8"/>
                    <a:pt x="401" y="308"/>
                    <a:pt x="34" y="1209"/>
                  </a:cubicBezTo>
                  <a:cubicBezTo>
                    <a:pt x="0" y="1309"/>
                    <a:pt x="34" y="1409"/>
                    <a:pt x="134" y="1442"/>
                  </a:cubicBezTo>
                  <a:cubicBezTo>
                    <a:pt x="134" y="1442"/>
                    <a:pt x="167" y="1442"/>
                    <a:pt x="167" y="1476"/>
                  </a:cubicBezTo>
                  <a:cubicBezTo>
                    <a:pt x="267" y="1476"/>
                    <a:pt x="334" y="1409"/>
                    <a:pt x="367" y="1342"/>
                  </a:cubicBezTo>
                  <a:cubicBezTo>
                    <a:pt x="668" y="608"/>
                    <a:pt x="1668" y="375"/>
                    <a:pt x="1668" y="341"/>
                  </a:cubicBezTo>
                  <a:cubicBezTo>
                    <a:pt x="1853" y="341"/>
                    <a:pt x="1782" y="0"/>
                    <a:pt x="1639"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1986;p54">
              <a:extLst>
                <a:ext uri="{FF2B5EF4-FFF2-40B4-BE49-F238E27FC236}">
                  <a16:creationId xmlns:a16="http://schemas.microsoft.com/office/drawing/2014/main" id="{5AACCB82-217E-A499-B61D-179F77F33483}"/>
                </a:ext>
              </a:extLst>
            </p:cNvPr>
            <p:cNvSpPr/>
            <p:nvPr/>
          </p:nvSpPr>
          <p:spPr>
            <a:xfrm>
              <a:off x="9014900" y="1098700"/>
              <a:ext cx="627375" cy="669350"/>
            </a:xfrm>
            <a:custGeom>
              <a:avLst/>
              <a:gdLst/>
              <a:ahLst/>
              <a:cxnLst/>
              <a:rect l="l" t="t" r="r" b="b"/>
              <a:pathLst>
                <a:path w="25095" h="26774" extrusionOk="0">
                  <a:moveTo>
                    <a:pt x="12476" y="1"/>
                  </a:moveTo>
                  <a:cubicBezTo>
                    <a:pt x="10037" y="1"/>
                    <a:pt x="7561" y="1244"/>
                    <a:pt x="8916" y="4455"/>
                  </a:cubicBezTo>
                  <a:cubicBezTo>
                    <a:pt x="5680" y="4889"/>
                    <a:pt x="5714" y="7991"/>
                    <a:pt x="6014" y="10359"/>
                  </a:cubicBezTo>
                  <a:cubicBezTo>
                    <a:pt x="6314" y="12727"/>
                    <a:pt x="3546" y="12260"/>
                    <a:pt x="3079" y="15129"/>
                  </a:cubicBezTo>
                  <a:cubicBezTo>
                    <a:pt x="2612" y="17998"/>
                    <a:pt x="3812" y="18298"/>
                    <a:pt x="1811" y="20566"/>
                  </a:cubicBezTo>
                  <a:cubicBezTo>
                    <a:pt x="1" y="22585"/>
                    <a:pt x="2125" y="26530"/>
                    <a:pt x="5293" y="26530"/>
                  </a:cubicBezTo>
                  <a:cubicBezTo>
                    <a:pt x="5686" y="26530"/>
                    <a:pt x="6095" y="26470"/>
                    <a:pt x="6514" y="26337"/>
                  </a:cubicBezTo>
                  <a:cubicBezTo>
                    <a:pt x="7334" y="26073"/>
                    <a:pt x="8117" y="25976"/>
                    <a:pt x="8889" y="25976"/>
                  </a:cubicBezTo>
                  <a:cubicBezTo>
                    <a:pt x="11093" y="25976"/>
                    <a:pt x="13201" y="26773"/>
                    <a:pt x="15789" y="26773"/>
                  </a:cubicBezTo>
                  <a:cubicBezTo>
                    <a:pt x="16534" y="26773"/>
                    <a:pt x="17318" y="26707"/>
                    <a:pt x="18156" y="26537"/>
                  </a:cubicBezTo>
                  <a:cubicBezTo>
                    <a:pt x="22926" y="25603"/>
                    <a:pt x="23393" y="21767"/>
                    <a:pt x="22326" y="19599"/>
                  </a:cubicBezTo>
                  <a:cubicBezTo>
                    <a:pt x="21358" y="17598"/>
                    <a:pt x="19991" y="17297"/>
                    <a:pt x="20291" y="15363"/>
                  </a:cubicBezTo>
                  <a:cubicBezTo>
                    <a:pt x="20691" y="12561"/>
                    <a:pt x="18856" y="9825"/>
                    <a:pt x="17189" y="8958"/>
                  </a:cubicBezTo>
                  <a:cubicBezTo>
                    <a:pt x="19190" y="7057"/>
                    <a:pt x="25094" y="1319"/>
                    <a:pt x="15988" y="1186"/>
                  </a:cubicBezTo>
                  <a:cubicBezTo>
                    <a:pt x="15387" y="448"/>
                    <a:pt x="13938" y="1"/>
                    <a:pt x="12476"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1987;p54">
              <a:extLst>
                <a:ext uri="{FF2B5EF4-FFF2-40B4-BE49-F238E27FC236}">
                  <a16:creationId xmlns:a16="http://schemas.microsoft.com/office/drawing/2014/main" id="{FBCAFBF7-5960-11B7-CB4B-554D66EEF5B0}"/>
                </a:ext>
              </a:extLst>
            </p:cNvPr>
            <p:cNvSpPr/>
            <p:nvPr/>
          </p:nvSpPr>
          <p:spPr>
            <a:xfrm>
              <a:off x="9441275" y="1292275"/>
              <a:ext cx="62900" cy="69350"/>
            </a:xfrm>
            <a:custGeom>
              <a:avLst/>
              <a:gdLst/>
              <a:ahLst/>
              <a:cxnLst/>
              <a:rect l="l" t="t" r="r" b="b"/>
              <a:pathLst>
                <a:path w="2516" h="2774" extrusionOk="0">
                  <a:moveTo>
                    <a:pt x="1038" y="1"/>
                  </a:moveTo>
                  <a:cubicBezTo>
                    <a:pt x="993" y="1"/>
                    <a:pt x="947" y="5"/>
                    <a:pt x="901" y="14"/>
                  </a:cubicBezTo>
                  <a:cubicBezTo>
                    <a:pt x="234" y="181"/>
                    <a:pt x="0" y="1048"/>
                    <a:pt x="334" y="1715"/>
                  </a:cubicBezTo>
                  <a:cubicBezTo>
                    <a:pt x="567" y="2216"/>
                    <a:pt x="1001" y="2583"/>
                    <a:pt x="1535" y="2750"/>
                  </a:cubicBezTo>
                  <a:cubicBezTo>
                    <a:pt x="1603" y="2766"/>
                    <a:pt x="1667" y="2773"/>
                    <a:pt x="1728" y="2773"/>
                  </a:cubicBezTo>
                  <a:cubicBezTo>
                    <a:pt x="2289" y="2773"/>
                    <a:pt x="2516" y="2111"/>
                    <a:pt x="2335" y="1449"/>
                  </a:cubicBezTo>
                  <a:cubicBezTo>
                    <a:pt x="2149" y="797"/>
                    <a:pt x="1645" y="1"/>
                    <a:pt x="1038" y="1"/>
                  </a:cubicBezTo>
                  <a:close/>
                </a:path>
              </a:pathLst>
            </a:custGeom>
            <a:solidFill>
              <a:srgbClr val="FFC3B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1988;p54">
              <a:extLst>
                <a:ext uri="{FF2B5EF4-FFF2-40B4-BE49-F238E27FC236}">
                  <a16:creationId xmlns:a16="http://schemas.microsoft.com/office/drawing/2014/main" id="{96AC05B3-64CE-3084-7DC6-6205C55874A1}"/>
                </a:ext>
              </a:extLst>
            </p:cNvPr>
            <p:cNvSpPr/>
            <p:nvPr/>
          </p:nvSpPr>
          <p:spPr>
            <a:xfrm>
              <a:off x="8764950" y="4145600"/>
              <a:ext cx="57575" cy="25775"/>
            </a:xfrm>
            <a:custGeom>
              <a:avLst/>
              <a:gdLst/>
              <a:ahLst/>
              <a:cxnLst/>
              <a:rect l="l" t="t" r="r" b="b"/>
              <a:pathLst>
                <a:path w="2303" h="1031" extrusionOk="0">
                  <a:moveTo>
                    <a:pt x="372" y="171"/>
                  </a:moveTo>
                  <a:cubicBezTo>
                    <a:pt x="401" y="171"/>
                    <a:pt x="434" y="180"/>
                    <a:pt x="468" y="196"/>
                  </a:cubicBezTo>
                  <a:cubicBezTo>
                    <a:pt x="968" y="330"/>
                    <a:pt x="1468" y="530"/>
                    <a:pt x="1935" y="830"/>
                  </a:cubicBezTo>
                  <a:cubicBezTo>
                    <a:pt x="1829" y="834"/>
                    <a:pt x="1727" y="837"/>
                    <a:pt x="1629" y="837"/>
                  </a:cubicBezTo>
                  <a:cubicBezTo>
                    <a:pt x="955" y="837"/>
                    <a:pt x="475" y="738"/>
                    <a:pt x="301" y="563"/>
                  </a:cubicBezTo>
                  <a:cubicBezTo>
                    <a:pt x="234" y="463"/>
                    <a:pt x="201" y="363"/>
                    <a:pt x="234" y="263"/>
                  </a:cubicBezTo>
                  <a:cubicBezTo>
                    <a:pt x="234" y="230"/>
                    <a:pt x="234" y="196"/>
                    <a:pt x="301" y="196"/>
                  </a:cubicBezTo>
                  <a:cubicBezTo>
                    <a:pt x="317" y="180"/>
                    <a:pt x="342" y="171"/>
                    <a:pt x="372" y="171"/>
                  </a:cubicBezTo>
                  <a:close/>
                  <a:moveTo>
                    <a:pt x="399" y="1"/>
                  </a:moveTo>
                  <a:cubicBezTo>
                    <a:pt x="336" y="1"/>
                    <a:pt x="280" y="10"/>
                    <a:pt x="234" y="30"/>
                  </a:cubicBezTo>
                  <a:cubicBezTo>
                    <a:pt x="134" y="63"/>
                    <a:pt x="67" y="163"/>
                    <a:pt x="67" y="263"/>
                  </a:cubicBezTo>
                  <a:cubicBezTo>
                    <a:pt x="1" y="430"/>
                    <a:pt x="67" y="563"/>
                    <a:pt x="167" y="697"/>
                  </a:cubicBezTo>
                  <a:cubicBezTo>
                    <a:pt x="401" y="897"/>
                    <a:pt x="701" y="997"/>
                    <a:pt x="1035" y="1030"/>
                  </a:cubicBezTo>
                  <a:cubicBezTo>
                    <a:pt x="1435" y="1030"/>
                    <a:pt x="1802" y="1030"/>
                    <a:pt x="2202" y="997"/>
                  </a:cubicBezTo>
                  <a:cubicBezTo>
                    <a:pt x="2235" y="997"/>
                    <a:pt x="2269" y="964"/>
                    <a:pt x="2269" y="930"/>
                  </a:cubicBezTo>
                  <a:cubicBezTo>
                    <a:pt x="2302" y="897"/>
                    <a:pt x="2269" y="864"/>
                    <a:pt x="2235" y="830"/>
                  </a:cubicBezTo>
                  <a:cubicBezTo>
                    <a:pt x="2115" y="740"/>
                    <a:pt x="967" y="1"/>
                    <a:pt x="399" y="1"/>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1989;p54">
              <a:extLst>
                <a:ext uri="{FF2B5EF4-FFF2-40B4-BE49-F238E27FC236}">
                  <a16:creationId xmlns:a16="http://schemas.microsoft.com/office/drawing/2014/main" id="{C867B626-9D0E-891A-6064-86FBB49670EF}"/>
                </a:ext>
              </a:extLst>
            </p:cNvPr>
            <p:cNvSpPr/>
            <p:nvPr/>
          </p:nvSpPr>
          <p:spPr>
            <a:xfrm>
              <a:off x="8788300" y="4127150"/>
              <a:ext cx="34225" cy="43375"/>
            </a:xfrm>
            <a:custGeom>
              <a:avLst/>
              <a:gdLst/>
              <a:ahLst/>
              <a:cxnLst/>
              <a:rect l="l" t="t" r="r" b="b"/>
              <a:pathLst>
                <a:path w="1369" h="1735" extrusionOk="0">
                  <a:moveTo>
                    <a:pt x="534" y="167"/>
                  </a:moveTo>
                  <a:cubicBezTo>
                    <a:pt x="634" y="167"/>
                    <a:pt x="734" y="234"/>
                    <a:pt x="801" y="301"/>
                  </a:cubicBezTo>
                  <a:cubicBezTo>
                    <a:pt x="1068" y="668"/>
                    <a:pt x="1168" y="1068"/>
                    <a:pt x="1168" y="1501"/>
                  </a:cubicBezTo>
                  <a:cubicBezTo>
                    <a:pt x="768" y="1168"/>
                    <a:pt x="234" y="501"/>
                    <a:pt x="301" y="234"/>
                  </a:cubicBezTo>
                  <a:cubicBezTo>
                    <a:pt x="301" y="234"/>
                    <a:pt x="301" y="167"/>
                    <a:pt x="468" y="167"/>
                  </a:cubicBezTo>
                  <a:close/>
                  <a:moveTo>
                    <a:pt x="468" y="0"/>
                  </a:moveTo>
                  <a:cubicBezTo>
                    <a:pt x="234" y="0"/>
                    <a:pt x="134" y="100"/>
                    <a:pt x="134" y="201"/>
                  </a:cubicBezTo>
                  <a:cubicBezTo>
                    <a:pt x="1" y="634"/>
                    <a:pt x="801" y="1501"/>
                    <a:pt x="1201" y="1735"/>
                  </a:cubicBezTo>
                  <a:lnTo>
                    <a:pt x="1301" y="1735"/>
                  </a:lnTo>
                  <a:cubicBezTo>
                    <a:pt x="1335" y="1735"/>
                    <a:pt x="1368" y="1702"/>
                    <a:pt x="1368" y="1668"/>
                  </a:cubicBezTo>
                  <a:cubicBezTo>
                    <a:pt x="1368" y="1635"/>
                    <a:pt x="1368" y="601"/>
                    <a:pt x="935" y="201"/>
                  </a:cubicBezTo>
                  <a:cubicBezTo>
                    <a:pt x="834" y="67"/>
                    <a:pt x="668" y="0"/>
                    <a:pt x="468"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1990;p54">
              <a:extLst>
                <a:ext uri="{FF2B5EF4-FFF2-40B4-BE49-F238E27FC236}">
                  <a16:creationId xmlns:a16="http://schemas.microsoft.com/office/drawing/2014/main" id="{C102048B-767B-5377-01A7-F77C22C82135}"/>
                </a:ext>
              </a:extLst>
            </p:cNvPr>
            <p:cNvSpPr/>
            <p:nvPr/>
          </p:nvSpPr>
          <p:spPr>
            <a:xfrm>
              <a:off x="8813325" y="3972025"/>
              <a:ext cx="140125" cy="213525"/>
            </a:xfrm>
            <a:custGeom>
              <a:avLst/>
              <a:gdLst/>
              <a:ahLst/>
              <a:cxnLst/>
              <a:rect l="l" t="t" r="r" b="b"/>
              <a:pathLst>
                <a:path w="5605" h="8541" extrusionOk="0">
                  <a:moveTo>
                    <a:pt x="1902" y="1"/>
                  </a:moveTo>
                  <a:lnTo>
                    <a:pt x="0" y="8540"/>
                  </a:lnTo>
                  <a:lnTo>
                    <a:pt x="3703" y="8540"/>
                  </a:lnTo>
                  <a:lnTo>
                    <a:pt x="5604" y="1"/>
                  </a:lnTo>
                  <a:close/>
                </a:path>
              </a:pathLst>
            </a:custGeom>
            <a:solidFill>
              <a:srgbClr val="FFC3B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1991;p54">
              <a:extLst>
                <a:ext uri="{FF2B5EF4-FFF2-40B4-BE49-F238E27FC236}">
                  <a16:creationId xmlns:a16="http://schemas.microsoft.com/office/drawing/2014/main" id="{984FBBB3-BBC5-B8DB-5E75-0454F45664F8}"/>
                </a:ext>
              </a:extLst>
            </p:cNvPr>
            <p:cNvSpPr/>
            <p:nvPr/>
          </p:nvSpPr>
          <p:spPr>
            <a:xfrm>
              <a:off x="8665725" y="4150350"/>
              <a:ext cx="264375" cy="130275"/>
            </a:xfrm>
            <a:custGeom>
              <a:avLst/>
              <a:gdLst/>
              <a:ahLst/>
              <a:cxnLst/>
              <a:rect l="l" t="t" r="r" b="b"/>
              <a:pathLst>
                <a:path w="10575" h="5211" extrusionOk="0">
                  <a:moveTo>
                    <a:pt x="10068" y="0"/>
                  </a:moveTo>
                  <a:cubicBezTo>
                    <a:pt x="10049" y="0"/>
                    <a:pt x="10029" y="2"/>
                    <a:pt x="10007" y="6"/>
                  </a:cubicBezTo>
                  <a:lnTo>
                    <a:pt x="5904" y="573"/>
                  </a:lnTo>
                  <a:cubicBezTo>
                    <a:pt x="5671" y="640"/>
                    <a:pt x="5471" y="740"/>
                    <a:pt x="5304" y="907"/>
                  </a:cubicBezTo>
                  <a:cubicBezTo>
                    <a:pt x="4270" y="1874"/>
                    <a:pt x="3869" y="2909"/>
                    <a:pt x="834" y="3542"/>
                  </a:cubicBezTo>
                  <a:cubicBezTo>
                    <a:pt x="167" y="3676"/>
                    <a:pt x="0" y="5210"/>
                    <a:pt x="1501" y="5210"/>
                  </a:cubicBezTo>
                  <a:cubicBezTo>
                    <a:pt x="3002" y="5110"/>
                    <a:pt x="4537" y="4943"/>
                    <a:pt x="6004" y="4676"/>
                  </a:cubicBezTo>
                  <a:cubicBezTo>
                    <a:pt x="7839" y="4443"/>
                    <a:pt x="8506" y="4443"/>
                    <a:pt x="9940" y="4243"/>
                  </a:cubicBezTo>
                  <a:cubicBezTo>
                    <a:pt x="10307" y="4176"/>
                    <a:pt x="10574" y="3876"/>
                    <a:pt x="10574" y="3509"/>
                  </a:cubicBezTo>
                  <a:lnTo>
                    <a:pt x="10307" y="240"/>
                  </a:lnTo>
                  <a:cubicBezTo>
                    <a:pt x="10278" y="95"/>
                    <a:pt x="10199" y="0"/>
                    <a:pt x="10068"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1992;p54">
              <a:extLst>
                <a:ext uri="{FF2B5EF4-FFF2-40B4-BE49-F238E27FC236}">
                  <a16:creationId xmlns:a16="http://schemas.microsoft.com/office/drawing/2014/main" id="{1722DFDF-A70E-778C-FF04-CB376336DB38}"/>
                </a:ext>
              </a:extLst>
            </p:cNvPr>
            <p:cNvSpPr/>
            <p:nvPr/>
          </p:nvSpPr>
          <p:spPr>
            <a:xfrm>
              <a:off x="8836675" y="3972025"/>
              <a:ext cx="116775" cy="110125"/>
            </a:xfrm>
            <a:custGeom>
              <a:avLst/>
              <a:gdLst/>
              <a:ahLst/>
              <a:cxnLst/>
              <a:rect l="l" t="t" r="r" b="b"/>
              <a:pathLst>
                <a:path w="4671" h="4405" extrusionOk="0">
                  <a:moveTo>
                    <a:pt x="968" y="1"/>
                  </a:moveTo>
                  <a:lnTo>
                    <a:pt x="0" y="4404"/>
                  </a:lnTo>
                  <a:lnTo>
                    <a:pt x="3670" y="4404"/>
                  </a:lnTo>
                  <a:lnTo>
                    <a:pt x="4670" y="1"/>
                  </a:ln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1993;p54">
              <a:extLst>
                <a:ext uri="{FF2B5EF4-FFF2-40B4-BE49-F238E27FC236}">
                  <a16:creationId xmlns:a16="http://schemas.microsoft.com/office/drawing/2014/main" id="{F9EAB157-7ADC-C91D-05D7-A7F994109B88}"/>
                </a:ext>
              </a:extLst>
            </p:cNvPr>
            <p:cNvSpPr/>
            <p:nvPr/>
          </p:nvSpPr>
          <p:spPr>
            <a:xfrm>
              <a:off x="8831675" y="2167400"/>
              <a:ext cx="585425" cy="1893900"/>
            </a:xfrm>
            <a:custGeom>
              <a:avLst/>
              <a:gdLst/>
              <a:ahLst/>
              <a:cxnLst/>
              <a:rect l="l" t="t" r="r" b="b"/>
              <a:pathLst>
                <a:path w="23417" h="75756" extrusionOk="0">
                  <a:moveTo>
                    <a:pt x="13810" y="1"/>
                  </a:moveTo>
                  <a:cubicBezTo>
                    <a:pt x="9774" y="5705"/>
                    <a:pt x="7405" y="26720"/>
                    <a:pt x="5971" y="37928"/>
                  </a:cubicBezTo>
                  <a:cubicBezTo>
                    <a:pt x="4437" y="49603"/>
                    <a:pt x="0" y="75755"/>
                    <a:pt x="0" y="75755"/>
                  </a:cubicBezTo>
                  <a:lnTo>
                    <a:pt x="5004" y="75755"/>
                  </a:lnTo>
                  <a:cubicBezTo>
                    <a:pt x="5004" y="75755"/>
                    <a:pt x="11909" y="49270"/>
                    <a:pt x="14510" y="37895"/>
                  </a:cubicBezTo>
                  <a:cubicBezTo>
                    <a:pt x="17413" y="25319"/>
                    <a:pt x="23417" y="1"/>
                    <a:pt x="23417"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1994;p54">
              <a:extLst>
                <a:ext uri="{FF2B5EF4-FFF2-40B4-BE49-F238E27FC236}">
                  <a16:creationId xmlns:a16="http://schemas.microsoft.com/office/drawing/2014/main" id="{F6740796-38FD-89E1-BA10-07A34A3A3780}"/>
                </a:ext>
              </a:extLst>
            </p:cNvPr>
            <p:cNvSpPr/>
            <p:nvPr/>
          </p:nvSpPr>
          <p:spPr>
            <a:xfrm>
              <a:off x="9217775" y="2410075"/>
              <a:ext cx="129275" cy="573775"/>
            </a:xfrm>
            <a:custGeom>
              <a:avLst/>
              <a:gdLst/>
              <a:ahLst/>
              <a:cxnLst/>
              <a:rect l="l" t="t" r="r" b="b"/>
              <a:pathLst>
                <a:path w="5171" h="22951" extrusionOk="0">
                  <a:moveTo>
                    <a:pt x="2536" y="1"/>
                  </a:moveTo>
                  <a:cubicBezTo>
                    <a:pt x="101" y="7373"/>
                    <a:pt x="0" y="16680"/>
                    <a:pt x="267" y="22951"/>
                  </a:cubicBezTo>
                  <a:cubicBezTo>
                    <a:pt x="1768" y="16479"/>
                    <a:pt x="3636" y="8540"/>
                    <a:pt x="5171" y="2102"/>
                  </a:cubicBezTo>
                  <a:lnTo>
                    <a:pt x="2536" y="1"/>
                  </a:ln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1995;p54">
              <a:extLst>
                <a:ext uri="{FF2B5EF4-FFF2-40B4-BE49-F238E27FC236}">
                  <a16:creationId xmlns:a16="http://schemas.microsoft.com/office/drawing/2014/main" id="{232D94DC-917F-8D8C-201B-01BBB0CE8BEB}"/>
                </a:ext>
              </a:extLst>
            </p:cNvPr>
            <p:cNvSpPr/>
            <p:nvPr/>
          </p:nvSpPr>
          <p:spPr>
            <a:xfrm>
              <a:off x="9396225" y="4158275"/>
              <a:ext cx="57575" cy="23275"/>
            </a:xfrm>
            <a:custGeom>
              <a:avLst/>
              <a:gdLst/>
              <a:ahLst/>
              <a:cxnLst/>
              <a:rect l="l" t="t" r="r" b="b"/>
              <a:pathLst>
                <a:path w="2303" h="931" extrusionOk="0">
                  <a:moveTo>
                    <a:pt x="1869" y="156"/>
                  </a:moveTo>
                  <a:cubicBezTo>
                    <a:pt x="1936" y="156"/>
                    <a:pt x="2002" y="156"/>
                    <a:pt x="2036" y="190"/>
                  </a:cubicBezTo>
                  <a:cubicBezTo>
                    <a:pt x="2102" y="223"/>
                    <a:pt x="2102" y="256"/>
                    <a:pt x="2102" y="290"/>
                  </a:cubicBezTo>
                  <a:cubicBezTo>
                    <a:pt x="2136" y="390"/>
                    <a:pt x="2102" y="490"/>
                    <a:pt x="2002" y="557"/>
                  </a:cubicBezTo>
                  <a:cubicBezTo>
                    <a:pt x="1862" y="677"/>
                    <a:pt x="1590" y="737"/>
                    <a:pt x="1215" y="737"/>
                  </a:cubicBezTo>
                  <a:cubicBezTo>
                    <a:pt x="964" y="737"/>
                    <a:pt x="668" y="710"/>
                    <a:pt x="334" y="657"/>
                  </a:cubicBezTo>
                  <a:cubicBezTo>
                    <a:pt x="835" y="423"/>
                    <a:pt x="1335" y="223"/>
                    <a:pt x="1869" y="156"/>
                  </a:cubicBezTo>
                  <a:close/>
                  <a:moveTo>
                    <a:pt x="1873" y="0"/>
                  </a:moveTo>
                  <a:cubicBezTo>
                    <a:pt x="1266" y="0"/>
                    <a:pt x="177" y="571"/>
                    <a:pt x="34" y="657"/>
                  </a:cubicBezTo>
                  <a:cubicBezTo>
                    <a:pt x="34" y="657"/>
                    <a:pt x="1" y="690"/>
                    <a:pt x="1" y="723"/>
                  </a:cubicBezTo>
                  <a:cubicBezTo>
                    <a:pt x="1" y="757"/>
                    <a:pt x="34" y="790"/>
                    <a:pt x="68" y="790"/>
                  </a:cubicBezTo>
                  <a:cubicBezTo>
                    <a:pt x="468" y="890"/>
                    <a:pt x="835" y="924"/>
                    <a:pt x="1235" y="924"/>
                  </a:cubicBezTo>
                  <a:cubicBezTo>
                    <a:pt x="1274" y="928"/>
                    <a:pt x="1313" y="930"/>
                    <a:pt x="1353" y="930"/>
                  </a:cubicBezTo>
                  <a:cubicBezTo>
                    <a:pt x="1620" y="930"/>
                    <a:pt x="1903" y="835"/>
                    <a:pt x="2136" y="690"/>
                  </a:cubicBezTo>
                  <a:cubicBezTo>
                    <a:pt x="2236" y="590"/>
                    <a:pt x="2303" y="423"/>
                    <a:pt x="2269" y="290"/>
                  </a:cubicBezTo>
                  <a:cubicBezTo>
                    <a:pt x="2269" y="190"/>
                    <a:pt x="2236" y="90"/>
                    <a:pt x="2136" y="56"/>
                  </a:cubicBezTo>
                  <a:cubicBezTo>
                    <a:pt x="2067" y="17"/>
                    <a:pt x="1977" y="0"/>
                    <a:pt x="1873"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1996;p54">
              <a:extLst>
                <a:ext uri="{FF2B5EF4-FFF2-40B4-BE49-F238E27FC236}">
                  <a16:creationId xmlns:a16="http://schemas.microsoft.com/office/drawing/2014/main" id="{8F1D4FF2-F52D-3976-0625-19AD19261E41}"/>
                </a:ext>
              </a:extLst>
            </p:cNvPr>
            <p:cNvSpPr/>
            <p:nvPr/>
          </p:nvSpPr>
          <p:spPr>
            <a:xfrm>
              <a:off x="9396225" y="4136325"/>
              <a:ext cx="35900" cy="41725"/>
            </a:xfrm>
            <a:custGeom>
              <a:avLst/>
              <a:gdLst/>
              <a:ahLst/>
              <a:cxnLst/>
              <a:rect l="l" t="t" r="r" b="b"/>
              <a:pathLst>
                <a:path w="1436" h="1669" extrusionOk="0">
                  <a:moveTo>
                    <a:pt x="1035" y="167"/>
                  </a:moveTo>
                  <a:cubicBezTo>
                    <a:pt x="1168" y="167"/>
                    <a:pt x="1202" y="267"/>
                    <a:pt x="1202" y="267"/>
                  </a:cubicBezTo>
                  <a:cubicBezTo>
                    <a:pt x="1235" y="534"/>
                    <a:pt x="635" y="1168"/>
                    <a:pt x="201" y="1435"/>
                  </a:cubicBezTo>
                  <a:cubicBezTo>
                    <a:pt x="234" y="1001"/>
                    <a:pt x="401" y="601"/>
                    <a:pt x="668" y="301"/>
                  </a:cubicBezTo>
                  <a:cubicBezTo>
                    <a:pt x="735" y="200"/>
                    <a:pt x="868" y="167"/>
                    <a:pt x="968" y="167"/>
                  </a:cubicBezTo>
                  <a:close/>
                  <a:moveTo>
                    <a:pt x="1035" y="0"/>
                  </a:moveTo>
                  <a:cubicBezTo>
                    <a:pt x="868" y="0"/>
                    <a:pt x="701" y="34"/>
                    <a:pt x="568" y="167"/>
                  </a:cubicBezTo>
                  <a:cubicBezTo>
                    <a:pt x="101" y="567"/>
                    <a:pt x="1" y="1535"/>
                    <a:pt x="1" y="1601"/>
                  </a:cubicBezTo>
                  <a:cubicBezTo>
                    <a:pt x="1" y="1601"/>
                    <a:pt x="1" y="1635"/>
                    <a:pt x="34" y="1668"/>
                  </a:cubicBezTo>
                  <a:lnTo>
                    <a:pt x="134" y="1668"/>
                  </a:lnTo>
                  <a:cubicBezTo>
                    <a:pt x="568" y="1468"/>
                    <a:pt x="1435" y="667"/>
                    <a:pt x="1369" y="267"/>
                  </a:cubicBezTo>
                  <a:cubicBezTo>
                    <a:pt x="1369" y="167"/>
                    <a:pt x="1268" y="34"/>
                    <a:pt x="1035"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1997;p54">
              <a:extLst>
                <a:ext uri="{FF2B5EF4-FFF2-40B4-BE49-F238E27FC236}">
                  <a16:creationId xmlns:a16="http://schemas.microsoft.com/office/drawing/2014/main" id="{09235210-2331-1E0B-9CC8-2B2DAE0D21FB}"/>
                </a:ext>
              </a:extLst>
            </p:cNvPr>
            <p:cNvSpPr/>
            <p:nvPr/>
          </p:nvSpPr>
          <p:spPr>
            <a:xfrm>
              <a:off x="9302000" y="3972025"/>
              <a:ext cx="96750" cy="213525"/>
            </a:xfrm>
            <a:custGeom>
              <a:avLst/>
              <a:gdLst/>
              <a:ahLst/>
              <a:cxnLst/>
              <a:rect l="l" t="t" r="r" b="b"/>
              <a:pathLst>
                <a:path w="3870" h="8541" extrusionOk="0">
                  <a:moveTo>
                    <a:pt x="1" y="1"/>
                  </a:moveTo>
                  <a:lnTo>
                    <a:pt x="167" y="8540"/>
                  </a:lnTo>
                  <a:lnTo>
                    <a:pt x="3870" y="8540"/>
                  </a:lnTo>
                  <a:lnTo>
                    <a:pt x="3703" y="1"/>
                  </a:lnTo>
                  <a:close/>
                </a:path>
              </a:pathLst>
            </a:custGeom>
            <a:solidFill>
              <a:srgbClr val="FFC3B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 name="Google Shape;1998;p54">
              <a:extLst>
                <a:ext uri="{FF2B5EF4-FFF2-40B4-BE49-F238E27FC236}">
                  <a16:creationId xmlns:a16="http://schemas.microsoft.com/office/drawing/2014/main" id="{0FCD4043-6240-3299-3AA4-C659A034A42A}"/>
                </a:ext>
              </a:extLst>
            </p:cNvPr>
            <p:cNvSpPr/>
            <p:nvPr/>
          </p:nvSpPr>
          <p:spPr>
            <a:xfrm>
              <a:off x="9283650" y="4174675"/>
              <a:ext cx="303575" cy="105100"/>
            </a:xfrm>
            <a:custGeom>
              <a:avLst/>
              <a:gdLst/>
              <a:ahLst/>
              <a:cxnLst/>
              <a:rect l="l" t="t" r="r" b="b"/>
              <a:pathLst>
                <a:path w="12143" h="4204" extrusionOk="0">
                  <a:moveTo>
                    <a:pt x="801" y="1"/>
                  </a:moveTo>
                  <a:cubicBezTo>
                    <a:pt x="668" y="1"/>
                    <a:pt x="534" y="101"/>
                    <a:pt x="534" y="268"/>
                  </a:cubicBezTo>
                  <a:lnTo>
                    <a:pt x="34" y="3537"/>
                  </a:lnTo>
                  <a:cubicBezTo>
                    <a:pt x="1" y="3904"/>
                    <a:pt x="268" y="4204"/>
                    <a:pt x="634" y="4204"/>
                  </a:cubicBezTo>
                  <a:cubicBezTo>
                    <a:pt x="2102" y="4170"/>
                    <a:pt x="2769" y="4104"/>
                    <a:pt x="4604" y="4104"/>
                  </a:cubicBezTo>
                  <a:cubicBezTo>
                    <a:pt x="5738" y="4104"/>
                    <a:pt x="8940" y="4204"/>
                    <a:pt x="10508" y="4204"/>
                  </a:cubicBezTo>
                  <a:cubicBezTo>
                    <a:pt x="12043" y="4204"/>
                    <a:pt x="12143" y="2669"/>
                    <a:pt x="11476" y="2536"/>
                  </a:cubicBezTo>
                  <a:cubicBezTo>
                    <a:pt x="8607" y="1936"/>
                    <a:pt x="6539" y="1068"/>
                    <a:pt x="5571" y="234"/>
                  </a:cubicBezTo>
                  <a:cubicBezTo>
                    <a:pt x="5405" y="101"/>
                    <a:pt x="5204" y="1"/>
                    <a:pt x="4971"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 name="Google Shape;1999;p54">
              <a:extLst>
                <a:ext uri="{FF2B5EF4-FFF2-40B4-BE49-F238E27FC236}">
                  <a16:creationId xmlns:a16="http://schemas.microsoft.com/office/drawing/2014/main" id="{8945CEB8-49C4-2DEE-E854-4D8D2AB27D53}"/>
                </a:ext>
              </a:extLst>
            </p:cNvPr>
            <p:cNvSpPr/>
            <p:nvPr/>
          </p:nvSpPr>
          <p:spPr>
            <a:xfrm>
              <a:off x="9302000" y="3972025"/>
              <a:ext cx="94250" cy="110125"/>
            </a:xfrm>
            <a:custGeom>
              <a:avLst/>
              <a:gdLst/>
              <a:ahLst/>
              <a:cxnLst/>
              <a:rect l="l" t="t" r="r" b="b"/>
              <a:pathLst>
                <a:path w="3770" h="4405" extrusionOk="0">
                  <a:moveTo>
                    <a:pt x="1" y="1"/>
                  </a:moveTo>
                  <a:lnTo>
                    <a:pt x="101" y="4404"/>
                  </a:lnTo>
                  <a:lnTo>
                    <a:pt x="3770" y="4404"/>
                  </a:lnTo>
                  <a:lnTo>
                    <a:pt x="3703" y="1"/>
                  </a:ln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2000;p54">
              <a:extLst>
                <a:ext uri="{FF2B5EF4-FFF2-40B4-BE49-F238E27FC236}">
                  <a16:creationId xmlns:a16="http://schemas.microsoft.com/office/drawing/2014/main" id="{1D551B32-7FA7-AF9E-C61D-5E7431899AA5}"/>
                </a:ext>
              </a:extLst>
            </p:cNvPr>
            <p:cNvSpPr/>
            <p:nvPr/>
          </p:nvSpPr>
          <p:spPr>
            <a:xfrm>
              <a:off x="9221950" y="2169925"/>
              <a:ext cx="329425" cy="1890525"/>
            </a:xfrm>
            <a:custGeom>
              <a:avLst/>
              <a:gdLst/>
              <a:ahLst/>
              <a:cxnLst/>
              <a:rect l="l" t="t" r="r" b="b"/>
              <a:pathLst>
                <a:path w="13177" h="75621" extrusionOk="0">
                  <a:moveTo>
                    <a:pt x="2202" y="0"/>
                  </a:moveTo>
                  <a:cubicBezTo>
                    <a:pt x="0" y="9173"/>
                    <a:pt x="3269" y="26552"/>
                    <a:pt x="2402" y="39061"/>
                  </a:cubicBezTo>
                  <a:cubicBezTo>
                    <a:pt x="1601" y="50536"/>
                    <a:pt x="2669" y="75621"/>
                    <a:pt x="2669" y="75621"/>
                  </a:cubicBezTo>
                  <a:lnTo>
                    <a:pt x="7672" y="75621"/>
                  </a:lnTo>
                  <a:cubicBezTo>
                    <a:pt x="7672" y="75621"/>
                    <a:pt x="9507" y="51003"/>
                    <a:pt x="10608" y="39328"/>
                  </a:cubicBezTo>
                  <a:cubicBezTo>
                    <a:pt x="11642" y="28120"/>
                    <a:pt x="13176" y="334"/>
                    <a:pt x="13176" y="334"/>
                  </a:cubicBezTo>
                  <a:cubicBezTo>
                    <a:pt x="13176" y="334"/>
                    <a:pt x="4237" y="33"/>
                    <a:pt x="2202"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2001;p54">
              <a:extLst>
                <a:ext uri="{FF2B5EF4-FFF2-40B4-BE49-F238E27FC236}">
                  <a16:creationId xmlns:a16="http://schemas.microsoft.com/office/drawing/2014/main" id="{8D41E17A-4FA8-D288-A07C-F99EFC5928E2}"/>
                </a:ext>
              </a:extLst>
            </p:cNvPr>
            <p:cNvSpPr/>
            <p:nvPr/>
          </p:nvSpPr>
          <p:spPr>
            <a:xfrm>
              <a:off x="9272825" y="4007900"/>
              <a:ext cx="159300" cy="57550"/>
            </a:xfrm>
            <a:custGeom>
              <a:avLst/>
              <a:gdLst/>
              <a:ahLst/>
              <a:cxnLst/>
              <a:rect l="l" t="t" r="r" b="b"/>
              <a:pathLst>
                <a:path w="6372" h="2302" extrusionOk="0">
                  <a:moveTo>
                    <a:pt x="6371" y="0"/>
                  </a:moveTo>
                  <a:lnTo>
                    <a:pt x="0" y="434"/>
                  </a:lnTo>
                  <a:lnTo>
                    <a:pt x="234" y="2302"/>
                  </a:lnTo>
                  <a:lnTo>
                    <a:pt x="6104" y="2302"/>
                  </a:lnTo>
                  <a:lnTo>
                    <a:pt x="6371" y="0"/>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2002;p54">
              <a:extLst>
                <a:ext uri="{FF2B5EF4-FFF2-40B4-BE49-F238E27FC236}">
                  <a16:creationId xmlns:a16="http://schemas.microsoft.com/office/drawing/2014/main" id="{5B926119-62B6-AC33-3E42-6ED87CC3207A}"/>
                </a:ext>
              </a:extLst>
            </p:cNvPr>
            <p:cNvSpPr/>
            <p:nvPr/>
          </p:nvSpPr>
          <p:spPr>
            <a:xfrm>
              <a:off x="8821650" y="4003725"/>
              <a:ext cx="162650" cy="61725"/>
            </a:xfrm>
            <a:custGeom>
              <a:avLst/>
              <a:gdLst/>
              <a:ahLst/>
              <a:cxnLst/>
              <a:rect l="l" t="t" r="r" b="b"/>
              <a:pathLst>
                <a:path w="6506" h="2469" extrusionOk="0">
                  <a:moveTo>
                    <a:pt x="6505" y="1"/>
                  </a:moveTo>
                  <a:lnTo>
                    <a:pt x="1" y="634"/>
                  </a:lnTo>
                  <a:lnTo>
                    <a:pt x="68" y="2469"/>
                  </a:lnTo>
                  <a:lnTo>
                    <a:pt x="5905" y="2469"/>
                  </a:lnTo>
                  <a:lnTo>
                    <a:pt x="6505" y="1"/>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2003;p54">
              <a:extLst>
                <a:ext uri="{FF2B5EF4-FFF2-40B4-BE49-F238E27FC236}">
                  <a16:creationId xmlns:a16="http://schemas.microsoft.com/office/drawing/2014/main" id="{77E24B3E-519D-2321-FCE4-40EB5C1135EB}"/>
                </a:ext>
              </a:extLst>
            </p:cNvPr>
            <p:cNvSpPr/>
            <p:nvPr/>
          </p:nvSpPr>
          <p:spPr>
            <a:xfrm>
              <a:off x="9159400" y="2142400"/>
              <a:ext cx="404475" cy="53400"/>
            </a:xfrm>
            <a:custGeom>
              <a:avLst/>
              <a:gdLst/>
              <a:ahLst/>
              <a:cxnLst/>
              <a:rect l="l" t="t" r="r" b="b"/>
              <a:pathLst>
                <a:path w="16179" h="2136" extrusionOk="0">
                  <a:moveTo>
                    <a:pt x="734" y="0"/>
                  </a:moveTo>
                  <a:cubicBezTo>
                    <a:pt x="634" y="0"/>
                    <a:pt x="534" y="34"/>
                    <a:pt x="501" y="100"/>
                  </a:cubicBezTo>
                  <a:lnTo>
                    <a:pt x="67" y="1435"/>
                  </a:lnTo>
                  <a:cubicBezTo>
                    <a:pt x="0" y="1535"/>
                    <a:pt x="134" y="1668"/>
                    <a:pt x="301" y="1668"/>
                  </a:cubicBezTo>
                  <a:lnTo>
                    <a:pt x="15745" y="2135"/>
                  </a:lnTo>
                  <a:cubicBezTo>
                    <a:pt x="15878" y="2135"/>
                    <a:pt x="15979" y="2068"/>
                    <a:pt x="16012" y="1968"/>
                  </a:cubicBezTo>
                  <a:lnTo>
                    <a:pt x="16179" y="634"/>
                  </a:lnTo>
                  <a:cubicBezTo>
                    <a:pt x="16179" y="534"/>
                    <a:pt x="16079" y="467"/>
                    <a:pt x="15912" y="467"/>
                  </a:cubicBezTo>
                  <a:lnTo>
                    <a:pt x="734" y="0"/>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 name="Google Shape;2004;p54">
              <a:extLst>
                <a:ext uri="{FF2B5EF4-FFF2-40B4-BE49-F238E27FC236}">
                  <a16:creationId xmlns:a16="http://schemas.microsoft.com/office/drawing/2014/main" id="{2C6DAB73-06B9-3F48-24DA-B6527E9AADD0}"/>
                </a:ext>
              </a:extLst>
            </p:cNvPr>
            <p:cNvSpPr/>
            <p:nvPr/>
          </p:nvSpPr>
          <p:spPr>
            <a:xfrm>
              <a:off x="9207775" y="2140725"/>
              <a:ext cx="24200" cy="48400"/>
            </a:xfrm>
            <a:custGeom>
              <a:avLst/>
              <a:gdLst/>
              <a:ahLst/>
              <a:cxnLst/>
              <a:rect l="l" t="t" r="r" b="b"/>
              <a:pathLst>
                <a:path w="968" h="1936" extrusionOk="0">
                  <a:moveTo>
                    <a:pt x="400" y="1"/>
                  </a:moveTo>
                  <a:cubicBezTo>
                    <a:pt x="334" y="1"/>
                    <a:pt x="234" y="67"/>
                    <a:pt x="234" y="101"/>
                  </a:cubicBezTo>
                  <a:lnTo>
                    <a:pt x="0" y="1835"/>
                  </a:lnTo>
                  <a:cubicBezTo>
                    <a:pt x="0" y="1902"/>
                    <a:pt x="67" y="1935"/>
                    <a:pt x="134" y="1935"/>
                  </a:cubicBezTo>
                  <a:lnTo>
                    <a:pt x="567" y="1935"/>
                  </a:lnTo>
                  <a:cubicBezTo>
                    <a:pt x="634" y="1935"/>
                    <a:pt x="701" y="1902"/>
                    <a:pt x="701" y="1835"/>
                  </a:cubicBezTo>
                  <a:lnTo>
                    <a:pt x="968" y="101"/>
                  </a:lnTo>
                  <a:cubicBezTo>
                    <a:pt x="968" y="67"/>
                    <a:pt x="901" y="1"/>
                    <a:pt x="834"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 name="Google Shape;2005;p54">
              <a:extLst>
                <a:ext uri="{FF2B5EF4-FFF2-40B4-BE49-F238E27FC236}">
                  <a16:creationId xmlns:a16="http://schemas.microsoft.com/office/drawing/2014/main" id="{B694EA36-670E-D414-5412-AA9D93B20785}"/>
                </a:ext>
              </a:extLst>
            </p:cNvPr>
            <p:cNvSpPr/>
            <p:nvPr/>
          </p:nvSpPr>
          <p:spPr>
            <a:xfrm>
              <a:off x="9510475" y="2149900"/>
              <a:ext cx="24225" cy="48400"/>
            </a:xfrm>
            <a:custGeom>
              <a:avLst/>
              <a:gdLst/>
              <a:ahLst/>
              <a:cxnLst/>
              <a:rect l="l" t="t" r="r" b="b"/>
              <a:pathLst>
                <a:path w="969" h="1936" extrusionOk="0">
                  <a:moveTo>
                    <a:pt x="401" y="0"/>
                  </a:moveTo>
                  <a:cubicBezTo>
                    <a:pt x="334" y="0"/>
                    <a:pt x="234" y="34"/>
                    <a:pt x="234" y="101"/>
                  </a:cubicBezTo>
                  <a:lnTo>
                    <a:pt x="1" y="1835"/>
                  </a:lnTo>
                  <a:cubicBezTo>
                    <a:pt x="1" y="1902"/>
                    <a:pt x="68" y="1935"/>
                    <a:pt x="134" y="1935"/>
                  </a:cubicBezTo>
                  <a:lnTo>
                    <a:pt x="568" y="1935"/>
                  </a:lnTo>
                  <a:cubicBezTo>
                    <a:pt x="635" y="1935"/>
                    <a:pt x="701" y="1902"/>
                    <a:pt x="701" y="1835"/>
                  </a:cubicBezTo>
                  <a:lnTo>
                    <a:pt x="968" y="101"/>
                  </a:lnTo>
                  <a:cubicBezTo>
                    <a:pt x="968" y="67"/>
                    <a:pt x="901" y="0"/>
                    <a:pt x="835"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 name="Google Shape;2006;p54">
              <a:extLst>
                <a:ext uri="{FF2B5EF4-FFF2-40B4-BE49-F238E27FC236}">
                  <a16:creationId xmlns:a16="http://schemas.microsoft.com/office/drawing/2014/main" id="{914735C4-D198-5905-5CB0-89BBC75BBA4D}"/>
                </a:ext>
              </a:extLst>
            </p:cNvPr>
            <p:cNvSpPr/>
            <p:nvPr/>
          </p:nvSpPr>
          <p:spPr>
            <a:xfrm>
              <a:off x="9358700" y="2145725"/>
              <a:ext cx="25050" cy="47800"/>
            </a:xfrm>
            <a:custGeom>
              <a:avLst/>
              <a:gdLst/>
              <a:ahLst/>
              <a:cxnLst/>
              <a:rect l="l" t="t" r="r" b="b"/>
              <a:pathLst>
                <a:path w="1002" h="1912" extrusionOk="0">
                  <a:moveTo>
                    <a:pt x="434" y="1"/>
                  </a:moveTo>
                  <a:cubicBezTo>
                    <a:pt x="334" y="1"/>
                    <a:pt x="268" y="34"/>
                    <a:pt x="268" y="67"/>
                  </a:cubicBezTo>
                  <a:lnTo>
                    <a:pt x="34" y="1802"/>
                  </a:lnTo>
                  <a:cubicBezTo>
                    <a:pt x="1" y="1869"/>
                    <a:pt x="68" y="1902"/>
                    <a:pt x="168" y="1902"/>
                  </a:cubicBezTo>
                  <a:lnTo>
                    <a:pt x="568" y="1902"/>
                  </a:lnTo>
                  <a:cubicBezTo>
                    <a:pt x="587" y="1908"/>
                    <a:pt x="605" y="1911"/>
                    <a:pt x="621" y="1911"/>
                  </a:cubicBezTo>
                  <a:cubicBezTo>
                    <a:pt x="691" y="1911"/>
                    <a:pt x="735" y="1862"/>
                    <a:pt x="735" y="1835"/>
                  </a:cubicBezTo>
                  <a:lnTo>
                    <a:pt x="968" y="101"/>
                  </a:lnTo>
                  <a:cubicBezTo>
                    <a:pt x="1002" y="34"/>
                    <a:pt x="935" y="1"/>
                    <a:pt x="835"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7485516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642"/>
        <p:cNvGrpSpPr/>
        <p:nvPr/>
      </p:nvGrpSpPr>
      <p:grpSpPr>
        <a:xfrm>
          <a:off x="0" y="0"/>
          <a:ext cx="0" cy="0"/>
          <a:chOff x="0" y="0"/>
          <a:chExt cx="0" cy="0"/>
        </a:xfrm>
      </p:grpSpPr>
      <p:sp>
        <p:nvSpPr>
          <p:cNvPr id="1643" name="Google Shape;1643;p50"/>
          <p:cNvSpPr txBox="1">
            <a:spLocks noGrp="1"/>
          </p:cNvSpPr>
          <p:nvPr>
            <p:ph type="title"/>
          </p:nvPr>
        </p:nvSpPr>
        <p:spPr>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it-IT">
                <a:solidFill>
                  <a:schemeClr val="tx1"/>
                </a:solidFill>
              </a:rPr>
              <a:t>Classification Process</a:t>
            </a:r>
          </a:p>
        </p:txBody>
      </p:sp>
      <p:grpSp>
        <p:nvGrpSpPr>
          <p:cNvPr id="4124" name="Group 4123">
            <a:extLst>
              <a:ext uri="{FF2B5EF4-FFF2-40B4-BE49-F238E27FC236}">
                <a16:creationId xmlns:a16="http://schemas.microsoft.com/office/drawing/2014/main" id="{B553A168-50D1-CF61-96B7-D35B5C250538}"/>
              </a:ext>
            </a:extLst>
          </p:cNvPr>
          <p:cNvGrpSpPr/>
          <p:nvPr/>
        </p:nvGrpSpPr>
        <p:grpSpPr>
          <a:xfrm>
            <a:off x="581890" y="1392382"/>
            <a:ext cx="7868035" cy="2842751"/>
            <a:chOff x="1294465" y="1185278"/>
            <a:chExt cx="7210691" cy="2613435"/>
          </a:xfrm>
        </p:grpSpPr>
        <p:grpSp>
          <p:nvGrpSpPr>
            <p:cNvPr id="24" name="Group 23">
              <a:extLst>
                <a:ext uri="{FF2B5EF4-FFF2-40B4-BE49-F238E27FC236}">
                  <a16:creationId xmlns:a16="http://schemas.microsoft.com/office/drawing/2014/main" id="{8CC615AB-E8D1-18D6-451C-8F1D88EB3F82}"/>
                </a:ext>
              </a:extLst>
            </p:cNvPr>
            <p:cNvGrpSpPr/>
            <p:nvPr/>
          </p:nvGrpSpPr>
          <p:grpSpPr>
            <a:xfrm>
              <a:off x="5091899" y="1403025"/>
              <a:ext cx="2389424" cy="2367512"/>
              <a:chOff x="5046305" y="826765"/>
              <a:chExt cx="1999716" cy="1960697"/>
            </a:xfrm>
          </p:grpSpPr>
          <p:grpSp>
            <p:nvGrpSpPr>
              <p:cNvPr id="7" name="Group 6">
                <a:extLst>
                  <a:ext uri="{FF2B5EF4-FFF2-40B4-BE49-F238E27FC236}">
                    <a16:creationId xmlns:a16="http://schemas.microsoft.com/office/drawing/2014/main" id="{05A60A7F-BD8A-093B-9495-DAB6D46D8B78}"/>
                  </a:ext>
                </a:extLst>
              </p:cNvPr>
              <p:cNvGrpSpPr>
                <a:grpSpLocks noChangeAspect="1"/>
              </p:cNvGrpSpPr>
              <p:nvPr/>
            </p:nvGrpSpPr>
            <p:grpSpPr>
              <a:xfrm>
                <a:off x="5046305" y="1024425"/>
                <a:ext cx="1595074" cy="1547325"/>
                <a:chOff x="4508787" y="916051"/>
                <a:chExt cx="3859381" cy="3969099"/>
              </a:xfrm>
            </p:grpSpPr>
            <p:sp>
              <p:nvSpPr>
                <p:cNvPr id="8" name="Block Arc 7">
                  <a:extLst>
                    <a:ext uri="{FF2B5EF4-FFF2-40B4-BE49-F238E27FC236}">
                      <a16:creationId xmlns:a16="http://schemas.microsoft.com/office/drawing/2014/main" id="{A153E950-D73D-E10C-13E7-5D10E02DA7AB}"/>
                    </a:ext>
                  </a:extLst>
                </p:cNvPr>
                <p:cNvSpPr/>
                <p:nvPr/>
              </p:nvSpPr>
              <p:spPr>
                <a:xfrm rot="1846659" flipH="1">
                  <a:off x="6238309" y="2766752"/>
                  <a:ext cx="2129859" cy="2118398"/>
                </a:xfrm>
                <a:prstGeom prst="blockArc">
                  <a:avLst>
                    <a:gd name="adj1" fmla="val 15950197"/>
                    <a:gd name="adj2" fmla="val 20176543"/>
                    <a:gd name="adj3" fmla="val 16626"/>
                  </a:avLst>
                </a:prstGeom>
                <a:solidFill>
                  <a:srgbClr val="FCB41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grpSp>
              <p:nvGrpSpPr>
                <p:cNvPr id="9" name="Group 8">
                  <a:extLst>
                    <a:ext uri="{FF2B5EF4-FFF2-40B4-BE49-F238E27FC236}">
                      <a16:creationId xmlns:a16="http://schemas.microsoft.com/office/drawing/2014/main" id="{F785F3E5-6AFB-096A-513C-D6F0B8B28A7D}"/>
                    </a:ext>
                  </a:extLst>
                </p:cNvPr>
                <p:cNvGrpSpPr/>
                <p:nvPr/>
              </p:nvGrpSpPr>
              <p:grpSpPr>
                <a:xfrm rot="5400000">
                  <a:off x="4043851" y="1509236"/>
                  <a:ext cx="3840615" cy="2910744"/>
                  <a:chOff x="2866313" y="2914398"/>
                  <a:chExt cx="6348797" cy="4847920"/>
                </a:xfrm>
                <a:solidFill>
                  <a:srgbClr val="FCB414"/>
                </a:solidFill>
              </p:grpSpPr>
              <p:grpSp>
                <p:nvGrpSpPr>
                  <p:cNvPr id="14" name="Group 13">
                    <a:extLst>
                      <a:ext uri="{FF2B5EF4-FFF2-40B4-BE49-F238E27FC236}">
                        <a16:creationId xmlns:a16="http://schemas.microsoft.com/office/drawing/2014/main" id="{4D757EBC-BB42-AF37-DB7D-983C71776470}"/>
                      </a:ext>
                    </a:extLst>
                  </p:cNvPr>
                  <p:cNvGrpSpPr/>
                  <p:nvPr/>
                </p:nvGrpSpPr>
                <p:grpSpPr>
                  <a:xfrm>
                    <a:off x="2866313" y="4079154"/>
                    <a:ext cx="3591004" cy="3683164"/>
                    <a:chOff x="2866313" y="3606714"/>
                    <a:chExt cx="3591004" cy="3683164"/>
                  </a:xfrm>
                  <a:grpFill/>
                </p:grpSpPr>
                <p:sp>
                  <p:nvSpPr>
                    <p:cNvPr id="18" name="Block Arc 17">
                      <a:extLst>
                        <a:ext uri="{FF2B5EF4-FFF2-40B4-BE49-F238E27FC236}">
                          <a16:creationId xmlns:a16="http://schemas.microsoft.com/office/drawing/2014/main" id="{E7B88192-F880-2AD4-4D53-09911AA6E46C}"/>
                        </a:ext>
                      </a:extLst>
                    </p:cNvPr>
                    <p:cNvSpPr/>
                    <p:nvPr/>
                  </p:nvSpPr>
                  <p:spPr>
                    <a:xfrm rot="20908643">
                      <a:off x="2866313" y="3698874"/>
                      <a:ext cx="3591004" cy="3591004"/>
                    </a:xfrm>
                    <a:prstGeom prst="blockArc">
                      <a:avLst>
                        <a:gd name="adj1" fmla="val 15950197"/>
                        <a:gd name="adj2" fmla="val 20176543"/>
                        <a:gd name="adj3" fmla="val 16626"/>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19" name="Arrow: Down 18">
                      <a:extLst>
                        <a:ext uri="{FF2B5EF4-FFF2-40B4-BE49-F238E27FC236}">
                          <a16:creationId xmlns:a16="http://schemas.microsoft.com/office/drawing/2014/main" id="{763988FD-5B00-34F4-2D5C-E16DC1678465}"/>
                        </a:ext>
                      </a:extLst>
                    </p:cNvPr>
                    <p:cNvSpPr/>
                    <p:nvPr/>
                  </p:nvSpPr>
                  <p:spPr>
                    <a:xfrm rot="4536891">
                      <a:off x="3214355" y="3592554"/>
                      <a:ext cx="1134894" cy="1163213"/>
                    </a:xfrm>
                    <a:prstGeom prst="downArrow">
                      <a:avLst>
                        <a:gd name="adj1" fmla="val 52857"/>
                        <a:gd name="adj2" fmla="val 82725"/>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15" name="Group 14">
                    <a:extLst>
                      <a:ext uri="{FF2B5EF4-FFF2-40B4-BE49-F238E27FC236}">
                        <a16:creationId xmlns:a16="http://schemas.microsoft.com/office/drawing/2014/main" id="{AC27D22C-0C4E-4F2F-CB6E-AF7448CEC344}"/>
                      </a:ext>
                    </a:extLst>
                  </p:cNvPr>
                  <p:cNvGrpSpPr/>
                  <p:nvPr/>
                </p:nvGrpSpPr>
                <p:grpSpPr>
                  <a:xfrm flipH="1">
                    <a:off x="5639589" y="2914398"/>
                    <a:ext cx="3575521" cy="3971933"/>
                    <a:chOff x="2665008" y="2457000"/>
                    <a:chExt cx="3591004" cy="3971933"/>
                  </a:xfrm>
                  <a:grpFill/>
                </p:grpSpPr>
                <p:sp>
                  <p:nvSpPr>
                    <p:cNvPr id="16" name="Block Arc 15">
                      <a:extLst>
                        <a:ext uri="{FF2B5EF4-FFF2-40B4-BE49-F238E27FC236}">
                          <a16:creationId xmlns:a16="http://schemas.microsoft.com/office/drawing/2014/main" id="{71984AE8-E17B-F4C3-268D-68D8B91C3A4F}"/>
                        </a:ext>
                      </a:extLst>
                    </p:cNvPr>
                    <p:cNvSpPr/>
                    <p:nvPr/>
                  </p:nvSpPr>
                  <p:spPr>
                    <a:xfrm rot="900000">
                      <a:off x="2665008" y="2837934"/>
                      <a:ext cx="3591004" cy="3590999"/>
                    </a:xfrm>
                    <a:prstGeom prst="blockArc">
                      <a:avLst>
                        <a:gd name="adj1" fmla="val 15950197"/>
                        <a:gd name="adj2" fmla="val 20176543"/>
                        <a:gd name="adj3" fmla="val 16626"/>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17" name="Arrow: Down 16">
                      <a:extLst>
                        <a:ext uri="{FF2B5EF4-FFF2-40B4-BE49-F238E27FC236}">
                          <a16:creationId xmlns:a16="http://schemas.microsoft.com/office/drawing/2014/main" id="{24C83C12-90FD-010D-F2EA-FE5871F8377E}"/>
                        </a:ext>
                      </a:extLst>
                    </p:cNvPr>
                    <p:cNvSpPr/>
                    <p:nvPr/>
                  </p:nvSpPr>
                  <p:spPr>
                    <a:xfrm rot="6300000">
                      <a:off x="3669275" y="2442841"/>
                      <a:ext cx="1134895" cy="1163213"/>
                    </a:xfrm>
                    <a:prstGeom prst="downArrow">
                      <a:avLst>
                        <a:gd name="adj1" fmla="val 52857"/>
                        <a:gd name="adj2" fmla="val 82725"/>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sp>
              <p:nvSpPr>
                <p:cNvPr id="10" name="Block Arc 9">
                  <a:extLst>
                    <a:ext uri="{FF2B5EF4-FFF2-40B4-BE49-F238E27FC236}">
                      <a16:creationId xmlns:a16="http://schemas.microsoft.com/office/drawing/2014/main" id="{0EEA23A4-11BA-6D48-FCFE-13EF7ADBB20C}"/>
                    </a:ext>
                  </a:extLst>
                </p:cNvPr>
                <p:cNvSpPr/>
                <p:nvPr/>
              </p:nvSpPr>
              <p:spPr>
                <a:xfrm rot="6300000">
                  <a:off x="5608268" y="924175"/>
                  <a:ext cx="2172327" cy="2156079"/>
                </a:xfrm>
                <a:prstGeom prst="blockArc">
                  <a:avLst>
                    <a:gd name="adj1" fmla="val 15950197"/>
                    <a:gd name="adj2" fmla="val 20176543"/>
                    <a:gd name="adj3" fmla="val 16626"/>
                  </a:avLst>
                </a:prstGeom>
                <a:solidFill>
                  <a:srgbClr val="FCB41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11" name="Arrow: Down 10">
                  <a:extLst>
                    <a:ext uri="{FF2B5EF4-FFF2-40B4-BE49-F238E27FC236}">
                      <a16:creationId xmlns:a16="http://schemas.microsoft.com/office/drawing/2014/main" id="{28F3ED97-56DF-87BE-98ED-ECF4A9B47B5F}"/>
                    </a:ext>
                  </a:extLst>
                </p:cNvPr>
                <p:cNvSpPr/>
                <p:nvPr/>
              </p:nvSpPr>
              <p:spPr>
                <a:xfrm rot="11700000">
                  <a:off x="7320002" y="1503410"/>
                  <a:ext cx="681403" cy="703669"/>
                </a:xfrm>
                <a:prstGeom prst="downArrow">
                  <a:avLst>
                    <a:gd name="adj1" fmla="val 52857"/>
                    <a:gd name="adj2" fmla="val 82725"/>
                  </a:avLst>
                </a:prstGeom>
                <a:solidFill>
                  <a:srgbClr val="FCB41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454FA0D-A4DA-5657-1991-FE34E9256A3C}"/>
                    </a:ext>
                  </a:extLst>
                </p:cNvPr>
                <p:cNvSpPr/>
                <p:nvPr/>
              </p:nvSpPr>
              <p:spPr>
                <a:xfrm>
                  <a:off x="5133025" y="2676477"/>
                  <a:ext cx="2353363" cy="417245"/>
                </a:xfrm>
                <a:prstGeom prst="rect">
                  <a:avLst/>
                </a:prstGeom>
                <a:solidFill>
                  <a:srgbClr val="FCB414"/>
                </a:solidFill>
                <a:ln w="12700" cap="flat" cmpd="sng" algn="ctr">
                  <a:noFill/>
                  <a:prstDash val="solid"/>
                  <a:miter lim="800000"/>
                </a:ln>
                <a:effectLst/>
              </p:spPr>
              <p:txBody>
                <a:bodyPr rtlCol="0" anchor="ctr"/>
                <a:lstStyle/>
                <a:p>
                  <a:pPr algn="ctr">
                    <a:buClrTx/>
                  </a:pPr>
                  <a:endParaRPr lang="en-CA" sz="1800" kern="1200">
                    <a:solidFill>
                      <a:srgbClr val="FFFFFF"/>
                    </a:solidFill>
                    <a:latin typeface="Calibri" panose="020F0502020204030204"/>
                  </a:endParaRPr>
                </a:p>
              </p:txBody>
            </p:sp>
            <p:sp>
              <p:nvSpPr>
                <p:cNvPr id="13" name="Arrow: Down 12">
                  <a:extLst>
                    <a:ext uri="{FF2B5EF4-FFF2-40B4-BE49-F238E27FC236}">
                      <a16:creationId xmlns:a16="http://schemas.microsoft.com/office/drawing/2014/main" id="{F332F8B3-6B23-3D6A-347E-78EE2A730D64}"/>
                    </a:ext>
                  </a:extLst>
                </p:cNvPr>
                <p:cNvSpPr/>
                <p:nvPr/>
              </p:nvSpPr>
              <p:spPr>
                <a:xfrm rot="18324580">
                  <a:off x="7673135" y="2938874"/>
                  <a:ext cx="668798" cy="703669"/>
                </a:xfrm>
                <a:prstGeom prst="downArrow">
                  <a:avLst>
                    <a:gd name="adj1" fmla="val 52857"/>
                    <a:gd name="adj2" fmla="val 82725"/>
                  </a:avLst>
                </a:prstGeom>
                <a:solidFill>
                  <a:srgbClr val="FCB41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pic>
            <p:nvPicPr>
              <p:cNvPr id="20" name="Picture 2" descr="Convince, not confuse: why we must cut out the jargon and buzzwords from ad  tech">
                <a:extLst>
                  <a:ext uri="{FF2B5EF4-FFF2-40B4-BE49-F238E27FC236}">
                    <a16:creationId xmlns:a16="http://schemas.microsoft.com/office/drawing/2014/main" id="{57FD623C-56F5-42DB-5329-78E2B1F8C483}"/>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7143" b="90000" l="8333" r="90417">
                            <a14:foregroundMark x1="51250" y1="8095" x2="51250" y2="8095"/>
                            <a14:foregroundMark x1="8750" y1="53810" x2="8750" y2="53810"/>
                            <a14:foregroundMark x1="90833" y1="52381" x2="90833" y2="52381"/>
                            <a14:foregroundMark x1="8333" y1="51429" x2="8333" y2="51429"/>
                          </a14:backgroundRemoval>
                        </a14:imgEffect>
                      </a14:imgLayer>
                    </a14:imgProps>
                  </a:ext>
                  <a:ext uri="{28A0092B-C50C-407E-A947-70E740481C1C}">
                    <a14:useLocalDpi xmlns:a14="http://schemas.microsoft.com/office/drawing/2010/main" val="0"/>
                  </a:ext>
                </a:extLst>
              </a:blip>
              <a:srcRect/>
              <a:stretch>
                <a:fillRect/>
              </a:stretch>
            </p:blipFill>
            <p:spPr bwMode="auto">
              <a:xfrm>
                <a:off x="6360678" y="955059"/>
                <a:ext cx="527357" cy="461438"/>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 descr="Woman Bouncing Ball Flat Default Icon | FluentUI Emoji Flat Iconpack |  Microsoft">
                <a:extLst>
                  <a:ext uri="{FF2B5EF4-FFF2-40B4-BE49-F238E27FC236}">
                    <a16:creationId xmlns:a16="http://schemas.microsoft.com/office/drawing/2014/main" id="{E6A9AFF1-34E3-1DB1-9ED9-ADF4FC9A4F1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34573" y="2317426"/>
                <a:ext cx="470036" cy="470036"/>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6" descr="Job seeker - Free business icons">
                <a:extLst>
                  <a:ext uri="{FF2B5EF4-FFF2-40B4-BE49-F238E27FC236}">
                    <a16:creationId xmlns:a16="http://schemas.microsoft.com/office/drawing/2014/main" id="{D6C69AA3-D217-A29C-DDD0-C9D9F13A523B}"/>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2667" b="96000" l="4889" r="97778">
                            <a14:foregroundMark x1="32000" y1="6667" x2="32000" y2="6667"/>
                            <a14:foregroundMark x1="20000" y1="9778" x2="20000" y2="9778"/>
                            <a14:foregroundMark x1="5333" y1="37778" x2="5333" y2="37778"/>
                            <a14:foregroundMark x1="33333" y1="2667" x2="33333" y2="2667"/>
                            <a14:foregroundMark x1="89333" y1="84444" x2="89333" y2="84444"/>
                            <a14:foregroundMark x1="90667" y1="92000" x2="90667" y2="92000"/>
                            <a14:foregroundMark x1="94222" y1="89333" x2="94222" y2="89333"/>
                            <a14:foregroundMark x1="97778" y1="88889" x2="97778" y2="88889"/>
                            <a14:foregroundMark x1="88889" y1="96000" x2="88889" y2="96000"/>
                          </a14:backgroundRemoval>
                        </a14:imgEffect>
                      </a14:imgLayer>
                    </a14:imgProps>
                  </a:ext>
                  <a:ext uri="{28A0092B-C50C-407E-A947-70E740481C1C}">
                    <a14:useLocalDpi xmlns:a14="http://schemas.microsoft.com/office/drawing/2010/main" val="0"/>
                  </a:ext>
                </a:extLst>
              </a:blip>
              <a:srcRect/>
              <a:stretch>
                <a:fillRect/>
              </a:stretch>
            </p:blipFill>
            <p:spPr bwMode="auto">
              <a:xfrm>
                <a:off x="5654383" y="826765"/>
                <a:ext cx="398685" cy="398685"/>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8" descr="Customer loyalty Special Flat icon">
                <a:extLst>
                  <a:ext uri="{FF2B5EF4-FFF2-40B4-BE49-F238E27FC236}">
                    <a16:creationId xmlns:a16="http://schemas.microsoft.com/office/drawing/2014/main" id="{D2C76C3B-0E47-04C9-C32A-CF85C41A785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680287" y="1813832"/>
                <a:ext cx="365734" cy="365734"/>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29" name="Straight Arrow Connector 28">
              <a:extLst>
                <a:ext uri="{FF2B5EF4-FFF2-40B4-BE49-F238E27FC236}">
                  <a16:creationId xmlns:a16="http://schemas.microsoft.com/office/drawing/2014/main" id="{C9B61615-4511-EA0D-DE55-B2ECFC14AA2D}"/>
                </a:ext>
              </a:extLst>
            </p:cNvPr>
            <p:cNvCxnSpPr>
              <a:cxnSpLocks/>
            </p:cNvCxnSpPr>
            <p:nvPr/>
          </p:nvCxnSpPr>
          <p:spPr>
            <a:xfrm>
              <a:off x="1662522" y="2550969"/>
              <a:ext cx="1941828" cy="15031"/>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cxnSp>
          <p:nvCxnSpPr>
            <p:cNvPr id="32" name="Straight Arrow Connector 31">
              <a:extLst>
                <a:ext uri="{FF2B5EF4-FFF2-40B4-BE49-F238E27FC236}">
                  <a16:creationId xmlns:a16="http://schemas.microsoft.com/office/drawing/2014/main" id="{6062899E-1F8C-11A3-1F29-58152A18747D}"/>
                </a:ext>
              </a:extLst>
            </p:cNvPr>
            <p:cNvCxnSpPr>
              <a:cxnSpLocks/>
            </p:cNvCxnSpPr>
            <p:nvPr/>
          </p:nvCxnSpPr>
          <p:spPr>
            <a:xfrm>
              <a:off x="1662522" y="2372954"/>
              <a:ext cx="1941828" cy="82320"/>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cxnSp>
          <p:nvCxnSpPr>
            <p:cNvPr id="33" name="Straight Arrow Connector 32">
              <a:extLst>
                <a:ext uri="{FF2B5EF4-FFF2-40B4-BE49-F238E27FC236}">
                  <a16:creationId xmlns:a16="http://schemas.microsoft.com/office/drawing/2014/main" id="{9A02E968-5D6A-6FC4-DB9B-50B47B7767D3}"/>
                </a:ext>
              </a:extLst>
            </p:cNvPr>
            <p:cNvCxnSpPr>
              <a:cxnSpLocks/>
            </p:cNvCxnSpPr>
            <p:nvPr/>
          </p:nvCxnSpPr>
          <p:spPr>
            <a:xfrm flipV="1">
              <a:off x="1644922" y="2685034"/>
              <a:ext cx="1959428" cy="106838"/>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cxnSp>
          <p:nvCxnSpPr>
            <p:cNvPr id="34" name="Straight Arrow Connector 33">
              <a:extLst>
                <a:ext uri="{FF2B5EF4-FFF2-40B4-BE49-F238E27FC236}">
                  <a16:creationId xmlns:a16="http://schemas.microsoft.com/office/drawing/2014/main" id="{9AC3A6A0-3F43-7B2E-82D8-A8B08CD76056}"/>
                </a:ext>
              </a:extLst>
            </p:cNvPr>
            <p:cNvCxnSpPr>
              <a:cxnSpLocks/>
            </p:cNvCxnSpPr>
            <p:nvPr/>
          </p:nvCxnSpPr>
          <p:spPr>
            <a:xfrm flipV="1">
              <a:off x="1644922" y="2791872"/>
              <a:ext cx="1959428" cy="211398"/>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cxnSp>
          <p:nvCxnSpPr>
            <p:cNvPr id="35" name="Straight Arrow Connector 34">
              <a:extLst>
                <a:ext uri="{FF2B5EF4-FFF2-40B4-BE49-F238E27FC236}">
                  <a16:creationId xmlns:a16="http://schemas.microsoft.com/office/drawing/2014/main" id="{91B25E48-975E-1129-78A0-7810D9137ECA}"/>
                </a:ext>
              </a:extLst>
            </p:cNvPr>
            <p:cNvCxnSpPr>
              <a:cxnSpLocks/>
            </p:cNvCxnSpPr>
            <p:nvPr/>
          </p:nvCxnSpPr>
          <p:spPr>
            <a:xfrm flipV="1">
              <a:off x="1671852" y="2906974"/>
              <a:ext cx="1932498" cy="296501"/>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cxnSp>
          <p:nvCxnSpPr>
            <p:cNvPr id="36" name="Straight Arrow Connector 35">
              <a:extLst>
                <a:ext uri="{FF2B5EF4-FFF2-40B4-BE49-F238E27FC236}">
                  <a16:creationId xmlns:a16="http://schemas.microsoft.com/office/drawing/2014/main" id="{7416D031-1968-B9D7-DF66-F991FA04A937}"/>
                </a:ext>
              </a:extLst>
            </p:cNvPr>
            <p:cNvCxnSpPr>
              <a:cxnSpLocks/>
            </p:cNvCxnSpPr>
            <p:nvPr/>
          </p:nvCxnSpPr>
          <p:spPr>
            <a:xfrm>
              <a:off x="1671852" y="2153570"/>
              <a:ext cx="1932498" cy="183408"/>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cxnSp>
          <p:nvCxnSpPr>
            <p:cNvPr id="37" name="Straight Arrow Connector 36">
              <a:extLst>
                <a:ext uri="{FF2B5EF4-FFF2-40B4-BE49-F238E27FC236}">
                  <a16:creationId xmlns:a16="http://schemas.microsoft.com/office/drawing/2014/main" id="{493DDB67-71C1-26A4-0749-2481BC880FD0}"/>
                </a:ext>
              </a:extLst>
            </p:cNvPr>
            <p:cNvCxnSpPr>
              <a:cxnSpLocks/>
            </p:cNvCxnSpPr>
            <p:nvPr/>
          </p:nvCxnSpPr>
          <p:spPr>
            <a:xfrm>
              <a:off x="1691942" y="1934174"/>
              <a:ext cx="1912408" cy="299775"/>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cxnSp>
          <p:nvCxnSpPr>
            <p:cNvPr id="49" name="Straight Arrow Connector 48">
              <a:extLst>
                <a:ext uri="{FF2B5EF4-FFF2-40B4-BE49-F238E27FC236}">
                  <a16:creationId xmlns:a16="http://schemas.microsoft.com/office/drawing/2014/main" id="{14CD9632-66D9-04C8-301A-B3C1C67C8AB5}"/>
                </a:ext>
              </a:extLst>
            </p:cNvPr>
            <p:cNvCxnSpPr>
              <a:cxnSpLocks/>
            </p:cNvCxnSpPr>
            <p:nvPr/>
          </p:nvCxnSpPr>
          <p:spPr>
            <a:xfrm>
              <a:off x="1691942" y="1722794"/>
              <a:ext cx="1912408" cy="414668"/>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cxnSp>
          <p:nvCxnSpPr>
            <p:cNvPr id="50" name="Straight Arrow Connector 49">
              <a:extLst>
                <a:ext uri="{FF2B5EF4-FFF2-40B4-BE49-F238E27FC236}">
                  <a16:creationId xmlns:a16="http://schemas.microsoft.com/office/drawing/2014/main" id="{B46F0471-DCA0-3872-8FD7-A73617EA9A69}"/>
                </a:ext>
              </a:extLst>
            </p:cNvPr>
            <p:cNvCxnSpPr>
              <a:cxnSpLocks/>
            </p:cNvCxnSpPr>
            <p:nvPr/>
          </p:nvCxnSpPr>
          <p:spPr>
            <a:xfrm flipV="1">
              <a:off x="1683867" y="3003270"/>
              <a:ext cx="1920483" cy="376543"/>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cxnSp>
          <p:nvCxnSpPr>
            <p:cNvPr id="57" name="Straight Arrow Connector 56">
              <a:extLst>
                <a:ext uri="{FF2B5EF4-FFF2-40B4-BE49-F238E27FC236}">
                  <a16:creationId xmlns:a16="http://schemas.microsoft.com/office/drawing/2014/main" id="{98CC25B3-054E-2AE4-46A0-6A222541A9C8}"/>
                </a:ext>
              </a:extLst>
            </p:cNvPr>
            <p:cNvCxnSpPr>
              <a:cxnSpLocks/>
            </p:cNvCxnSpPr>
            <p:nvPr/>
          </p:nvCxnSpPr>
          <p:spPr>
            <a:xfrm flipV="1">
              <a:off x="1691942" y="3232300"/>
              <a:ext cx="1919365" cy="566413"/>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cxnSp>
          <p:nvCxnSpPr>
            <p:cNvPr id="58" name="Straight Arrow Connector 57">
              <a:extLst>
                <a:ext uri="{FF2B5EF4-FFF2-40B4-BE49-F238E27FC236}">
                  <a16:creationId xmlns:a16="http://schemas.microsoft.com/office/drawing/2014/main" id="{F10E8312-D7C1-99B9-9B7F-F4F32043A623}"/>
                </a:ext>
              </a:extLst>
            </p:cNvPr>
            <p:cNvCxnSpPr>
              <a:cxnSpLocks/>
            </p:cNvCxnSpPr>
            <p:nvPr/>
          </p:nvCxnSpPr>
          <p:spPr>
            <a:xfrm>
              <a:off x="1683867" y="1538387"/>
              <a:ext cx="1927440" cy="487444"/>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cxnSp>
          <p:nvCxnSpPr>
            <p:cNvPr id="59" name="Straight Arrow Connector 58">
              <a:extLst>
                <a:ext uri="{FF2B5EF4-FFF2-40B4-BE49-F238E27FC236}">
                  <a16:creationId xmlns:a16="http://schemas.microsoft.com/office/drawing/2014/main" id="{7A2EDB4D-282C-6C5A-5C33-DEA15D5276D8}"/>
                </a:ext>
              </a:extLst>
            </p:cNvPr>
            <p:cNvCxnSpPr>
              <a:cxnSpLocks/>
            </p:cNvCxnSpPr>
            <p:nvPr/>
          </p:nvCxnSpPr>
          <p:spPr>
            <a:xfrm flipV="1">
              <a:off x="1691942" y="3114004"/>
              <a:ext cx="1922570" cy="445000"/>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cxnSp>
          <p:nvCxnSpPr>
            <p:cNvPr id="4110" name="Straight Arrow Connector 4109">
              <a:extLst>
                <a:ext uri="{FF2B5EF4-FFF2-40B4-BE49-F238E27FC236}">
                  <a16:creationId xmlns:a16="http://schemas.microsoft.com/office/drawing/2014/main" id="{6D04B5DA-C2FF-683B-DEE0-471EE758DD49}"/>
                </a:ext>
              </a:extLst>
            </p:cNvPr>
            <p:cNvCxnSpPr>
              <a:cxnSpLocks/>
            </p:cNvCxnSpPr>
            <p:nvPr/>
          </p:nvCxnSpPr>
          <p:spPr>
            <a:xfrm>
              <a:off x="1691942" y="1300792"/>
              <a:ext cx="1912408" cy="621764"/>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sp>
          <p:nvSpPr>
            <p:cNvPr id="4116" name="TextBox 4115">
              <a:extLst>
                <a:ext uri="{FF2B5EF4-FFF2-40B4-BE49-F238E27FC236}">
                  <a16:creationId xmlns:a16="http://schemas.microsoft.com/office/drawing/2014/main" id="{307AAFB1-131C-CF16-0C63-4DD45EFF2AB5}"/>
                </a:ext>
              </a:extLst>
            </p:cNvPr>
            <p:cNvSpPr txBox="1"/>
            <p:nvPr/>
          </p:nvSpPr>
          <p:spPr>
            <a:xfrm rot="16200000">
              <a:off x="378219" y="2368057"/>
              <a:ext cx="2171045" cy="338554"/>
            </a:xfrm>
            <a:prstGeom prst="rect">
              <a:avLst/>
            </a:prstGeom>
            <a:noFill/>
          </p:spPr>
          <p:txBody>
            <a:bodyPr wrap="square" rtlCol="0">
              <a:spAutoFit/>
            </a:bodyPr>
            <a:lstStyle/>
            <a:p>
              <a:r>
                <a:rPr lang="en-CA" sz="1600"/>
                <a:t>Large</a:t>
              </a:r>
              <a:r>
                <a:rPr lang="en-CA" sz="1200"/>
                <a:t> </a:t>
              </a:r>
              <a:r>
                <a:rPr lang="en-CA" sz="1600"/>
                <a:t>Customer</a:t>
              </a:r>
              <a:r>
                <a:rPr lang="en-CA" sz="1200"/>
                <a:t> </a:t>
              </a:r>
              <a:r>
                <a:rPr lang="en-CA" sz="1600"/>
                <a:t>Data</a:t>
              </a:r>
            </a:p>
          </p:txBody>
        </p:sp>
        <p:sp>
          <p:nvSpPr>
            <p:cNvPr id="4117" name="Trapezoid 4116">
              <a:extLst>
                <a:ext uri="{FF2B5EF4-FFF2-40B4-BE49-F238E27FC236}">
                  <a16:creationId xmlns:a16="http://schemas.microsoft.com/office/drawing/2014/main" id="{5C8BD5B1-52F4-3578-3B96-EDBDC0AED7E0}"/>
                </a:ext>
              </a:extLst>
            </p:cNvPr>
            <p:cNvSpPr/>
            <p:nvPr/>
          </p:nvSpPr>
          <p:spPr>
            <a:xfrm rot="5400000">
              <a:off x="4031101" y="1767550"/>
              <a:ext cx="1033147" cy="1581130"/>
            </a:xfrm>
            <a:prstGeom prst="trapezoid">
              <a:avLst/>
            </a:prstGeom>
            <a:solidFill>
              <a:srgbClr val="FDC342"/>
            </a:solidFill>
          </p:spPr>
          <p:style>
            <a:lnRef idx="1">
              <a:schemeClr val="accent6"/>
            </a:lnRef>
            <a:fillRef idx="3">
              <a:schemeClr val="accent6"/>
            </a:fillRef>
            <a:effectRef idx="2">
              <a:schemeClr val="accent6"/>
            </a:effectRef>
            <a:fontRef idx="minor">
              <a:schemeClr val="lt1"/>
            </a:fontRef>
          </p:style>
          <p:txBody>
            <a:bodyPr rtlCol="0" anchor="ctr"/>
            <a:lstStyle/>
            <a:p>
              <a:pPr algn="ctr"/>
              <a:endParaRPr lang="en-CA"/>
            </a:p>
          </p:txBody>
        </p:sp>
        <p:sp>
          <p:nvSpPr>
            <p:cNvPr id="4119" name="TextBox 4118">
              <a:extLst>
                <a:ext uri="{FF2B5EF4-FFF2-40B4-BE49-F238E27FC236}">
                  <a16:creationId xmlns:a16="http://schemas.microsoft.com/office/drawing/2014/main" id="{EEBD2BC0-FC74-224B-6141-B5CE5BD6084B}"/>
                </a:ext>
              </a:extLst>
            </p:cNvPr>
            <p:cNvSpPr txBox="1"/>
            <p:nvPr/>
          </p:nvSpPr>
          <p:spPr>
            <a:xfrm>
              <a:off x="5585331" y="1185278"/>
              <a:ext cx="1023837" cy="230832"/>
            </a:xfrm>
            <a:prstGeom prst="rect">
              <a:avLst/>
            </a:prstGeom>
            <a:noFill/>
          </p:spPr>
          <p:txBody>
            <a:bodyPr wrap="square" rtlCol="0">
              <a:spAutoFit/>
            </a:bodyPr>
            <a:lstStyle/>
            <a:p>
              <a:r>
                <a:rPr lang="en-CA" sz="900"/>
                <a:t>Segment - 1</a:t>
              </a:r>
            </a:p>
          </p:txBody>
        </p:sp>
        <p:sp>
          <p:nvSpPr>
            <p:cNvPr id="4120" name="TextBox 4119">
              <a:extLst>
                <a:ext uri="{FF2B5EF4-FFF2-40B4-BE49-F238E27FC236}">
                  <a16:creationId xmlns:a16="http://schemas.microsoft.com/office/drawing/2014/main" id="{5D84532E-4F7B-0518-3431-14CB01D38882}"/>
                </a:ext>
              </a:extLst>
            </p:cNvPr>
            <p:cNvSpPr txBox="1"/>
            <p:nvPr/>
          </p:nvSpPr>
          <p:spPr>
            <a:xfrm>
              <a:off x="7025058" y="1403025"/>
              <a:ext cx="1224369" cy="230832"/>
            </a:xfrm>
            <a:prstGeom prst="rect">
              <a:avLst/>
            </a:prstGeom>
            <a:noFill/>
          </p:spPr>
          <p:txBody>
            <a:bodyPr wrap="square" rtlCol="0">
              <a:spAutoFit/>
            </a:bodyPr>
            <a:lstStyle/>
            <a:p>
              <a:r>
                <a:rPr lang="en-CA" sz="900"/>
                <a:t>Segment - 2</a:t>
              </a:r>
            </a:p>
          </p:txBody>
        </p:sp>
        <p:sp>
          <p:nvSpPr>
            <p:cNvPr id="4121" name="TextBox 4120">
              <a:extLst>
                <a:ext uri="{FF2B5EF4-FFF2-40B4-BE49-F238E27FC236}">
                  <a16:creationId xmlns:a16="http://schemas.microsoft.com/office/drawing/2014/main" id="{9FA94D7B-4F89-6E21-1E59-0DC5A9982737}"/>
                </a:ext>
              </a:extLst>
            </p:cNvPr>
            <p:cNvSpPr txBox="1"/>
            <p:nvPr/>
          </p:nvSpPr>
          <p:spPr>
            <a:xfrm>
              <a:off x="7481319" y="2553811"/>
              <a:ext cx="1023837" cy="230832"/>
            </a:xfrm>
            <a:prstGeom prst="rect">
              <a:avLst/>
            </a:prstGeom>
            <a:noFill/>
          </p:spPr>
          <p:txBody>
            <a:bodyPr wrap="square" rtlCol="0">
              <a:spAutoFit/>
            </a:bodyPr>
            <a:lstStyle/>
            <a:p>
              <a:r>
                <a:rPr lang="en-CA" sz="900"/>
                <a:t>Segment - 3</a:t>
              </a:r>
            </a:p>
          </p:txBody>
        </p:sp>
        <p:sp>
          <p:nvSpPr>
            <p:cNvPr id="4122" name="TextBox 4121">
              <a:extLst>
                <a:ext uri="{FF2B5EF4-FFF2-40B4-BE49-F238E27FC236}">
                  <a16:creationId xmlns:a16="http://schemas.microsoft.com/office/drawing/2014/main" id="{FAC600A5-D150-D298-7DFE-9C35C03E930A}"/>
                </a:ext>
              </a:extLst>
            </p:cNvPr>
            <p:cNvSpPr txBox="1"/>
            <p:nvPr/>
          </p:nvSpPr>
          <p:spPr>
            <a:xfrm>
              <a:off x="6815331" y="3443588"/>
              <a:ext cx="1023837" cy="230832"/>
            </a:xfrm>
            <a:prstGeom prst="rect">
              <a:avLst/>
            </a:prstGeom>
            <a:noFill/>
          </p:spPr>
          <p:txBody>
            <a:bodyPr wrap="square" rtlCol="0">
              <a:spAutoFit/>
            </a:bodyPr>
            <a:lstStyle/>
            <a:p>
              <a:r>
                <a:rPr lang="en-CA" sz="900"/>
                <a:t>Segment - 4</a:t>
              </a:r>
            </a:p>
          </p:txBody>
        </p:sp>
        <p:sp>
          <p:nvSpPr>
            <p:cNvPr id="4123" name="TextBox 4122">
              <a:extLst>
                <a:ext uri="{FF2B5EF4-FFF2-40B4-BE49-F238E27FC236}">
                  <a16:creationId xmlns:a16="http://schemas.microsoft.com/office/drawing/2014/main" id="{6A7244C0-93D9-9D6A-C6AE-DF8B44A489CA}"/>
                </a:ext>
              </a:extLst>
            </p:cNvPr>
            <p:cNvSpPr txBox="1"/>
            <p:nvPr/>
          </p:nvSpPr>
          <p:spPr>
            <a:xfrm>
              <a:off x="3912356" y="2357759"/>
              <a:ext cx="1280160" cy="369332"/>
            </a:xfrm>
            <a:prstGeom prst="rect">
              <a:avLst/>
            </a:prstGeom>
            <a:noFill/>
          </p:spPr>
          <p:txBody>
            <a:bodyPr wrap="square" rtlCol="0">
              <a:spAutoFit/>
            </a:bodyPr>
            <a:lstStyle/>
            <a:p>
              <a:r>
                <a:rPr lang="en-CA">
                  <a:solidFill>
                    <a:schemeClr val="bg1"/>
                  </a:solidFill>
                </a:rPr>
                <a:t>K - Means</a:t>
              </a:r>
            </a:p>
          </p:txBody>
        </p:sp>
      </p:grpSp>
    </p:spTree>
    <p:extLst>
      <p:ext uri="{BB962C8B-B14F-4D97-AF65-F5344CB8AC3E}">
        <p14:creationId xmlns:p14="http://schemas.microsoft.com/office/powerpoint/2010/main" val="18519350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600"/>
        <p:cNvGrpSpPr/>
        <p:nvPr/>
      </p:nvGrpSpPr>
      <p:grpSpPr>
        <a:xfrm>
          <a:off x="0" y="0"/>
          <a:ext cx="0" cy="0"/>
          <a:chOff x="0" y="0"/>
          <a:chExt cx="0" cy="0"/>
        </a:xfrm>
      </p:grpSpPr>
      <p:sp>
        <p:nvSpPr>
          <p:cNvPr id="1610" name="Google Shape;1610;p49"/>
          <p:cNvSpPr txBox="1">
            <a:spLocks noGrp="1"/>
          </p:cNvSpPr>
          <p:nvPr>
            <p:ph type="title"/>
          </p:nvPr>
        </p:nvSpPr>
        <p:spPr>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it-IT">
                <a:solidFill>
                  <a:schemeClr val="tx1"/>
                </a:solidFill>
              </a:rPr>
              <a:t>Identified segments</a:t>
            </a:r>
          </a:p>
        </p:txBody>
      </p:sp>
      <p:grpSp>
        <p:nvGrpSpPr>
          <p:cNvPr id="1073" name="Group 1072">
            <a:extLst>
              <a:ext uri="{FF2B5EF4-FFF2-40B4-BE49-F238E27FC236}">
                <a16:creationId xmlns:a16="http://schemas.microsoft.com/office/drawing/2014/main" id="{18B82EF6-0C31-889A-55F1-1A3E8CA38282}"/>
              </a:ext>
            </a:extLst>
          </p:cNvPr>
          <p:cNvGrpSpPr/>
          <p:nvPr/>
        </p:nvGrpSpPr>
        <p:grpSpPr>
          <a:xfrm>
            <a:off x="688683" y="1288586"/>
            <a:ext cx="7761242" cy="2571485"/>
            <a:chOff x="688683" y="1242869"/>
            <a:chExt cx="7761242" cy="2571485"/>
          </a:xfrm>
        </p:grpSpPr>
        <p:grpSp>
          <p:nvGrpSpPr>
            <p:cNvPr id="6" name="Group 5">
              <a:extLst>
                <a:ext uri="{FF2B5EF4-FFF2-40B4-BE49-F238E27FC236}">
                  <a16:creationId xmlns:a16="http://schemas.microsoft.com/office/drawing/2014/main" id="{3009B329-EC6F-30F4-B985-05852751860C}"/>
                </a:ext>
              </a:extLst>
            </p:cNvPr>
            <p:cNvGrpSpPr/>
            <p:nvPr/>
          </p:nvGrpSpPr>
          <p:grpSpPr>
            <a:xfrm>
              <a:off x="688683" y="1842759"/>
              <a:ext cx="7723450" cy="1971595"/>
              <a:chOff x="710275" y="1300650"/>
              <a:chExt cx="7723450" cy="1971595"/>
            </a:xfrm>
          </p:grpSpPr>
          <p:grpSp>
            <p:nvGrpSpPr>
              <p:cNvPr id="1601" name="Google Shape;1601;p49"/>
              <p:cNvGrpSpPr/>
              <p:nvPr/>
            </p:nvGrpSpPr>
            <p:grpSpPr>
              <a:xfrm>
                <a:off x="710275" y="1300650"/>
                <a:ext cx="7723450" cy="1971595"/>
                <a:chOff x="710275" y="1300650"/>
                <a:chExt cx="7723450" cy="1971595"/>
              </a:xfrm>
            </p:grpSpPr>
            <p:sp>
              <p:nvSpPr>
                <p:cNvPr id="1602" name="Google Shape;1602;p49"/>
                <p:cNvSpPr/>
                <p:nvPr/>
              </p:nvSpPr>
              <p:spPr>
                <a:xfrm rot="10800000" flipH="1">
                  <a:off x="719875" y="2020004"/>
                  <a:ext cx="1773300" cy="1252241"/>
                </a:xfrm>
                <a:prstGeom prst="round2SameRect">
                  <a:avLst>
                    <a:gd name="adj1" fmla="val 5874"/>
                    <a:gd name="adj2" fmla="val 0"/>
                  </a:avLst>
                </a:prstGeom>
                <a:noFill/>
                <a:ln w="1905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1603" name="Google Shape;1603;p49"/>
                <p:cNvSpPr/>
                <p:nvPr/>
              </p:nvSpPr>
              <p:spPr>
                <a:xfrm rot="10800000" flipH="1">
                  <a:off x="2696850" y="2020003"/>
                  <a:ext cx="1773300" cy="1252241"/>
                </a:xfrm>
                <a:prstGeom prst="round2SameRect">
                  <a:avLst>
                    <a:gd name="adj1" fmla="val 5874"/>
                    <a:gd name="adj2" fmla="val 0"/>
                  </a:avLst>
                </a:prstGeom>
                <a:noFill/>
                <a:ln w="1905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1604" name="Google Shape;1604;p49"/>
                <p:cNvSpPr/>
                <p:nvPr/>
              </p:nvSpPr>
              <p:spPr>
                <a:xfrm rot="10800000" flipH="1">
                  <a:off x="4673838" y="2020003"/>
                  <a:ext cx="1773300" cy="1252241"/>
                </a:xfrm>
                <a:prstGeom prst="round2SameRect">
                  <a:avLst>
                    <a:gd name="adj1" fmla="val 5874"/>
                    <a:gd name="adj2" fmla="val 0"/>
                  </a:avLst>
                </a:prstGeom>
                <a:noFill/>
                <a:ln w="1905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1605" name="Google Shape;1605;p49"/>
                <p:cNvSpPr/>
                <p:nvPr/>
              </p:nvSpPr>
              <p:spPr>
                <a:xfrm rot="10800000" flipH="1">
                  <a:off x="6650838" y="2020003"/>
                  <a:ext cx="1773300" cy="1252241"/>
                </a:xfrm>
                <a:prstGeom prst="round2SameRect">
                  <a:avLst>
                    <a:gd name="adj1" fmla="val 5874"/>
                    <a:gd name="adj2" fmla="val 0"/>
                  </a:avLst>
                </a:prstGeom>
                <a:noFill/>
                <a:ln w="1905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1606" name="Google Shape;1606;p49"/>
                <p:cNvSpPr/>
                <p:nvPr/>
              </p:nvSpPr>
              <p:spPr>
                <a:xfrm>
                  <a:off x="4664250" y="1300650"/>
                  <a:ext cx="1792500" cy="714900"/>
                </a:xfrm>
                <a:prstGeom prst="round2SameRect">
                  <a:avLst>
                    <a:gd name="adj1" fmla="val 16667"/>
                    <a:gd name="adj2" fmla="val 0"/>
                  </a:avLst>
                </a:prstGeom>
                <a:solidFill>
                  <a:schemeClr val="accent2">
                    <a:lumMod val="75000"/>
                  </a:schemeClr>
                </a:solidFill>
                <a:ln>
                  <a:noFill/>
                </a:ln>
              </p:spPr>
              <p:txBody>
                <a:bodyPr spcFirstLastPara="1" wrap="square" lIns="91425" tIns="91425" rIns="91425" bIns="91425" anchor="ctr" anchorCtr="0">
                  <a:noAutofit/>
                </a:bodyPr>
                <a:lstStyle/>
                <a:p>
                  <a:pPr marL="0" lvl="0" indent="0" rtl="0">
                    <a:spcBef>
                      <a:spcPts val="0"/>
                    </a:spcBef>
                    <a:spcAft>
                      <a:spcPts val="0"/>
                    </a:spcAft>
                    <a:buClr>
                      <a:schemeClr val="dk1"/>
                    </a:buClr>
                    <a:buSzPts val="1100"/>
                    <a:buFont typeface="Arial"/>
                    <a:buNone/>
                  </a:pPr>
                  <a:r>
                    <a:rPr lang="en" sz="1800">
                      <a:solidFill>
                        <a:schemeClr val="lt1"/>
                      </a:solidFill>
                      <a:latin typeface="Hammersmith One"/>
                      <a:ea typeface="Hammersmith One"/>
                      <a:cs typeface="Hammersmith One"/>
                      <a:sym typeface="Hammersmith One"/>
                    </a:rPr>
                    <a:t>Deal </a:t>
                  </a:r>
                </a:p>
                <a:p>
                  <a:pPr marL="0" lvl="0" indent="0" rtl="0">
                    <a:spcBef>
                      <a:spcPts val="0"/>
                    </a:spcBef>
                    <a:spcAft>
                      <a:spcPts val="0"/>
                    </a:spcAft>
                    <a:buClr>
                      <a:schemeClr val="dk1"/>
                    </a:buClr>
                    <a:buSzPts val="1100"/>
                    <a:buFont typeface="Arial"/>
                    <a:buNone/>
                  </a:pPr>
                  <a:r>
                    <a:rPr lang="en" sz="1800">
                      <a:solidFill>
                        <a:schemeClr val="lt1"/>
                      </a:solidFill>
                      <a:latin typeface="Hammersmith One"/>
                      <a:ea typeface="Hammersmith One"/>
                      <a:cs typeface="Hammersmith One"/>
                      <a:sym typeface="Hammersmith One"/>
                    </a:rPr>
                    <a:t>Seekers</a:t>
                  </a:r>
                  <a:endParaRPr sz="1800">
                    <a:latin typeface="Hammersmith One"/>
                    <a:ea typeface="Hammersmith One"/>
                    <a:cs typeface="Hammersmith One"/>
                    <a:sym typeface="Hammersmith One"/>
                  </a:endParaRPr>
                </a:p>
              </p:txBody>
            </p:sp>
            <p:sp>
              <p:nvSpPr>
                <p:cNvPr id="1607" name="Google Shape;1607;p49"/>
                <p:cNvSpPr/>
                <p:nvPr/>
              </p:nvSpPr>
              <p:spPr>
                <a:xfrm>
                  <a:off x="6641225" y="1300650"/>
                  <a:ext cx="1792500" cy="714900"/>
                </a:xfrm>
                <a:prstGeom prst="round2SameRect">
                  <a:avLst>
                    <a:gd name="adj1" fmla="val 16667"/>
                    <a:gd name="adj2" fmla="val 0"/>
                  </a:avLst>
                </a:prstGeom>
                <a:solidFill>
                  <a:schemeClr val="accent2">
                    <a:lumMod val="50000"/>
                  </a:schemeClr>
                </a:solidFill>
                <a:ln>
                  <a:noFill/>
                </a:ln>
              </p:spPr>
              <p:txBody>
                <a:bodyPr spcFirstLastPara="1" wrap="square" lIns="91425" tIns="91425" rIns="91425" bIns="91425" anchor="ctr" anchorCtr="0">
                  <a:noAutofit/>
                </a:bodyPr>
                <a:lstStyle/>
                <a:p>
                  <a:pPr marL="0" lvl="0" indent="0" rtl="0">
                    <a:spcBef>
                      <a:spcPts val="0"/>
                    </a:spcBef>
                    <a:spcAft>
                      <a:spcPts val="0"/>
                    </a:spcAft>
                    <a:buClr>
                      <a:schemeClr val="dk1"/>
                    </a:buClr>
                    <a:buSzPts val="1100"/>
                    <a:buFont typeface="Arial"/>
                    <a:buNone/>
                  </a:pPr>
                  <a:r>
                    <a:rPr lang="en-CA">
                      <a:solidFill>
                        <a:schemeClr val="lt1"/>
                      </a:solidFill>
                      <a:latin typeface="Hammersmith One"/>
                      <a:ea typeface="Hammersmith One"/>
                      <a:cs typeface="Hammersmith One"/>
                      <a:sym typeface="Hammersmith One"/>
                    </a:rPr>
                    <a:t>Bouncers</a:t>
                  </a:r>
                  <a:endParaRPr sz="1800">
                    <a:latin typeface="Hammersmith One"/>
                    <a:ea typeface="Hammersmith One"/>
                    <a:cs typeface="Hammersmith One"/>
                    <a:sym typeface="Hammersmith One"/>
                  </a:endParaRPr>
                </a:p>
              </p:txBody>
            </p:sp>
            <p:sp>
              <p:nvSpPr>
                <p:cNvPr id="1608" name="Google Shape;1608;p49"/>
                <p:cNvSpPr/>
                <p:nvPr/>
              </p:nvSpPr>
              <p:spPr>
                <a:xfrm>
                  <a:off x="710275" y="1300650"/>
                  <a:ext cx="1792500" cy="714900"/>
                </a:xfrm>
                <a:prstGeom prst="round2SameRect">
                  <a:avLst>
                    <a:gd name="adj1" fmla="val 16667"/>
                    <a:gd name="adj2" fmla="val 0"/>
                  </a:avLst>
                </a:prstGeom>
                <a:solidFill>
                  <a:schemeClr val="accent2">
                    <a:lumMod val="75000"/>
                  </a:schemeClr>
                </a:solidFill>
                <a:ln>
                  <a:noFill/>
                </a:ln>
              </p:spPr>
              <p:txBody>
                <a:bodyPr spcFirstLastPara="1" wrap="square" lIns="91425" tIns="91425" rIns="91425" bIns="91425" anchor="ctr" anchorCtr="0">
                  <a:noAutofit/>
                </a:bodyPr>
                <a:lstStyle/>
                <a:p>
                  <a:pPr marL="0" lvl="0" indent="0" rtl="0">
                    <a:spcBef>
                      <a:spcPts val="0"/>
                    </a:spcBef>
                    <a:spcAft>
                      <a:spcPts val="0"/>
                    </a:spcAft>
                    <a:buClr>
                      <a:schemeClr val="dk1"/>
                    </a:buClr>
                    <a:buSzPts val="1100"/>
                    <a:buFont typeface="Arial"/>
                    <a:buNone/>
                  </a:pPr>
                  <a:r>
                    <a:rPr lang="en">
                      <a:solidFill>
                        <a:schemeClr val="lt1"/>
                      </a:solidFill>
                      <a:latin typeface="Hammersmith One"/>
                      <a:ea typeface="Hammersmith One"/>
                      <a:cs typeface="Hammersmith One"/>
                      <a:sym typeface="Hammersmith One"/>
                    </a:rPr>
                    <a:t>Loyal</a:t>
                  </a:r>
                  <a:r>
                    <a:rPr lang="en" sz="1800">
                      <a:solidFill>
                        <a:schemeClr val="lt1"/>
                      </a:solidFill>
                      <a:latin typeface="Hammersmith One"/>
                      <a:ea typeface="Hammersmith One"/>
                      <a:cs typeface="Hammersmith One"/>
                      <a:sym typeface="Hammersmith One"/>
                    </a:rPr>
                    <a:t> </a:t>
                  </a:r>
                  <a:r>
                    <a:rPr lang="en">
                      <a:solidFill>
                        <a:schemeClr val="lt1"/>
                      </a:solidFill>
                      <a:latin typeface="Hammersmith One"/>
                      <a:ea typeface="Hammersmith One"/>
                      <a:cs typeface="Hammersmith One"/>
                      <a:sym typeface="Hammersmith One"/>
                    </a:rPr>
                    <a:t>Shoppers</a:t>
                  </a:r>
                  <a:endParaRPr sz="1800">
                    <a:latin typeface="Hammersmith One"/>
                    <a:ea typeface="Hammersmith One"/>
                    <a:cs typeface="Hammersmith One"/>
                    <a:sym typeface="Hammersmith One"/>
                  </a:endParaRPr>
                </a:p>
              </p:txBody>
            </p:sp>
            <p:sp>
              <p:nvSpPr>
                <p:cNvPr id="1609" name="Google Shape;1609;p49"/>
                <p:cNvSpPr/>
                <p:nvPr/>
              </p:nvSpPr>
              <p:spPr>
                <a:xfrm>
                  <a:off x="2687250" y="1300650"/>
                  <a:ext cx="1792500" cy="714900"/>
                </a:xfrm>
                <a:prstGeom prst="round2SameRect">
                  <a:avLst>
                    <a:gd name="adj1" fmla="val 16667"/>
                    <a:gd name="adj2" fmla="val 0"/>
                  </a:avLst>
                </a:prstGeom>
                <a:solidFill>
                  <a:schemeClr val="accent2">
                    <a:lumMod val="75000"/>
                  </a:schemeClr>
                </a:solidFill>
                <a:ln>
                  <a:noFill/>
                </a:ln>
              </p:spPr>
              <p:txBody>
                <a:bodyPr spcFirstLastPara="1" wrap="square" lIns="91425" tIns="91425" rIns="91425" bIns="91425" anchor="ctr" anchorCtr="0">
                  <a:noAutofit/>
                </a:bodyPr>
                <a:lstStyle/>
                <a:p>
                  <a:pPr marL="0" lvl="0" indent="0" rtl="0">
                    <a:spcBef>
                      <a:spcPts val="0"/>
                    </a:spcBef>
                    <a:spcAft>
                      <a:spcPts val="0"/>
                    </a:spcAft>
                    <a:buClr>
                      <a:schemeClr val="dk1"/>
                    </a:buClr>
                    <a:buSzPts val="1100"/>
                    <a:buFont typeface="Arial"/>
                    <a:buNone/>
                  </a:pPr>
                  <a:r>
                    <a:rPr lang="en">
                      <a:solidFill>
                        <a:schemeClr val="lt1"/>
                      </a:solidFill>
                      <a:latin typeface="Hammersmith One"/>
                      <a:ea typeface="Hammersmith One"/>
                      <a:cs typeface="Hammersmith One"/>
                      <a:sym typeface="Hammersmith One"/>
                    </a:rPr>
                    <a:t>Confused Shoppers</a:t>
                  </a:r>
                  <a:endParaRPr sz="1800">
                    <a:latin typeface="Hammersmith One"/>
                    <a:ea typeface="Hammersmith One"/>
                    <a:cs typeface="Hammersmith One"/>
                    <a:sym typeface="Hammersmith One"/>
                  </a:endParaRPr>
                </a:p>
              </p:txBody>
            </p:sp>
          </p:grpSp>
          <p:pic>
            <p:nvPicPr>
              <p:cNvPr id="1026" name="Picture 2" descr="Convince, not confuse: why we must cut out the jargon and buzzwords from ad  tech">
                <a:extLst>
                  <a:ext uri="{FF2B5EF4-FFF2-40B4-BE49-F238E27FC236}">
                    <a16:creationId xmlns:a16="http://schemas.microsoft.com/office/drawing/2014/main" id="{CDCF434A-1F81-0358-0145-4B2003FFF07B}"/>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7143" b="90000" l="8333" r="90417">
                            <a14:foregroundMark x1="51250" y1="8095" x2="51250" y2="8095"/>
                            <a14:foregroundMark x1="8750" y1="53810" x2="8750" y2="53810"/>
                            <a14:foregroundMark x1="90833" y1="52381" x2="90833" y2="52381"/>
                            <a14:foregroundMark x1="8333" y1="51429" x2="8333" y2="51429"/>
                          </a14:backgroundRemoval>
                        </a14:imgEffect>
                      </a14:imgLayer>
                    </a14:imgProps>
                  </a:ext>
                  <a:ext uri="{28A0092B-C50C-407E-A947-70E740481C1C}">
                    <a14:useLocalDpi xmlns:a14="http://schemas.microsoft.com/office/drawing/2010/main" val="0"/>
                  </a:ext>
                </a:extLst>
              </a:blip>
              <a:srcRect/>
              <a:stretch>
                <a:fillRect/>
              </a:stretch>
            </p:blipFill>
            <p:spPr bwMode="auto">
              <a:xfrm>
                <a:off x="3748280" y="1342434"/>
                <a:ext cx="769275" cy="67311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Woman Bouncing Ball Flat Default Icon | FluentUI Emoji Flat Iconpack |  Microsoft">
                <a:extLst>
                  <a:ext uri="{FF2B5EF4-FFF2-40B4-BE49-F238E27FC236}">
                    <a16:creationId xmlns:a16="http://schemas.microsoft.com/office/drawing/2014/main" id="{8810DF95-A0D6-1257-7D17-0AF9A058246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38479" y="1329891"/>
                <a:ext cx="685659" cy="685659"/>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Job seeker - Free business icons">
                <a:extLst>
                  <a:ext uri="{FF2B5EF4-FFF2-40B4-BE49-F238E27FC236}">
                    <a16:creationId xmlns:a16="http://schemas.microsoft.com/office/drawing/2014/main" id="{2E0A84F9-4DA2-5F06-E841-6CE3E77D1A7E}"/>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2667" b="96000" l="4889" r="97778">
                            <a14:foregroundMark x1="32000" y1="6667" x2="32000" y2="6667"/>
                            <a14:foregroundMark x1="20000" y1="9778" x2="20000" y2="9778"/>
                            <a14:foregroundMark x1="5333" y1="37778" x2="5333" y2="37778"/>
                            <a14:foregroundMark x1="33333" y1="2667" x2="33333" y2="2667"/>
                            <a14:foregroundMark x1="89333" y1="84444" x2="89333" y2="84444"/>
                            <a14:foregroundMark x1="90667" y1="92000" x2="90667" y2="92000"/>
                            <a14:foregroundMark x1="94222" y1="89333" x2="94222" y2="89333"/>
                            <a14:foregroundMark x1="97778" y1="88889" x2="97778" y2="88889"/>
                            <a14:foregroundMark x1="88889" y1="96000" x2="88889" y2="96000"/>
                          </a14:backgroundRemoval>
                        </a14:imgEffect>
                      </a14:imgLayer>
                    </a14:imgProps>
                  </a:ext>
                  <a:ext uri="{28A0092B-C50C-407E-A947-70E740481C1C}">
                    <a14:useLocalDpi xmlns:a14="http://schemas.microsoft.com/office/drawing/2010/main" val="0"/>
                  </a:ext>
                </a:extLst>
              </a:blip>
              <a:srcRect/>
              <a:stretch>
                <a:fillRect/>
              </a:stretch>
            </p:blipFill>
            <p:spPr bwMode="auto">
              <a:xfrm>
                <a:off x="5772660" y="1388203"/>
                <a:ext cx="581577" cy="581577"/>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Customer loyalty Special Flat icon">
                <a:extLst>
                  <a:ext uri="{FF2B5EF4-FFF2-40B4-BE49-F238E27FC236}">
                    <a16:creationId xmlns:a16="http://schemas.microsoft.com/office/drawing/2014/main" id="{2FC25986-8414-BF2C-7685-956F90C5BD2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870030" y="1355524"/>
                <a:ext cx="533510" cy="533510"/>
              </a:xfrm>
              <a:prstGeom prst="rect">
                <a:avLst/>
              </a:prstGeom>
              <a:noFill/>
              <a:extLst>
                <a:ext uri="{909E8E84-426E-40DD-AFC4-6F175D3DCCD1}">
                  <a14:hiddenFill xmlns:a14="http://schemas.microsoft.com/office/drawing/2010/main">
                    <a:solidFill>
                      <a:srgbClr val="FFFFFF"/>
                    </a:solidFill>
                  </a14:hiddenFill>
                </a:ext>
              </a:extLst>
            </p:spPr>
          </p:pic>
          <p:sp>
            <p:nvSpPr>
              <p:cNvPr id="2" name="Google Shape;1616;p49">
                <a:extLst>
                  <a:ext uri="{FF2B5EF4-FFF2-40B4-BE49-F238E27FC236}">
                    <a16:creationId xmlns:a16="http://schemas.microsoft.com/office/drawing/2014/main" id="{3DC3BDA3-714C-FFF3-5D39-0E470C67BC5E}"/>
                  </a:ext>
                </a:extLst>
              </p:cNvPr>
              <p:cNvSpPr txBox="1"/>
              <p:nvPr/>
            </p:nvSpPr>
            <p:spPr>
              <a:xfrm>
                <a:off x="719875" y="1912006"/>
                <a:ext cx="1773300" cy="944387"/>
              </a:xfrm>
              <a:prstGeom prst="rect">
                <a:avLst/>
              </a:prstGeom>
              <a:noFill/>
              <a:ln>
                <a:noFill/>
              </a:ln>
            </p:spPr>
            <p:txBody>
              <a:bodyPr spcFirstLastPara="1" wrap="square" lIns="91425" tIns="91425" rIns="91425" bIns="91425" anchor="t" anchorCtr="0">
                <a:noAutofit/>
              </a:bodyPr>
              <a:lstStyle/>
              <a:p>
                <a:pPr lvl="0" rtl="0">
                  <a:spcBef>
                    <a:spcPts val="0"/>
                  </a:spcBef>
                  <a:spcAft>
                    <a:spcPts val="0"/>
                  </a:spcAft>
                </a:pPr>
                <a:endParaRPr lang="en-CA" sz="1200">
                  <a:solidFill>
                    <a:schemeClr val="accent3"/>
                  </a:solidFill>
                  <a:latin typeface="Source Sans Pro"/>
                  <a:ea typeface="Source Sans Pro"/>
                  <a:cs typeface="Source Sans Pro"/>
                  <a:sym typeface="Source Sans Pro"/>
                </a:endParaRPr>
              </a:p>
              <a:p>
                <a:pPr lvl="0" rtl="0">
                  <a:spcBef>
                    <a:spcPts val="0"/>
                  </a:spcBef>
                  <a:spcAft>
                    <a:spcPts val="0"/>
                  </a:spcAft>
                </a:pPr>
                <a:r>
                  <a:rPr lang="en-CA" sz="1200">
                    <a:solidFill>
                      <a:schemeClr val="tx1">
                        <a:lumMod val="85000"/>
                      </a:schemeClr>
                    </a:solidFill>
                    <a:latin typeface="Source Sans Pro"/>
                    <a:ea typeface="Source Sans Pro"/>
                    <a:cs typeface="Source Sans Pro"/>
                    <a:sym typeface="Source Sans Pro"/>
                  </a:rPr>
                  <a:t>Value:</a:t>
                </a:r>
              </a:p>
              <a:p>
                <a:pPr lvl="0" rtl="0">
                  <a:spcBef>
                    <a:spcPts val="0"/>
                  </a:spcBef>
                  <a:spcAft>
                    <a:spcPts val="0"/>
                  </a:spcAft>
                </a:pPr>
                <a:endParaRPr lang="en-CA" sz="1200">
                  <a:solidFill>
                    <a:schemeClr val="tx1">
                      <a:lumMod val="85000"/>
                    </a:schemeClr>
                  </a:solidFill>
                  <a:latin typeface="Source Sans Pro"/>
                  <a:ea typeface="Source Sans Pro"/>
                  <a:cs typeface="Source Sans Pro"/>
                  <a:sym typeface="Source Sans Pro"/>
                </a:endParaRPr>
              </a:p>
              <a:p>
                <a:pPr lvl="0" rtl="0">
                  <a:spcBef>
                    <a:spcPts val="0"/>
                  </a:spcBef>
                  <a:spcAft>
                    <a:spcPts val="0"/>
                  </a:spcAft>
                </a:pPr>
                <a:r>
                  <a:rPr lang="en-CA" sz="1200">
                    <a:solidFill>
                      <a:schemeClr val="tx1">
                        <a:lumMod val="85000"/>
                      </a:schemeClr>
                    </a:solidFill>
                    <a:latin typeface="Source Sans Pro"/>
                    <a:ea typeface="Source Sans Pro"/>
                    <a:cs typeface="Source Sans Pro"/>
                    <a:sym typeface="Source Sans Pro"/>
                  </a:rPr>
                  <a:t>Engagement:</a:t>
                </a:r>
              </a:p>
              <a:p>
                <a:pPr lvl="0" rtl="0">
                  <a:spcBef>
                    <a:spcPts val="0"/>
                  </a:spcBef>
                  <a:spcAft>
                    <a:spcPts val="0"/>
                  </a:spcAft>
                </a:pPr>
                <a:endParaRPr lang="en-CA" sz="1200">
                  <a:solidFill>
                    <a:schemeClr val="tx1">
                      <a:lumMod val="85000"/>
                    </a:schemeClr>
                  </a:solidFill>
                  <a:latin typeface="Source Sans Pro"/>
                  <a:ea typeface="Source Sans Pro"/>
                  <a:cs typeface="Source Sans Pro"/>
                  <a:sym typeface="Source Sans Pro"/>
                </a:endParaRPr>
              </a:p>
              <a:p>
                <a:pPr lvl="0" rtl="0">
                  <a:spcBef>
                    <a:spcPts val="0"/>
                  </a:spcBef>
                  <a:spcAft>
                    <a:spcPts val="0"/>
                  </a:spcAft>
                </a:pPr>
                <a:r>
                  <a:rPr lang="en-CA" sz="1200">
                    <a:solidFill>
                      <a:schemeClr val="tx1">
                        <a:lumMod val="85000"/>
                      </a:schemeClr>
                    </a:solidFill>
                    <a:latin typeface="Source Sans Pro"/>
                    <a:ea typeface="Source Sans Pro"/>
                    <a:cs typeface="Source Sans Pro"/>
                    <a:sym typeface="Source Sans Pro"/>
                  </a:rPr>
                  <a:t>Loyalty:</a:t>
                </a:r>
              </a:p>
              <a:p>
                <a:pPr marL="285750" lvl="0" indent="-285750" rtl="0">
                  <a:spcBef>
                    <a:spcPts val="0"/>
                  </a:spcBef>
                  <a:spcAft>
                    <a:spcPts val="0"/>
                  </a:spcAft>
                  <a:buFont typeface="Wingdings" panose="05000000000000000000" pitchFamily="2" charset="2"/>
                  <a:buChar char="§"/>
                </a:pPr>
                <a:endParaRPr lang="en-CA" sz="1200">
                  <a:solidFill>
                    <a:schemeClr val="accent3"/>
                  </a:solidFill>
                  <a:latin typeface="Source Sans Pro"/>
                  <a:ea typeface="Source Sans Pro"/>
                  <a:cs typeface="Source Sans Pro"/>
                  <a:sym typeface="Source Sans Pro"/>
                </a:endParaRPr>
              </a:p>
              <a:p>
                <a:pPr marL="285750" lvl="0" indent="-285750" rtl="0">
                  <a:spcBef>
                    <a:spcPts val="0"/>
                  </a:spcBef>
                  <a:spcAft>
                    <a:spcPts val="0"/>
                  </a:spcAft>
                  <a:buFont typeface="Wingdings" panose="05000000000000000000" pitchFamily="2" charset="2"/>
                  <a:buChar char="§"/>
                </a:pPr>
                <a:endParaRPr sz="1200">
                  <a:solidFill>
                    <a:schemeClr val="accent3"/>
                  </a:solidFill>
                  <a:latin typeface="Source Sans Pro"/>
                  <a:ea typeface="Source Sans Pro"/>
                  <a:cs typeface="Source Sans Pro"/>
                  <a:sym typeface="Source Sans Pro"/>
                </a:endParaRPr>
              </a:p>
            </p:txBody>
          </p:sp>
        </p:grpSp>
        <p:sp>
          <p:nvSpPr>
            <p:cNvPr id="7" name="Oval 6">
              <a:extLst>
                <a:ext uri="{FF2B5EF4-FFF2-40B4-BE49-F238E27FC236}">
                  <a16:creationId xmlns:a16="http://schemas.microsoft.com/office/drawing/2014/main" id="{9C6571F6-0D02-3795-F15E-B410B9656456}"/>
                </a:ext>
              </a:extLst>
            </p:cNvPr>
            <p:cNvSpPr/>
            <p:nvPr/>
          </p:nvSpPr>
          <p:spPr>
            <a:xfrm>
              <a:off x="1299754" y="1260566"/>
              <a:ext cx="483326" cy="489857"/>
            </a:xfrm>
            <a:prstGeom prst="ellipse">
              <a:avLst/>
            </a:prstGeom>
            <a:no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t>1</a:t>
              </a:r>
            </a:p>
          </p:txBody>
        </p:sp>
        <p:sp>
          <p:nvSpPr>
            <p:cNvPr id="8" name="Oval 7">
              <a:extLst>
                <a:ext uri="{FF2B5EF4-FFF2-40B4-BE49-F238E27FC236}">
                  <a16:creationId xmlns:a16="http://schemas.microsoft.com/office/drawing/2014/main" id="{50517B0D-4C12-7179-682C-E1A7CC3E0F9C}"/>
                </a:ext>
              </a:extLst>
            </p:cNvPr>
            <p:cNvSpPr/>
            <p:nvPr/>
          </p:nvSpPr>
          <p:spPr>
            <a:xfrm>
              <a:off x="3327794" y="1242869"/>
              <a:ext cx="483326" cy="489857"/>
            </a:xfrm>
            <a:prstGeom prst="ellipse">
              <a:avLst/>
            </a:prstGeom>
            <a:no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t>2</a:t>
              </a:r>
            </a:p>
          </p:txBody>
        </p:sp>
        <p:sp>
          <p:nvSpPr>
            <p:cNvPr id="9" name="Oval 8">
              <a:extLst>
                <a:ext uri="{FF2B5EF4-FFF2-40B4-BE49-F238E27FC236}">
                  <a16:creationId xmlns:a16="http://schemas.microsoft.com/office/drawing/2014/main" id="{35600824-BCD7-395C-4D5A-9770120F9A84}"/>
                </a:ext>
              </a:extLst>
            </p:cNvPr>
            <p:cNvSpPr/>
            <p:nvPr/>
          </p:nvSpPr>
          <p:spPr>
            <a:xfrm>
              <a:off x="5297232" y="1267147"/>
              <a:ext cx="483326" cy="489857"/>
            </a:xfrm>
            <a:prstGeom prst="ellipse">
              <a:avLst/>
            </a:prstGeom>
            <a:no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t>3</a:t>
              </a:r>
            </a:p>
          </p:txBody>
        </p:sp>
        <p:sp>
          <p:nvSpPr>
            <p:cNvPr id="10" name="Oval 9">
              <a:extLst>
                <a:ext uri="{FF2B5EF4-FFF2-40B4-BE49-F238E27FC236}">
                  <a16:creationId xmlns:a16="http://schemas.microsoft.com/office/drawing/2014/main" id="{DA990A8B-312A-3111-C030-3643E0FC1AAF}"/>
                </a:ext>
              </a:extLst>
            </p:cNvPr>
            <p:cNvSpPr/>
            <p:nvPr/>
          </p:nvSpPr>
          <p:spPr>
            <a:xfrm>
              <a:off x="7321612" y="1260565"/>
              <a:ext cx="483326" cy="489857"/>
            </a:xfrm>
            <a:prstGeom prst="ellipse">
              <a:avLst/>
            </a:prstGeom>
            <a:no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t>4</a:t>
              </a:r>
            </a:p>
          </p:txBody>
        </p:sp>
        <p:grpSp>
          <p:nvGrpSpPr>
            <p:cNvPr id="16" name="Group 15">
              <a:extLst>
                <a:ext uri="{FF2B5EF4-FFF2-40B4-BE49-F238E27FC236}">
                  <a16:creationId xmlns:a16="http://schemas.microsoft.com/office/drawing/2014/main" id="{27789BC2-3992-0531-2B8F-F5DF6959549C}"/>
                </a:ext>
              </a:extLst>
            </p:cNvPr>
            <p:cNvGrpSpPr/>
            <p:nvPr/>
          </p:nvGrpSpPr>
          <p:grpSpPr>
            <a:xfrm>
              <a:off x="1346025" y="2755057"/>
              <a:ext cx="730969" cy="136399"/>
              <a:chOff x="1345474" y="2760424"/>
              <a:chExt cx="922008" cy="138285"/>
            </a:xfrm>
          </p:grpSpPr>
          <p:sp>
            <p:nvSpPr>
              <p:cNvPr id="11" name="Star: 5 Points 10">
                <a:extLst>
                  <a:ext uri="{FF2B5EF4-FFF2-40B4-BE49-F238E27FC236}">
                    <a16:creationId xmlns:a16="http://schemas.microsoft.com/office/drawing/2014/main" id="{F5D09F1A-95D0-A3A2-F0F8-5E61DD6270DB}"/>
                  </a:ext>
                </a:extLst>
              </p:cNvPr>
              <p:cNvSpPr/>
              <p:nvPr/>
            </p:nvSpPr>
            <p:spPr>
              <a:xfrm>
                <a:off x="1345474" y="2762794"/>
                <a:ext cx="156755" cy="130629"/>
              </a:xfrm>
              <a:prstGeom prst="star5">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2" name="Star: 5 Points 11">
                <a:extLst>
                  <a:ext uri="{FF2B5EF4-FFF2-40B4-BE49-F238E27FC236}">
                    <a16:creationId xmlns:a16="http://schemas.microsoft.com/office/drawing/2014/main" id="{663AAAF9-11CD-4655-1801-9B031E96F80D}"/>
                  </a:ext>
                </a:extLst>
              </p:cNvPr>
              <p:cNvSpPr/>
              <p:nvPr/>
            </p:nvSpPr>
            <p:spPr>
              <a:xfrm>
                <a:off x="1541417" y="2766655"/>
                <a:ext cx="156755" cy="130629"/>
              </a:xfrm>
              <a:prstGeom prst="star5">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3" name="Star: 5 Points 12">
                <a:extLst>
                  <a:ext uri="{FF2B5EF4-FFF2-40B4-BE49-F238E27FC236}">
                    <a16:creationId xmlns:a16="http://schemas.microsoft.com/office/drawing/2014/main" id="{CDB6FC62-0679-54DA-ABD9-A60CF57EB0EA}"/>
                  </a:ext>
                </a:extLst>
              </p:cNvPr>
              <p:cNvSpPr/>
              <p:nvPr/>
            </p:nvSpPr>
            <p:spPr>
              <a:xfrm>
                <a:off x="1732179" y="2760424"/>
                <a:ext cx="156755" cy="130629"/>
              </a:xfrm>
              <a:prstGeom prst="star5">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4" name="Star: 5 Points 13">
                <a:extLst>
                  <a:ext uri="{FF2B5EF4-FFF2-40B4-BE49-F238E27FC236}">
                    <a16:creationId xmlns:a16="http://schemas.microsoft.com/office/drawing/2014/main" id="{F45F3927-2DC2-4A3C-AA58-225648E8FD37}"/>
                  </a:ext>
                </a:extLst>
              </p:cNvPr>
              <p:cNvSpPr/>
              <p:nvPr/>
            </p:nvSpPr>
            <p:spPr>
              <a:xfrm>
                <a:off x="1926253" y="2767137"/>
                <a:ext cx="156755" cy="130629"/>
              </a:xfrm>
              <a:prstGeom prst="star5">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Star: 5 Points 14">
                <a:extLst>
                  <a:ext uri="{FF2B5EF4-FFF2-40B4-BE49-F238E27FC236}">
                    <a16:creationId xmlns:a16="http://schemas.microsoft.com/office/drawing/2014/main" id="{E4C091A7-7669-3C75-60CB-4A04A33CC307}"/>
                  </a:ext>
                </a:extLst>
              </p:cNvPr>
              <p:cNvSpPr/>
              <p:nvPr/>
            </p:nvSpPr>
            <p:spPr>
              <a:xfrm>
                <a:off x="2110727" y="2768080"/>
                <a:ext cx="156755" cy="130629"/>
              </a:xfrm>
              <a:prstGeom prst="star5">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40" name="Group 39">
              <a:extLst>
                <a:ext uri="{FF2B5EF4-FFF2-40B4-BE49-F238E27FC236}">
                  <a16:creationId xmlns:a16="http://schemas.microsoft.com/office/drawing/2014/main" id="{042A0566-1B2F-0C30-F6CC-FB21C7E4DB2C}"/>
                </a:ext>
              </a:extLst>
            </p:cNvPr>
            <p:cNvGrpSpPr/>
            <p:nvPr/>
          </p:nvGrpSpPr>
          <p:grpSpPr>
            <a:xfrm>
              <a:off x="1683595" y="3129266"/>
              <a:ext cx="584718" cy="135469"/>
              <a:chOff x="1345474" y="2760424"/>
              <a:chExt cx="737534" cy="137342"/>
            </a:xfrm>
          </p:grpSpPr>
          <p:sp>
            <p:nvSpPr>
              <p:cNvPr id="41" name="Star: 5 Points 40">
                <a:extLst>
                  <a:ext uri="{FF2B5EF4-FFF2-40B4-BE49-F238E27FC236}">
                    <a16:creationId xmlns:a16="http://schemas.microsoft.com/office/drawing/2014/main" id="{2FDE0258-7727-CC6C-D5ED-15885ACD8339}"/>
                  </a:ext>
                </a:extLst>
              </p:cNvPr>
              <p:cNvSpPr/>
              <p:nvPr/>
            </p:nvSpPr>
            <p:spPr>
              <a:xfrm>
                <a:off x="1345474" y="2762794"/>
                <a:ext cx="156755" cy="130629"/>
              </a:xfrm>
              <a:prstGeom prst="star5">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2" name="Star: 5 Points 41">
                <a:extLst>
                  <a:ext uri="{FF2B5EF4-FFF2-40B4-BE49-F238E27FC236}">
                    <a16:creationId xmlns:a16="http://schemas.microsoft.com/office/drawing/2014/main" id="{960F4E0B-3AA1-F173-33C7-46ADB5377409}"/>
                  </a:ext>
                </a:extLst>
              </p:cNvPr>
              <p:cNvSpPr/>
              <p:nvPr/>
            </p:nvSpPr>
            <p:spPr>
              <a:xfrm>
                <a:off x="1541417" y="2766655"/>
                <a:ext cx="156755" cy="130629"/>
              </a:xfrm>
              <a:prstGeom prst="star5">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3" name="Star: 5 Points 42">
                <a:extLst>
                  <a:ext uri="{FF2B5EF4-FFF2-40B4-BE49-F238E27FC236}">
                    <a16:creationId xmlns:a16="http://schemas.microsoft.com/office/drawing/2014/main" id="{FE62D611-061B-D6D7-D08D-43200F18EE01}"/>
                  </a:ext>
                </a:extLst>
              </p:cNvPr>
              <p:cNvSpPr/>
              <p:nvPr/>
            </p:nvSpPr>
            <p:spPr>
              <a:xfrm>
                <a:off x="1732179" y="2760424"/>
                <a:ext cx="156755" cy="130629"/>
              </a:xfrm>
              <a:prstGeom prst="star5">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4" name="Star: 5 Points 43">
                <a:extLst>
                  <a:ext uri="{FF2B5EF4-FFF2-40B4-BE49-F238E27FC236}">
                    <a16:creationId xmlns:a16="http://schemas.microsoft.com/office/drawing/2014/main" id="{D24315A0-4591-BCDB-83C1-F3ED3D2C757D}"/>
                  </a:ext>
                </a:extLst>
              </p:cNvPr>
              <p:cNvSpPr/>
              <p:nvPr/>
            </p:nvSpPr>
            <p:spPr>
              <a:xfrm>
                <a:off x="1926253" y="2767137"/>
                <a:ext cx="156755" cy="130629"/>
              </a:xfrm>
              <a:prstGeom prst="star5">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46" name="Group 45">
              <a:extLst>
                <a:ext uri="{FF2B5EF4-FFF2-40B4-BE49-F238E27FC236}">
                  <a16:creationId xmlns:a16="http://schemas.microsoft.com/office/drawing/2014/main" id="{C9D82E7C-ED6C-1210-A03A-CB38B1EC68FF}"/>
                </a:ext>
              </a:extLst>
            </p:cNvPr>
            <p:cNvGrpSpPr/>
            <p:nvPr/>
          </p:nvGrpSpPr>
          <p:grpSpPr>
            <a:xfrm>
              <a:off x="1440982" y="3489838"/>
              <a:ext cx="730969" cy="136399"/>
              <a:chOff x="1345474" y="2760424"/>
              <a:chExt cx="922008" cy="138285"/>
            </a:xfrm>
          </p:grpSpPr>
          <p:sp>
            <p:nvSpPr>
              <p:cNvPr id="47" name="Star: 5 Points 46">
                <a:extLst>
                  <a:ext uri="{FF2B5EF4-FFF2-40B4-BE49-F238E27FC236}">
                    <a16:creationId xmlns:a16="http://schemas.microsoft.com/office/drawing/2014/main" id="{5EFF0897-0598-8FDA-11D1-AD69312A384B}"/>
                  </a:ext>
                </a:extLst>
              </p:cNvPr>
              <p:cNvSpPr/>
              <p:nvPr/>
            </p:nvSpPr>
            <p:spPr>
              <a:xfrm>
                <a:off x="1345474" y="2762794"/>
                <a:ext cx="156755" cy="130629"/>
              </a:xfrm>
              <a:prstGeom prst="star5">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8" name="Star: 5 Points 47">
                <a:extLst>
                  <a:ext uri="{FF2B5EF4-FFF2-40B4-BE49-F238E27FC236}">
                    <a16:creationId xmlns:a16="http://schemas.microsoft.com/office/drawing/2014/main" id="{F081A789-7C6A-FF58-B59C-67AD51EE4B8D}"/>
                  </a:ext>
                </a:extLst>
              </p:cNvPr>
              <p:cNvSpPr/>
              <p:nvPr/>
            </p:nvSpPr>
            <p:spPr>
              <a:xfrm>
                <a:off x="1541417" y="2766655"/>
                <a:ext cx="156755" cy="130629"/>
              </a:xfrm>
              <a:prstGeom prst="star5">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9" name="Star: 5 Points 48">
                <a:extLst>
                  <a:ext uri="{FF2B5EF4-FFF2-40B4-BE49-F238E27FC236}">
                    <a16:creationId xmlns:a16="http://schemas.microsoft.com/office/drawing/2014/main" id="{2CB4B600-7030-8A06-04CA-3D31DFB58190}"/>
                  </a:ext>
                </a:extLst>
              </p:cNvPr>
              <p:cNvSpPr/>
              <p:nvPr/>
            </p:nvSpPr>
            <p:spPr>
              <a:xfrm>
                <a:off x="1732179" y="2760424"/>
                <a:ext cx="156755" cy="130629"/>
              </a:xfrm>
              <a:prstGeom prst="star5">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0" name="Star: 5 Points 49">
                <a:extLst>
                  <a:ext uri="{FF2B5EF4-FFF2-40B4-BE49-F238E27FC236}">
                    <a16:creationId xmlns:a16="http://schemas.microsoft.com/office/drawing/2014/main" id="{4FA5BA4A-86E8-9056-954B-2A50FEF5C595}"/>
                  </a:ext>
                </a:extLst>
              </p:cNvPr>
              <p:cNvSpPr/>
              <p:nvPr/>
            </p:nvSpPr>
            <p:spPr>
              <a:xfrm>
                <a:off x="1926253" y="2767137"/>
                <a:ext cx="156755" cy="130629"/>
              </a:xfrm>
              <a:prstGeom prst="star5">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1" name="Star: 5 Points 50">
                <a:extLst>
                  <a:ext uri="{FF2B5EF4-FFF2-40B4-BE49-F238E27FC236}">
                    <a16:creationId xmlns:a16="http://schemas.microsoft.com/office/drawing/2014/main" id="{CFF9B59D-980C-651C-38D5-64748AA0B233}"/>
                  </a:ext>
                </a:extLst>
              </p:cNvPr>
              <p:cNvSpPr/>
              <p:nvPr/>
            </p:nvSpPr>
            <p:spPr>
              <a:xfrm>
                <a:off x="2110727" y="2768080"/>
                <a:ext cx="156755" cy="130629"/>
              </a:xfrm>
              <a:prstGeom prst="star5">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52" name="Google Shape;1616;p49">
              <a:extLst>
                <a:ext uri="{FF2B5EF4-FFF2-40B4-BE49-F238E27FC236}">
                  <a16:creationId xmlns:a16="http://schemas.microsoft.com/office/drawing/2014/main" id="{F3EE9295-C42C-3468-4E75-DCAD05A9B1A4}"/>
                </a:ext>
              </a:extLst>
            </p:cNvPr>
            <p:cNvSpPr txBox="1"/>
            <p:nvPr/>
          </p:nvSpPr>
          <p:spPr>
            <a:xfrm>
              <a:off x="2698954" y="2454115"/>
              <a:ext cx="1773300" cy="944387"/>
            </a:xfrm>
            <a:prstGeom prst="rect">
              <a:avLst/>
            </a:prstGeom>
            <a:noFill/>
            <a:ln>
              <a:noFill/>
            </a:ln>
          </p:spPr>
          <p:txBody>
            <a:bodyPr spcFirstLastPara="1" wrap="square" lIns="91425" tIns="91425" rIns="91425" bIns="91425" anchor="t" anchorCtr="0">
              <a:noAutofit/>
            </a:bodyPr>
            <a:lstStyle/>
            <a:p>
              <a:pPr lvl="0" rtl="0">
                <a:spcBef>
                  <a:spcPts val="0"/>
                </a:spcBef>
                <a:spcAft>
                  <a:spcPts val="0"/>
                </a:spcAft>
              </a:pPr>
              <a:endParaRPr lang="en-CA" sz="1200">
                <a:solidFill>
                  <a:schemeClr val="accent3"/>
                </a:solidFill>
                <a:latin typeface="Source Sans Pro"/>
                <a:ea typeface="Source Sans Pro"/>
                <a:cs typeface="Source Sans Pro"/>
                <a:sym typeface="Source Sans Pro"/>
              </a:endParaRPr>
            </a:p>
            <a:p>
              <a:pPr lvl="0" rtl="0">
                <a:spcBef>
                  <a:spcPts val="0"/>
                </a:spcBef>
                <a:spcAft>
                  <a:spcPts val="0"/>
                </a:spcAft>
              </a:pPr>
              <a:r>
                <a:rPr lang="en-CA" sz="1200">
                  <a:solidFill>
                    <a:schemeClr val="tx1">
                      <a:lumMod val="85000"/>
                    </a:schemeClr>
                  </a:solidFill>
                  <a:latin typeface="Source Sans Pro"/>
                  <a:ea typeface="Source Sans Pro"/>
                  <a:cs typeface="Source Sans Pro"/>
                  <a:sym typeface="Source Sans Pro"/>
                </a:rPr>
                <a:t>Value:</a:t>
              </a:r>
            </a:p>
            <a:p>
              <a:pPr lvl="0" rtl="0">
                <a:spcBef>
                  <a:spcPts val="0"/>
                </a:spcBef>
                <a:spcAft>
                  <a:spcPts val="0"/>
                </a:spcAft>
              </a:pPr>
              <a:endParaRPr lang="en-CA" sz="1200">
                <a:solidFill>
                  <a:schemeClr val="tx1">
                    <a:lumMod val="85000"/>
                  </a:schemeClr>
                </a:solidFill>
                <a:latin typeface="Source Sans Pro"/>
                <a:ea typeface="Source Sans Pro"/>
                <a:cs typeface="Source Sans Pro"/>
                <a:sym typeface="Source Sans Pro"/>
              </a:endParaRPr>
            </a:p>
            <a:p>
              <a:pPr lvl="0" rtl="0">
                <a:spcBef>
                  <a:spcPts val="0"/>
                </a:spcBef>
                <a:spcAft>
                  <a:spcPts val="0"/>
                </a:spcAft>
              </a:pPr>
              <a:r>
                <a:rPr lang="en-CA" sz="1200">
                  <a:solidFill>
                    <a:schemeClr val="tx1">
                      <a:lumMod val="85000"/>
                    </a:schemeClr>
                  </a:solidFill>
                  <a:latin typeface="Source Sans Pro"/>
                  <a:ea typeface="Source Sans Pro"/>
                  <a:cs typeface="Source Sans Pro"/>
                  <a:sym typeface="Source Sans Pro"/>
                </a:rPr>
                <a:t>Engagement:</a:t>
              </a:r>
            </a:p>
            <a:p>
              <a:pPr lvl="0" rtl="0">
                <a:spcBef>
                  <a:spcPts val="0"/>
                </a:spcBef>
                <a:spcAft>
                  <a:spcPts val="0"/>
                </a:spcAft>
              </a:pPr>
              <a:endParaRPr lang="en-CA" sz="1200">
                <a:solidFill>
                  <a:schemeClr val="tx1">
                    <a:lumMod val="85000"/>
                  </a:schemeClr>
                </a:solidFill>
                <a:latin typeface="Source Sans Pro"/>
                <a:ea typeface="Source Sans Pro"/>
                <a:cs typeface="Source Sans Pro"/>
                <a:sym typeface="Source Sans Pro"/>
              </a:endParaRPr>
            </a:p>
            <a:p>
              <a:pPr lvl="0" rtl="0">
                <a:spcBef>
                  <a:spcPts val="0"/>
                </a:spcBef>
                <a:spcAft>
                  <a:spcPts val="0"/>
                </a:spcAft>
              </a:pPr>
              <a:r>
                <a:rPr lang="en-CA" sz="1200">
                  <a:solidFill>
                    <a:schemeClr val="tx1">
                      <a:lumMod val="85000"/>
                    </a:schemeClr>
                  </a:solidFill>
                  <a:latin typeface="Source Sans Pro"/>
                  <a:ea typeface="Source Sans Pro"/>
                  <a:cs typeface="Source Sans Pro"/>
                  <a:sym typeface="Source Sans Pro"/>
                </a:rPr>
                <a:t>Loyalty:</a:t>
              </a:r>
            </a:p>
            <a:p>
              <a:pPr marL="285750" lvl="0" indent="-285750" rtl="0">
                <a:spcBef>
                  <a:spcPts val="0"/>
                </a:spcBef>
                <a:spcAft>
                  <a:spcPts val="0"/>
                </a:spcAft>
                <a:buFont typeface="Wingdings" panose="05000000000000000000" pitchFamily="2" charset="2"/>
                <a:buChar char="§"/>
              </a:pPr>
              <a:endParaRPr lang="en-CA" sz="1200">
                <a:solidFill>
                  <a:schemeClr val="accent3"/>
                </a:solidFill>
                <a:latin typeface="Source Sans Pro"/>
                <a:ea typeface="Source Sans Pro"/>
                <a:cs typeface="Source Sans Pro"/>
                <a:sym typeface="Source Sans Pro"/>
              </a:endParaRPr>
            </a:p>
            <a:p>
              <a:pPr marL="285750" lvl="0" indent="-285750" rtl="0">
                <a:spcBef>
                  <a:spcPts val="0"/>
                </a:spcBef>
                <a:spcAft>
                  <a:spcPts val="0"/>
                </a:spcAft>
                <a:buFont typeface="Wingdings" panose="05000000000000000000" pitchFamily="2" charset="2"/>
                <a:buChar char="§"/>
              </a:pPr>
              <a:endParaRPr sz="1200">
                <a:solidFill>
                  <a:schemeClr val="accent3"/>
                </a:solidFill>
                <a:latin typeface="Source Sans Pro"/>
                <a:ea typeface="Source Sans Pro"/>
                <a:cs typeface="Source Sans Pro"/>
                <a:sym typeface="Source Sans Pro"/>
              </a:endParaRPr>
            </a:p>
          </p:txBody>
        </p:sp>
        <p:sp>
          <p:nvSpPr>
            <p:cNvPr id="53" name="Google Shape;1616;p49">
              <a:extLst>
                <a:ext uri="{FF2B5EF4-FFF2-40B4-BE49-F238E27FC236}">
                  <a16:creationId xmlns:a16="http://schemas.microsoft.com/office/drawing/2014/main" id="{2689B92C-289B-3177-BE8B-415F96DEAD65}"/>
                </a:ext>
              </a:extLst>
            </p:cNvPr>
            <p:cNvSpPr txBox="1"/>
            <p:nvPr/>
          </p:nvSpPr>
          <p:spPr>
            <a:xfrm>
              <a:off x="6676625" y="2454114"/>
              <a:ext cx="1773300" cy="944387"/>
            </a:xfrm>
            <a:prstGeom prst="rect">
              <a:avLst/>
            </a:prstGeom>
            <a:noFill/>
            <a:ln>
              <a:noFill/>
            </a:ln>
          </p:spPr>
          <p:txBody>
            <a:bodyPr spcFirstLastPara="1" wrap="square" lIns="91425" tIns="91425" rIns="91425" bIns="91425" anchor="t" anchorCtr="0">
              <a:noAutofit/>
            </a:bodyPr>
            <a:lstStyle/>
            <a:p>
              <a:pPr lvl="0" rtl="0">
                <a:spcBef>
                  <a:spcPts val="0"/>
                </a:spcBef>
                <a:spcAft>
                  <a:spcPts val="0"/>
                </a:spcAft>
              </a:pPr>
              <a:endParaRPr lang="en-CA" sz="1200">
                <a:solidFill>
                  <a:schemeClr val="accent3"/>
                </a:solidFill>
                <a:latin typeface="Source Sans Pro"/>
                <a:ea typeface="Source Sans Pro"/>
                <a:cs typeface="Source Sans Pro"/>
                <a:sym typeface="Source Sans Pro"/>
              </a:endParaRPr>
            </a:p>
            <a:p>
              <a:pPr lvl="0" rtl="0">
                <a:spcBef>
                  <a:spcPts val="0"/>
                </a:spcBef>
                <a:spcAft>
                  <a:spcPts val="0"/>
                </a:spcAft>
              </a:pPr>
              <a:r>
                <a:rPr lang="en-CA" sz="1200">
                  <a:solidFill>
                    <a:schemeClr val="tx1">
                      <a:lumMod val="85000"/>
                    </a:schemeClr>
                  </a:solidFill>
                  <a:latin typeface="Source Sans Pro"/>
                  <a:ea typeface="Source Sans Pro"/>
                  <a:cs typeface="Source Sans Pro"/>
                  <a:sym typeface="Source Sans Pro"/>
                </a:rPr>
                <a:t>Value:</a:t>
              </a:r>
            </a:p>
            <a:p>
              <a:pPr lvl="0" rtl="0">
                <a:spcBef>
                  <a:spcPts val="0"/>
                </a:spcBef>
                <a:spcAft>
                  <a:spcPts val="0"/>
                </a:spcAft>
              </a:pPr>
              <a:endParaRPr lang="en-CA" sz="1200">
                <a:solidFill>
                  <a:schemeClr val="tx1">
                    <a:lumMod val="85000"/>
                  </a:schemeClr>
                </a:solidFill>
                <a:latin typeface="Source Sans Pro"/>
                <a:ea typeface="Source Sans Pro"/>
                <a:cs typeface="Source Sans Pro"/>
                <a:sym typeface="Source Sans Pro"/>
              </a:endParaRPr>
            </a:p>
            <a:p>
              <a:pPr lvl="0" rtl="0">
                <a:spcBef>
                  <a:spcPts val="0"/>
                </a:spcBef>
                <a:spcAft>
                  <a:spcPts val="0"/>
                </a:spcAft>
              </a:pPr>
              <a:r>
                <a:rPr lang="en-CA" sz="1200">
                  <a:solidFill>
                    <a:schemeClr val="tx1">
                      <a:lumMod val="85000"/>
                    </a:schemeClr>
                  </a:solidFill>
                  <a:latin typeface="Source Sans Pro"/>
                  <a:ea typeface="Source Sans Pro"/>
                  <a:cs typeface="Source Sans Pro"/>
                  <a:sym typeface="Source Sans Pro"/>
                </a:rPr>
                <a:t>Engagement:</a:t>
              </a:r>
            </a:p>
            <a:p>
              <a:pPr lvl="0" rtl="0">
                <a:spcBef>
                  <a:spcPts val="0"/>
                </a:spcBef>
                <a:spcAft>
                  <a:spcPts val="0"/>
                </a:spcAft>
              </a:pPr>
              <a:endParaRPr lang="en-CA" sz="1200">
                <a:solidFill>
                  <a:schemeClr val="tx1">
                    <a:lumMod val="85000"/>
                  </a:schemeClr>
                </a:solidFill>
                <a:latin typeface="Source Sans Pro"/>
                <a:ea typeface="Source Sans Pro"/>
                <a:cs typeface="Source Sans Pro"/>
                <a:sym typeface="Source Sans Pro"/>
              </a:endParaRPr>
            </a:p>
            <a:p>
              <a:pPr lvl="0" rtl="0">
                <a:spcBef>
                  <a:spcPts val="0"/>
                </a:spcBef>
                <a:spcAft>
                  <a:spcPts val="0"/>
                </a:spcAft>
              </a:pPr>
              <a:r>
                <a:rPr lang="en-CA" sz="1200">
                  <a:solidFill>
                    <a:schemeClr val="tx1">
                      <a:lumMod val="85000"/>
                    </a:schemeClr>
                  </a:solidFill>
                  <a:latin typeface="Source Sans Pro"/>
                  <a:ea typeface="Source Sans Pro"/>
                  <a:cs typeface="Source Sans Pro"/>
                  <a:sym typeface="Source Sans Pro"/>
                </a:rPr>
                <a:t>Loyalty:  -</a:t>
              </a:r>
            </a:p>
            <a:p>
              <a:pPr marL="285750" lvl="0" indent="-285750" rtl="0">
                <a:spcBef>
                  <a:spcPts val="0"/>
                </a:spcBef>
                <a:spcAft>
                  <a:spcPts val="0"/>
                </a:spcAft>
                <a:buFont typeface="Wingdings" panose="05000000000000000000" pitchFamily="2" charset="2"/>
                <a:buChar char="§"/>
              </a:pPr>
              <a:endParaRPr lang="en-CA" sz="1200">
                <a:solidFill>
                  <a:schemeClr val="accent3"/>
                </a:solidFill>
                <a:latin typeface="Source Sans Pro"/>
                <a:ea typeface="Source Sans Pro"/>
                <a:cs typeface="Source Sans Pro"/>
                <a:sym typeface="Source Sans Pro"/>
              </a:endParaRPr>
            </a:p>
            <a:p>
              <a:pPr marL="285750" lvl="0" indent="-285750" rtl="0">
                <a:spcBef>
                  <a:spcPts val="0"/>
                </a:spcBef>
                <a:spcAft>
                  <a:spcPts val="0"/>
                </a:spcAft>
                <a:buFont typeface="Wingdings" panose="05000000000000000000" pitchFamily="2" charset="2"/>
                <a:buChar char="§"/>
              </a:pPr>
              <a:endParaRPr sz="1200">
                <a:solidFill>
                  <a:schemeClr val="accent3"/>
                </a:solidFill>
                <a:latin typeface="Source Sans Pro"/>
                <a:ea typeface="Source Sans Pro"/>
                <a:cs typeface="Source Sans Pro"/>
                <a:sym typeface="Source Sans Pro"/>
              </a:endParaRPr>
            </a:p>
          </p:txBody>
        </p:sp>
        <p:sp>
          <p:nvSpPr>
            <p:cNvPr id="54" name="Google Shape;1616;p49">
              <a:extLst>
                <a:ext uri="{FF2B5EF4-FFF2-40B4-BE49-F238E27FC236}">
                  <a16:creationId xmlns:a16="http://schemas.microsoft.com/office/drawing/2014/main" id="{9327DF5F-DB4B-D911-47C5-84CEA8A51351}"/>
                </a:ext>
              </a:extLst>
            </p:cNvPr>
            <p:cNvSpPr txBox="1"/>
            <p:nvPr/>
          </p:nvSpPr>
          <p:spPr>
            <a:xfrm>
              <a:off x="4673947" y="2436524"/>
              <a:ext cx="1773300" cy="944387"/>
            </a:xfrm>
            <a:prstGeom prst="rect">
              <a:avLst/>
            </a:prstGeom>
            <a:noFill/>
            <a:ln>
              <a:noFill/>
            </a:ln>
          </p:spPr>
          <p:txBody>
            <a:bodyPr spcFirstLastPara="1" wrap="square" lIns="91425" tIns="91425" rIns="91425" bIns="91425" anchor="t" anchorCtr="0">
              <a:noAutofit/>
            </a:bodyPr>
            <a:lstStyle/>
            <a:p>
              <a:pPr lvl="0" rtl="0">
                <a:spcBef>
                  <a:spcPts val="0"/>
                </a:spcBef>
                <a:spcAft>
                  <a:spcPts val="0"/>
                </a:spcAft>
              </a:pPr>
              <a:endParaRPr lang="en-CA" sz="1200">
                <a:solidFill>
                  <a:schemeClr val="accent3"/>
                </a:solidFill>
                <a:latin typeface="Source Sans Pro"/>
                <a:ea typeface="Source Sans Pro"/>
                <a:cs typeface="Source Sans Pro"/>
                <a:sym typeface="Source Sans Pro"/>
              </a:endParaRPr>
            </a:p>
            <a:p>
              <a:pPr lvl="0" rtl="0">
                <a:spcBef>
                  <a:spcPts val="0"/>
                </a:spcBef>
                <a:spcAft>
                  <a:spcPts val="0"/>
                </a:spcAft>
              </a:pPr>
              <a:r>
                <a:rPr lang="en-CA" sz="1200">
                  <a:solidFill>
                    <a:schemeClr val="tx1">
                      <a:lumMod val="85000"/>
                    </a:schemeClr>
                  </a:solidFill>
                  <a:latin typeface="Source Sans Pro"/>
                  <a:ea typeface="Source Sans Pro"/>
                  <a:cs typeface="Source Sans Pro"/>
                  <a:sym typeface="Source Sans Pro"/>
                </a:rPr>
                <a:t>Value:</a:t>
              </a:r>
            </a:p>
            <a:p>
              <a:pPr lvl="0" rtl="0">
                <a:spcBef>
                  <a:spcPts val="0"/>
                </a:spcBef>
                <a:spcAft>
                  <a:spcPts val="0"/>
                </a:spcAft>
              </a:pPr>
              <a:endParaRPr lang="en-CA" sz="1200">
                <a:solidFill>
                  <a:schemeClr val="tx1">
                    <a:lumMod val="85000"/>
                  </a:schemeClr>
                </a:solidFill>
                <a:latin typeface="Source Sans Pro"/>
                <a:ea typeface="Source Sans Pro"/>
                <a:cs typeface="Source Sans Pro"/>
                <a:sym typeface="Source Sans Pro"/>
              </a:endParaRPr>
            </a:p>
            <a:p>
              <a:pPr lvl="0" rtl="0">
                <a:spcBef>
                  <a:spcPts val="0"/>
                </a:spcBef>
                <a:spcAft>
                  <a:spcPts val="0"/>
                </a:spcAft>
              </a:pPr>
              <a:r>
                <a:rPr lang="en-CA" sz="1200">
                  <a:solidFill>
                    <a:schemeClr val="tx1">
                      <a:lumMod val="85000"/>
                    </a:schemeClr>
                  </a:solidFill>
                  <a:latin typeface="Source Sans Pro"/>
                  <a:ea typeface="Source Sans Pro"/>
                  <a:cs typeface="Source Sans Pro"/>
                  <a:sym typeface="Source Sans Pro"/>
                </a:rPr>
                <a:t>Engagement:</a:t>
              </a:r>
            </a:p>
            <a:p>
              <a:pPr lvl="0" rtl="0">
                <a:spcBef>
                  <a:spcPts val="0"/>
                </a:spcBef>
                <a:spcAft>
                  <a:spcPts val="0"/>
                </a:spcAft>
              </a:pPr>
              <a:endParaRPr lang="en-CA" sz="1200">
                <a:solidFill>
                  <a:schemeClr val="tx1">
                    <a:lumMod val="85000"/>
                  </a:schemeClr>
                </a:solidFill>
                <a:latin typeface="Source Sans Pro"/>
                <a:ea typeface="Source Sans Pro"/>
                <a:cs typeface="Source Sans Pro"/>
                <a:sym typeface="Source Sans Pro"/>
              </a:endParaRPr>
            </a:p>
            <a:p>
              <a:pPr lvl="0" rtl="0">
                <a:spcBef>
                  <a:spcPts val="0"/>
                </a:spcBef>
                <a:spcAft>
                  <a:spcPts val="0"/>
                </a:spcAft>
              </a:pPr>
              <a:r>
                <a:rPr lang="en-CA" sz="1200">
                  <a:solidFill>
                    <a:schemeClr val="tx1">
                      <a:lumMod val="85000"/>
                    </a:schemeClr>
                  </a:solidFill>
                  <a:latin typeface="Source Sans Pro"/>
                  <a:ea typeface="Source Sans Pro"/>
                  <a:cs typeface="Source Sans Pro"/>
                  <a:sym typeface="Source Sans Pro"/>
                </a:rPr>
                <a:t>Loyalty:</a:t>
              </a:r>
            </a:p>
            <a:p>
              <a:pPr marL="285750" lvl="0" indent="-285750" rtl="0">
                <a:spcBef>
                  <a:spcPts val="0"/>
                </a:spcBef>
                <a:spcAft>
                  <a:spcPts val="0"/>
                </a:spcAft>
                <a:buFont typeface="Wingdings" panose="05000000000000000000" pitchFamily="2" charset="2"/>
                <a:buChar char="§"/>
              </a:pPr>
              <a:endParaRPr lang="en-CA" sz="1200">
                <a:solidFill>
                  <a:schemeClr val="accent3"/>
                </a:solidFill>
                <a:latin typeface="Source Sans Pro"/>
                <a:ea typeface="Source Sans Pro"/>
                <a:cs typeface="Source Sans Pro"/>
                <a:sym typeface="Source Sans Pro"/>
              </a:endParaRPr>
            </a:p>
            <a:p>
              <a:pPr marL="285750" lvl="0" indent="-285750" rtl="0">
                <a:spcBef>
                  <a:spcPts val="0"/>
                </a:spcBef>
                <a:spcAft>
                  <a:spcPts val="0"/>
                </a:spcAft>
                <a:buFont typeface="Wingdings" panose="05000000000000000000" pitchFamily="2" charset="2"/>
                <a:buChar char="§"/>
              </a:pPr>
              <a:endParaRPr sz="1200">
                <a:solidFill>
                  <a:schemeClr val="accent3"/>
                </a:solidFill>
                <a:latin typeface="Source Sans Pro"/>
                <a:ea typeface="Source Sans Pro"/>
                <a:cs typeface="Source Sans Pro"/>
                <a:sym typeface="Source Sans Pro"/>
              </a:endParaRPr>
            </a:p>
          </p:txBody>
        </p:sp>
        <p:grpSp>
          <p:nvGrpSpPr>
            <p:cNvPr id="55" name="Group 54">
              <a:extLst>
                <a:ext uri="{FF2B5EF4-FFF2-40B4-BE49-F238E27FC236}">
                  <a16:creationId xmlns:a16="http://schemas.microsoft.com/office/drawing/2014/main" id="{DFEE588D-3190-5E59-39FB-7BD6EC0452C7}"/>
                </a:ext>
              </a:extLst>
            </p:cNvPr>
            <p:cNvGrpSpPr/>
            <p:nvPr/>
          </p:nvGrpSpPr>
          <p:grpSpPr>
            <a:xfrm>
              <a:off x="3340971" y="2747517"/>
              <a:ext cx="430856" cy="134994"/>
              <a:chOff x="1345474" y="2760424"/>
              <a:chExt cx="543460" cy="136860"/>
            </a:xfrm>
          </p:grpSpPr>
          <p:sp>
            <p:nvSpPr>
              <p:cNvPr id="56" name="Star: 5 Points 55">
                <a:extLst>
                  <a:ext uri="{FF2B5EF4-FFF2-40B4-BE49-F238E27FC236}">
                    <a16:creationId xmlns:a16="http://schemas.microsoft.com/office/drawing/2014/main" id="{0B75CF9E-23A5-AEBF-8D5F-54D5C2375C94}"/>
                  </a:ext>
                </a:extLst>
              </p:cNvPr>
              <p:cNvSpPr/>
              <p:nvPr/>
            </p:nvSpPr>
            <p:spPr>
              <a:xfrm>
                <a:off x="1345474" y="2762794"/>
                <a:ext cx="156755" cy="130629"/>
              </a:xfrm>
              <a:prstGeom prst="star5">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7" name="Star: 5 Points 56">
                <a:extLst>
                  <a:ext uri="{FF2B5EF4-FFF2-40B4-BE49-F238E27FC236}">
                    <a16:creationId xmlns:a16="http://schemas.microsoft.com/office/drawing/2014/main" id="{A60EC929-06A7-E56F-A3B3-5B004585FEE8}"/>
                  </a:ext>
                </a:extLst>
              </p:cNvPr>
              <p:cNvSpPr/>
              <p:nvPr/>
            </p:nvSpPr>
            <p:spPr>
              <a:xfrm>
                <a:off x="1541417" y="2766655"/>
                <a:ext cx="156755" cy="130629"/>
              </a:xfrm>
              <a:prstGeom prst="star5">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8" name="Star: 5 Points 57">
                <a:extLst>
                  <a:ext uri="{FF2B5EF4-FFF2-40B4-BE49-F238E27FC236}">
                    <a16:creationId xmlns:a16="http://schemas.microsoft.com/office/drawing/2014/main" id="{11864A2E-9CAD-6000-A104-681D5CCAFF7B}"/>
                  </a:ext>
                </a:extLst>
              </p:cNvPr>
              <p:cNvSpPr/>
              <p:nvPr/>
            </p:nvSpPr>
            <p:spPr>
              <a:xfrm>
                <a:off x="1732179" y="2760424"/>
                <a:ext cx="156755" cy="130629"/>
              </a:xfrm>
              <a:prstGeom prst="star5">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61" name="Group 60">
              <a:extLst>
                <a:ext uri="{FF2B5EF4-FFF2-40B4-BE49-F238E27FC236}">
                  <a16:creationId xmlns:a16="http://schemas.microsoft.com/office/drawing/2014/main" id="{B68F0DB7-075F-3C8B-143D-299E2E6DAD4C}"/>
                </a:ext>
              </a:extLst>
            </p:cNvPr>
            <p:cNvGrpSpPr/>
            <p:nvPr/>
          </p:nvGrpSpPr>
          <p:grpSpPr>
            <a:xfrm>
              <a:off x="3678541" y="3121711"/>
              <a:ext cx="730969" cy="136399"/>
              <a:chOff x="1345474" y="2760424"/>
              <a:chExt cx="922008" cy="138285"/>
            </a:xfrm>
          </p:grpSpPr>
          <p:sp>
            <p:nvSpPr>
              <p:cNvPr id="62" name="Star: 5 Points 61">
                <a:extLst>
                  <a:ext uri="{FF2B5EF4-FFF2-40B4-BE49-F238E27FC236}">
                    <a16:creationId xmlns:a16="http://schemas.microsoft.com/office/drawing/2014/main" id="{519B86BE-4AEE-6245-61E9-31249BC80256}"/>
                  </a:ext>
                </a:extLst>
              </p:cNvPr>
              <p:cNvSpPr/>
              <p:nvPr/>
            </p:nvSpPr>
            <p:spPr>
              <a:xfrm>
                <a:off x="1345474" y="2762794"/>
                <a:ext cx="156755" cy="130629"/>
              </a:xfrm>
              <a:prstGeom prst="star5">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63" name="Star: 5 Points 62">
                <a:extLst>
                  <a:ext uri="{FF2B5EF4-FFF2-40B4-BE49-F238E27FC236}">
                    <a16:creationId xmlns:a16="http://schemas.microsoft.com/office/drawing/2014/main" id="{5E4BAED7-1E54-8CAB-6C68-1383617E02EC}"/>
                  </a:ext>
                </a:extLst>
              </p:cNvPr>
              <p:cNvSpPr/>
              <p:nvPr/>
            </p:nvSpPr>
            <p:spPr>
              <a:xfrm>
                <a:off x="1541417" y="2766655"/>
                <a:ext cx="156755" cy="130629"/>
              </a:xfrm>
              <a:prstGeom prst="star5">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24" name="Star: 5 Points 1023">
                <a:extLst>
                  <a:ext uri="{FF2B5EF4-FFF2-40B4-BE49-F238E27FC236}">
                    <a16:creationId xmlns:a16="http://schemas.microsoft.com/office/drawing/2014/main" id="{D45F6535-8FD6-8D95-0D93-D0E95866E40B}"/>
                  </a:ext>
                </a:extLst>
              </p:cNvPr>
              <p:cNvSpPr/>
              <p:nvPr/>
            </p:nvSpPr>
            <p:spPr>
              <a:xfrm>
                <a:off x="1732179" y="2760424"/>
                <a:ext cx="156755" cy="130629"/>
              </a:xfrm>
              <a:prstGeom prst="star5">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25" name="Star: 5 Points 1024">
                <a:extLst>
                  <a:ext uri="{FF2B5EF4-FFF2-40B4-BE49-F238E27FC236}">
                    <a16:creationId xmlns:a16="http://schemas.microsoft.com/office/drawing/2014/main" id="{AF3C7A3F-490E-8B23-2719-8AA5D36A8BB6}"/>
                  </a:ext>
                </a:extLst>
              </p:cNvPr>
              <p:cNvSpPr/>
              <p:nvPr/>
            </p:nvSpPr>
            <p:spPr>
              <a:xfrm>
                <a:off x="1926253" y="2767137"/>
                <a:ext cx="156755" cy="130629"/>
              </a:xfrm>
              <a:prstGeom prst="star5">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27" name="Star: 5 Points 1026">
                <a:extLst>
                  <a:ext uri="{FF2B5EF4-FFF2-40B4-BE49-F238E27FC236}">
                    <a16:creationId xmlns:a16="http://schemas.microsoft.com/office/drawing/2014/main" id="{2937D2F2-6BAF-4D74-82D1-F56ACCBCE109}"/>
                  </a:ext>
                </a:extLst>
              </p:cNvPr>
              <p:cNvSpPr/>
              <p:nvPr/>
            </p:nvSpPr>
            <p:spPr>
              <a:xfrm>
                <a:off x="2110727" y="2768080"/>
                <a:ext cx="156755" cy="130629"/>
              </a:xfrm>
              <a:prstGeom prst="star5">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1029" name="Group 1028">
              <a:extLst>
                <a:ext uri="{FF2B5EF4-FFF2-40B4-BE49-F238E27FC236}">
                  <a16:creationId xmlns:a16="http://schemas.microsoft.com/office/drawing/2014/main" id="{75F89D1C-0D45-3307-11A4-626E060CDC33}"/>
                </a:ext>
              </a:extLst>
            </p:cNvPr>
            <p:cNvGrpSpPr/>
            <p:nvPr/>
          </p:nvGrpSpPr>
          <p:grpSpPr>
            <a:xfrm>
              <a:off x="3435928" y="3482298"/>
              <a:ext cx="430856" cy="134994"/>
              <a:chOff x="1345474" y="2760424"/>
              <a:chExt cx="543460" cy="136860"/>
            </a:xfrm>
          </p:grpSpPr>
          <p:sp>
            <p:nvSpPr>
              <p:cNvPr id="1031" name="Star: 5 Points 1030">
                <a:extLst>
                  <a:ext uri="{FF2B5EF4-FFF2-40B4-BE49-F238E27FC236}">
                    <a16:creationId xmlns:a16="http://schemas.microsoft.com/office/drawing/2014/main" id="{90420ED7-BA71-DEAF-9211-5EF275688F82}"/>
                  </a:ext>
                </a:extLst>
              </p:cNvPr>
              <p:cNvSpPr/>
              <p:nvPr/>
            </p:nvSpPr>
            <p:spPr>
              <a:xfrm>
                <a:off x="1345474" y="2762794"/>
                <a:ext cx="156755" cy="130629"/>
              </a:xfrm>
              <a:prstGeom prst="star5">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33" name="Star: 5 Points 1032">
                <a:extLst>
                  <a:ext uri="{FF2B5EF4-FFF2-40B4-BE49-F238E27FC236}">
                    <a16:creationId xmlns:a16="http://schemas.microsoft.com/office/drawing/2014/main" id="{7EAD6202-B355-263B-36D3-0478B56D5634}"/>
                  </a:ext>
                </a:extLst>
              </p:cNvPr>
              <p:cNvSpPr/>
              <p:nvPr/>
            </p:nvSpPr>
            <p:spPr>
              <a:xfrm>
                <a:off x="1541417" y="2766655"/>
                <a:ext cx="156755" cy="130629"/>
              </a:xfrm>
              <a:prstGeom prst="star5">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34" name="Star: 5 Points 1033">
                <a:extLst>
                  <a:ext uri="{FF2B5EF4-FFF2-40B4-BE49-F238E27FC236}">
                    <a16:creationId xmlns:a16="http://schemas.microsoft.com/office/drawing/2014/main" id="{5EF30598-C1A8-71A2-1BDF-CC2D2458BCBC}"/>
                  </a:ext>
                </a:extLst>
              </p:cNvPr>
              <p:cNvSpPr/>
              <p:nvPr/>
            </p:nvSpPr>
            <p:spPr>
              <a:xfrm>
                <a:off x="1732179" y="2760424"/>
                <a:ext cx="156755" cy="130629"/>
              </a:xfrm>
              <a:prstGeom prst="star5">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038" name="Star: 5 Points 1037">
              <a:extLst>
                <a:ext uri="{FF2B5EF4-FFF2-40B4-BE49-F238E27FC236}">
                  <a16:creationId xmlns:a16="http://schemas.microsoft.com/office/drawing/2014/main" id="{3A4E0F65-D8F4-F33B-B858-33FC997138BE}"/>
                </a:ext>
              </a:extLst>
            </p:cNvPr>
            <p:cNvSpPr/>
            <p:nvPr/>
          </p:nvSpPr>
          <p:spPr>
            <a:xfrm>
              <a:off x="5299270" y="2742296"/>
              <a:ext cx="124276" cy="128848"/>
            </a:xfrm>
            <a:prstGeom prst="star5">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grpSp>
          <p:nvGrpSpPr>
            <p:cNvPr id="1043" name="Group 1042">
              <a:extLst>
                <a:ext uri="{FF2B5EF4-FFF2-40B4-BE49-F238E27FC236}">
                  <a16:creationId xmlns:a16="http://schemas.microsoft.com/office/drawing/2014/main" id="{5D6EBB32-089C-A8DC-73A8-DEB3A969A8E7}"/>
                </a:ext>
              </a:extLst>
            </p:cNvPr>
            <p:cNvGrpSpPr/>
            <p:nvPr/>
          </p:nvGrpSpPr>
          <p:grpSpPr>
            <a:xfrm>
              <a:off x="5636836" y="3116502"/>
              <a:ext cx="279619" cy="132656"/>
              <a:chOff x="1345474" y="2762794"/>
              <a:chExt cx="352698" cy="134490"/>
            </a:xfrm>
          </p:grpSpPr>
          <p:sp>
            <p:nvSpPr>
              <p:cNvPr id="1044" name="Star: 5 Points 1043">
                <a:extLst>
                  <a:ext uri="{FF2B5EF4-FFF2-40B4-BE49-F238E27FC236}">
                    <a16:creationId xmlns:a16="http://schemas.microsoft.com/office/drawing/2014/main" id="{163D8AD3-CB56-E48D-6769-3594DCE865E0}"/>
                  </a:ext>
                </a:extLst>
              </p:cNvPr>
              <p:cNvSpPr/>
              <p:nvPr/>
            </p:nvSpPr>
            <p:spPr>
              <a:xfrm>
                <a:off x="1345474" y="2762794"/>
                <a:ext cx="156755" cy="130629"/>
              </a:xfrm>
              <a:prstGeom prst="star5">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45" name="Star: 5 Points 1044">
                <a:extLst>
                  <a:ext uri="{FF2B5EF4-FFF2-40B4-BE49-F238E27FC236}">
                    <a16:creationId xmlns:a16="http://schemas.microsoft.com/office/drawing/2014/main" id="{398A8A09-E549-0F00-5157-5B74D800ACA6}"/>
                  </a:ext>
                </a:extLst>
              </p:cNvPr>
              <p:cNvSpPr/>
              <p:nvPr/>
            </p:nvSpPr>
            <p:spPr>
              <a:xfrm>
                <a:off x="1541417" y="2766655"/>
                <a:ext cx="156755" cy="130629"/>
              </a:xfrm>
              <a:prstGeom prst="star5">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050" name="Star: 5 Points 1049">
              <a:extLst>
                <a:ext uri="{FF2B5EF4-FFF2-40B4-BE49-F238E27FC236}">
                  <a16:creationId xmlns:a16="http://schemas.microsoft.com/office/drawing/2014/main" id="{F258D6CA-F393-08D1-B86A-0629A7C46AF8}"/>
                </a:ext>
              </a:extLst>
            </p:cNvPr>
            <p:cNvSpPr/>
            <p:nvPr/>
          </p:nvSpPr>
          <p:spPr>
            <a:xfrm>
              <a:off x="5394227" y="3477077"/>
              <a:ext cx="124276" cy="128848"/>
            </a:xfrm>
            <a:prstGeom prst="star5">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56" name="Star: 5 Points 1055">
              <a:extLst>
                <a:ext uri="{FF2B5EF4-FFF2-40B4-BE49-F238E27FC236}">
                  <a16:creationId xmlns:a16="http://schemas.microsoft.com/office/drawing/2014/main" id="{ABD4FB14-E59B-9B5E-5211-64B303FBA580}"/>
                </a:ext>
              </a:extLst>
            </p:cNvPr>
            <p:cNvSpPr/>
            <p:nvPr/>
          </p:nvSpPr>
          <p:spPr>
            <a:xfrm>
              <a:off x="7302502" y="2748442"/>
              <a:ext cx="124275" cy="128848"/>
            </a:xfrm>
            <a:prstGeom prst="star5">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62" name="Star: 5 Points 1061">
              <a:extLst>
                <a:ext uri="{FF2B5EF4-FFF2-40B4-BE49-F238E27FC236}">
                  <a16:creationId xmlns:a16="http://schemas.microsoft.com/office/drawing/2014/main" id="{26CBF87D-7437-77A2-CBC1-910610C4DDF2}"/>
                </a:ext>
              </a:extLst>
            </p:cNvPr>
            <p:cNvSpPr/>
            <p:nvPr/>
          </p:nvSpPr>
          <p:spPr>
            <a:xfrm>
              <a:off x="7640074" y="3122636"/>
              <a:ext cx="124276" cy="128847"/>
            </a:xfrm>
            <a:prstGeom prst="star5">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074" name="Star: 5 Points 1073">
            <a:extLst>
              <a:ext uri="{FF2B5EF4-FFF2-40B4-BE49-F238E27FC236}">
                <a16:creationId xmlns:a16="http://schemas.microsoft.com/office/drawing/2014/main" id="{5766597B-21D0-1292-365B-EE424B8A13E1}"/>
              </a:ext>
            </a:extLst>
          </p:cNvPr>
          <p:cNvSpPr/>
          <p:nvPr/>
        </p:nvSpPr>
        <p:spPr>
          <a:xfrm>
            <a:off x="5554429" y="3522794"/>
            <a:ext cx="124276" cy="128848"/>
          </a:xfrm>
          <a:prstGeom prst="star5">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1085923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642"/>
        <p:cNvGrpSpPr/>
        <p:nvPr/>
      </p:nvGrpSpPr>
      <p:grpSpPr>
        <a:xfrm>
          <a:off x="0" y="0"/>
          <a:ext cx="0" cy="0"/>
          <a:chOff x="0" y="0"/>
          <a:chExt cx="0" cy="0"/>
        </a:xfrm>
      </p:grpSpPr>
      <p:sp>
        <p:nvSpPr>
          <p:cNvPr id="1643" name="Google Shape;1643;p50"/>
          <p:cNvSpPr txBox="1">
            <a:spLocks noGrp="1"/>
          </p:cNvSpPr>
          <p:nvPr>
            <p:ph type="title"/>
          </p:nvPr>
        </p:nvSpPr>
        <p:spPr>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it-IT">
                <a:solidFill>
                  <a:schemeClr val="tx1"/>
                </a:solidFill>
              </a:rPr>
              <a:t>Segmentation Insights</a:t>
            </a:r>
          </a:p>
        </p:txBody>
      </p:sp>
      <p:graphicFrame>
        <p:nvGraphicFramePr>
          <p:cNvPr id="11" name="Chart 10">
            <a:extLst>
              <a:ext uri="{FF2B5EF4-FFF2-40B4-BE49-F238E27FC236}">
                <a16:creationId xmlns:a16="http://schemas.microsoft.com/office/drawing/2014/main" id="{792EE8DB-BB5B-4115-4AB2-E5869CA6C309}"/>
              </a:ext>
            </a:extLst>
          </p:cNvPr>
          <p:cNvGraphicFramePr/>
          <p:nvPr>
            <p:extLst>
              <p:ext uri="{D42A27DB-BD31-4B8C-83A1-F6EECF244321}">
                <p14:modId xmlns:p14="http://schemas.microsoft.com/office/powerpoint/2010/main" val="2249689939"/>
              </p:ext>
            </p:extLst>
          </p:nvPr>
        </p:nvGraphicFramePr>
        <p:xfrm>
          <a:off x="391885" y="1018904"/>
          <a:ext cx="4134395" cy="356525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hart 11">
            <a:extLst>
              <a:ext uri="{FF2B5EF4-FFF2-40B4-BE49-F238E27FC236}">
                <a16:creationId xmlns:a16="http://schemas.microsoft.com/office/drawing/2014/main" id="{9A8EA46C-D7B3-9448-B73C-40D335F41372}"/>
              </a:ext>
            </a:extLst>
          </p:cNvPr>
          <p:cNvGraphicFramePr/>
          <p:nvPr>
            <p:extLst>
              <p:ext uri="{D42A27DB-BD31-4B8C-83A1-F6EECF244321}">
                <p14:modId xmlns:p14="http://schemas.microsoft.com/office/powerpoint/2010/main" val="3716967523"/>
              </p:ext>
            </p:extLst>
          </p:nvPr>
        </p:nvGraphicFramePr>
        <p:xfrm>
          <a:off x="4617722" y="1018904"/>
          <a:ext cx="4134395" cy="3565252"/>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28362861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CA5428-7D89-34B0-58E6-548BDE0215DE}"/>
              </a:ext>
            </a:extLst>
          </p:cNvPr>
          <p:cNvSpPr>
            <a:spLocks noGrp="1"/>
          </p:cNvSpPr>
          <p:nvPr>
            <p:ph type="title"/>
          </p:nvPr>
        </p:nvSpPr>
        <p:spPr>
          <a:xfrm>
            <a:off x="703649" y="228600"/>
            <a:ext cx="7736700" cy="572700"/>
          </a:xfrm>
        </p:spPr>
        <p:txBody>
          <a:bodyPr/>
          <a:lstStyle/>
          <a:p>
            <a:r>
              <a:rPr lang="en-US">
                <a:solidFill>
                  <a:schemeClr val="tx1"/>
                </a:solidFill>
              </a:rPr>
              <a:t>Implementation Process Overview</a:t>
            </a:r>
            <a:endParaRPr lang="en-CA">
              <a:solidFill>
                <a:schemeClr val="tx1"/>
              </a:solidFill>
            </a:endParaRPr>
          </a:p>
        </p:txBody>
      </p:sp>
      <p:sp>
        <p:nvSpPr>
          <p:cNvPr id="3" name="Freeform 47">
            <a:extLst>
              <a:ext uri="{FF2B5EF4-FFF2-40B4-BE49-F238E27FC236}">
                <a16:creationId xmlns:a16="http://schemas.microsoft.com/office/drawing/2014/main" id="{DCB5D371-8E82-FAC5-5A5E-8CD1DDA3A178}"/>
              </a:ext>
            </a:extLst>
          </p:cNvPr>
          <p:cNvSpPr>
            <a:spLocks/>
          </p:cNvSpPr>
          <p:nvPr/>
        </p:nvSpPr>
        <p:spPr bwMode="auto">
          <a:xfrm rot="17316944">
            <a:off x="363198" y="1556261"/>
            <a:ext cx="1148120" cy="1260743"/>
          </a:xfrm>
          <a:custGeom>
            <a:avLst/>
            <a:gdLst>
              <a:gd name="T0" fmla="*/ 0 w 1413"/>
              <a:gd name="T1" fmla="*/ 723 h 1613"/>
              <a:gd name="T2" fmla="*/ 906 w 1413"/>
              <a:gd name="T3" fmla="*/ 0 h 1613"/>
              <a:gd name="T4" fmla="*/ 1413 w 1413"/>
              <a:gd name="T5" fmla="*/ 1613 h 1613"/>
              <a:gd name="T6" fmla="*/ 257 w 1413"/>
              <a:gd name="T7" fmla="*/ 1540 h 1613"/>
              <a:gd name="T8" fmla="*/ 0 w 1413"/>
              <a:gd name="T9" fmla="*/ 723 h 1613"/>
            </a:gdLst>
            <a:ahLst/>
            <a:cxnLst>
              <a:cxn ang="0">
                <a:pos x="T0" y="T1"/>
              </a:cxn>
              <a:cxn ang="0">
                <a:pos x="T2" y="T3"/>
              </a:cxn>
              <a:cxn ang="0">
                <a:pos x="T4" y="T5"/>
              </a:cxn>
              <a:cxn ang="0">
                <a:pos x="T6" y="T7"/>
              </a:cxn>
              <a:cxn ang="0">
                <a:pos x="T8" y="T9"/>
              </a:cxn>
            </a:cxnLst>
            <a:rect l="0" t="0" r="r" b="b"/>
            <a:pathLst>
              <a:path w="1413" h="1613">
                <a:moveTo>
                  <a:pt x="0" y="723"/>
                </a:moveTo>
                <a:cubicBezTo>
                  <a:pt x="359" y="555"/>
                  <a:pt x="648" y="300"/>
                  <a:pt x="906" y="0"/>
                </a:cubicBezTo>
                <a:cubicBezTo>
                  <a:pt x="1075" y="539"/>
                  <a:pt x="1244" y="1074"/>
                  <a:pt x="1413" y="1613"/>
                </a:cubicBezTo>
                <a:cubicBezTo>
                  <a:pt x="1031" y="1516"/>
                  <a:pt x="648" y="1473"/>
                  <a:pt x="257" y="1540"/>
                </a:cubicBezTo>
                <a:cubicBezTo>
                  <a:pt x="171" y="1267"/>
                  <a:pt x="86" y="996"/>
                  <a:pt x="0" y="723"/>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5" name="Freeform 5">
            <a:extLst>
              <a:ext uri="{FF2B5EF4-FFF2-40B4-BE49-F238E27FC236}">
                <a16:creationId xmlns:a16="http://schemas.microsoft.com/office/drawing/2014/main" id="{296BA0EC-B3F7-D1E4-286A-FBD004F7AE7B}"/>
              </a:ext>
            </a:extLst>
          </p:cNvPr>
          <p:cNvSpPr>
            <a:spLocks/>
          </p:cNvSpPr>
          <p:nvPr/>
        </p:nvSpPr>
        <p:spPr bwMode="auto">
          <a:xfrm rot="1811768" flipV="1">
            <a:off x="1023310" y="3403589"/>
            <a:ext cx="1145284" cy="850208"/>
          </a:xfrm>
          <a:custGeom>
            <a:avLst/>
            <a:gdLst>
              <a:gd name="T0" fmla="*/ 491 w 741"/>
              <a:gd name="T1" fmla="*/ 218 h 288"/>
              <a:gd name="T2" fmla="*/ 535 w 741"/>
              <a:gd name="T3" fmla="*/ 180 h 288"/>
              <a:gd name="T4" fmla="*/ 0 w 741"/>
              <a:gd name="T5" fmla="*/ 122 h 288"/>
              <a:gd name="T6" fmla="*/ 89 w 741"/>
              <a:gd name="T7" fmla="*/ 73 h 288"/>
              <a:gd name="T8" fmla="*/ 602 w 741"/>
              <a:gd name="T9" fmla="*/ 85 h 288"/>
              <a:gd name="T10" fmla="*/ 637 w 741"/>
              <a:gd name="T11" fmla="*/ 79 h 288"/>
              <a:gd name="T12" fmla="*/ 671 w 741"/>
              <a:gd name="T13" fmla="*/ 38 h 288"/>
              <a:gd name="T14" fmla="*/ 679 w 741"/>
              <a:gd name="T15" fmla="*/ 43 h 288"/>
              <a:gd name="T16" fmla="*/ 741 w 741"/>
              <a:gd name="T17" fmla="*/ 288 h 288"/>
              <a:gd name="T18" fmla="*/ 491 w 741"/>
              <a:gd name="T19" fmla="*/ 21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1" h="288">
                <a:moveTo>
                  <a:pt x="491" y="218"/>
                </a:moveTo>
                <a:cubicBezTo>
                  <a:pt x="508" y="203"/>
                  <a:pt x="522" y="192"/>
                  <a:pt x="535" y="180"/>
                </a:cubicBezTo>
                <a:cubicBezTo>
                  <a:pt x="458" y="108"/>
                  <a:pt x="235" y="21"/>
                  <a:pt x="0" y="122"/>
                </a:cubicBezTo>
                <a:cubicBezTo>
                  <a:pt x="30" y="105"/>
                  <a:pt x="58" y="86"/>
                  <a:pt x="89" y="73"/>
                </a:cubicBezTo>
                <a:cubicBezTo>
                  <a:pt x="262" y="0"/>
                  <a:pt x="433" y="5"/>
                  <a:pt x="602" y="85"/>
                </a:cubicBezTo>
                <a:cubicBezTo>
                  <a:pt x="617" y="93"/>
                  <a:pt x="627" y="92"/>
                  <a:pt x="637" y="79"/>
                </a:cubicBezTo>
                <a:cubicBezTo>
                  <a:pt x="648" y="65"/>
                  <a:pt x="660" y="52"/>
                  <a:pt x="671" y="38"/>
                </a:cubicBezTo>
                <a:cubicBezTo>
                  <a:pt x="674" y="40"/>
                  <a:pt x="676" y="41"/>
                  <a:pt x="679" y="43"/>
                </a:cubicBezTo>
                <a:cubicBezTo>
                  <a:pt x="699" y="123"/>
                  <a:pt x="719" y="203"/>
                  <a:pt x="741" y="288"/>
                </a:cubicBezTo>
                <a:cubicBezTo>
                  <a:pt x="657" y="265"/>
                  <a:pt x="577" y="242"/>
                  <a:pt x="491" y="21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6" name="Freeform 48">
            <a:extLst>
              <a:ext uri="{FF2B5EF4-FFF2-40B4-BE49-F238E27FC236}">
                <a16:creationId xmlns:a16="http://schemas.microsoft.com/office/drawing/2014/main" id="{F22EF0C1-8DD3-CE16-07B0-62EFCB810AA2}"/>
              </a:ext>
            </a:extLst>
          </p:cNvPr>
          <p:cNvSpPr>
            <a:spLocks/>
          </p:cNvSpPr>
          <p:nvPr/>
        </p:nvSpPr>
        <p:spPr bwMode="auto">
          <a:xfrm rot="17240193">
            <a:off x="676441" y="2720724"/>
            <a:ext cx="699873" cy="773008"/>
          </a:xfrm>
          <a:custGeom>
            <a:avLst/>
            <a:gdLst>
              <a:gd name="T0" fmla="*/ 713 w 970"/>
              <a:gd name="T1" fmla="*/ 0 h 1006"/>
              <a:gd name="T2" fmla="*/ 970 w 970"/>
              <a:gd name="T3" fmla="*/ 817 h 1006"/>
              <a:gd name="T4" fmla="*/ 825 w 970"/>
              <a:gd name="T5" fmla="*/ 862 h 1006"/>
              <a:gd name="T6" fmla="*/ 541 w 970"/>
              <a:gd name="T7" fmla="*/ 948 h 1006"/>
              <a:gd name="T8" fmla="*/ 26 w 970"/>
              <a:gd name="T9" fmla="*/ 587 h 1006"/>
              <a:gd name="T10" fmla="*/ 318 w 970"/>
              <a:gd name="T11" fmla="*/ 125 h 1006"/>
              <a:gd name="T12" fmla="*/ 713 w 970"/>
              <a:gd name="T13" fmla="*/ 0 h 1006"/>
            </a:gdLst>
            <a:ahLst/>
            <a:cxnLst>
              <a:cxn ang="0">
                <a:pos x="T0" y="T1"/>
              </a:cxn>
              <a:cxn ang="0">
                <a:pos x="T2" y="T3"/>
              </a:cxn>
              <a:cxn ang="0">
                <a:pos x="T4" y="T5"/>
              </a:cxn>
              <a:cxn ang="0">
                <a:pos x="T6" y="T7"/>
              </a:cxn>
              <a:cxn ang="0">
                <a:pos x="T8" y="T9"/>
              </a:cxn>
              <a:cxn ang="0">
                <a:pos x="T10" y="T11"/>
              </a:cxn>
              <a:cxn ang="0">
                <a:pos x="T12" y="T13"/>
              </a:cxn>
            </a:cxnLst>
            <a:rect l="0" t="0" r="r" b="b"/>
            <a:pathLst>
              <a:path w="970" h="1006">
                <a:moveTo>
                  <a:pt x="713" y="0"/>
                </a:moveTo>
                <a:cubicBezTo>
                  <a:pt x="799" y="274"/>
                  <a:pt x="884" y="544"/>
                  <a:pt x="970" y="817"/>
                </a:cubicBezTo>
                <a:cubicBezTo>
                  <a:pt x="920" y="832"/>
                  <a:pt x="873" y="847"/>
                  <a:pt x="825" y="862"/>
                </a:cubicBezTo>
                <a:cubicBezTo>
                  <a:pt x="731" y="891"/>
                  <a:pt x="638" y="926"/>
                  <a:pt x="541" y="948"/>
                </a:cubicBezTo>
                <a:cubicBezTo>
                  <a:pt x="297" y="1006"/>
                  <a:pt x="58" y="835"/>
                  <a:pt x="26" y="587"/>
                </a:cubicBezTo>
                <a:cubicBezTo>
                  <a:pt x="0" y="381"/>
                  <a:pt x="121" y="190"/>
                  <a:pt x="318" y="125"/>
                </a:cubicBezTo>
                <a:cubicBezTo>
                  <a:pt x="449" y="83"/>
                  <a:pt x="580" y="42"/>
                  <a:pt x="713"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7" name="Freeform 5">
            <a:extLst>
              <a:ext uri="{FF2B5EF4-FFF2-40B4-BE49-F238E27FC236}">
                <a16:creationId xmlns:a16="http://schemas.microsoft.com/office/drawing/2014/main" id="{2EBCAB55-424D-3AA5-95D0-7A5B28222FE5}"/>
              </a:ext>
            </a:extLst>
          </p:cNvPr>
          <p:cNvSpPr>
            <a:spLocks/>
          </p:cNvSpPr>
          <p:nvPr/>
        </p:nvSpPr>
        <p:spPr bwMode="auto">
          <a:xfrm rot="21154876">
            <a:off x="2922585" y="1211999"/>
            <a:ext cx="1453022" cy="886418"/>
          </a:xfrm>
          <a:custGeom>
            <a:avLst/>
            <a:gdLst>
              <a:gd name="T0" fmla="*/ 491 w 741"/>
              <a:gd name="T1" fmla="*/ 218 h 288"/>
              <a:gd name="T2" fmla="*/ 535 w 741"/>
              <a:gd name="T3" fmla="*/ 180 h 288"/>
              <a:gd name="T4" fmla="*/ 0 w 741"/>
              <a:gd name="T5" fmla="*/ 122 h 288"/>
              <a:gd name="T6" fmla="*/ 89 w 741"/>
              <a:gd name="T7" fmla="*/ 73 h 288"/>
              <a:gd name="T8" fmla="*/ 602 w 741"/>
              <a:gd name="T9" fmla="*/ 85 h 288"/>
              <a:gd name="T10" fmla="*/ 637 w 741"/>
              <a:gd name="T11" fmla="*/ 79 h 288"/>
              <a:gd name="T12" fmla="*/ 671 w 741"/>
              <a:gd name="T13" fmla="*/ 38 h 288"/>
              <a:gd name="T14" fmla="*/ 679 w 741"/>
              <a:gd name="T15" fmla="*/ 43 h 288"/>
              <a:gd name="T16" fmla="*/ 741 w 741"/>
              <a:gd name="T17" fmla="*/ 288 h 288"/>
              <a:gd name="T18" fmla="*/ 491 w 741"/>
              <a:gd name="T19" fmla="*/ 21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1" h="288">
                <a:moveTo>
                  <a:pt x="491" y="218"/>
                </a:moveTo>
                <a:cubicBezTo>
                  <a:pt x="508" y="203"/>
                  <a:pt x="522" y="192"/>
                  <a:pt x="535" y="180"/>
                </a:cubicBezTo>
                <a:cubicBezTo>
                  <a:pt x="458" y="108"/>
                  <a:pt x="235" y="21"/>
                  <a:pt x="0" y="122"/>
                </a:cubicBezTo>
                <a:cubicBezTo>
                  <a:pt x="30" y="105"/>
                  <a:pt x="58" y="86"/>
                  <a:pt x="89" y="73"/>
                </a:cubicBezTo>
                <a:cubicBezTo>
                  <a:pt x="262" y="0"/>
                  <a:pt x="433" y="5"/>
                  <a:pt x="602" y="85"/>
                </a:cubicBezTo>
                <a:cubicBezTo>
                  <a:pt x="617" y="93"/>
                  <a:pt x="627" y="92"/>
                  <a:pt x="637" y="79"/>
                </a:cubicBezTo>
                <a:cubicBezTo>
                  <a:pt x="648" y="65"/>
                  <a:pt x="660" y="52"/>
                  <a:pt x="671" y="38"/>
                </a:cubicBezTo>
                <a:cubicBezTo>
                  <a:pt x="674" y="40"/>
                  <a:pt x="676" y="41"/>
                  <a:pt x="679" y="43"/>
                </a:cubicBezTo>
                <a:cubicBezTo>
                  <a:pt x="699" y="123"/>
                  <a:pt x="719" y="203"/>
                  <a:pt x="741" y="288"/>
                </a:cubicBezTo>
                <a:cubicBezTo>
                  <a:pt x="657" y="265"/>
                  <a:pt x="577" y="242"/>
                  <a:pt x="491" y="21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grpSp>
        <p:nvGrpSpPr>
          <p:cNvPr id="8" name="Group 7">
            <a:extLst>
              <a:ext uri="{FF2B5EF4-FFF2-40B4-BE49-F238E27FC236}">
                <a16:creationId xmlns:a16="http://schemas.microsoft.com/office/drawing/2014/main" id="{5E7DD97F-7D91-7DD7-B3CC-17CFEDB2A381}"/>
              </a:ext>
            </a:extLst>
          </p:cNvPr>
          <p:cNvGrpSpPr/>
          <p:nvPr/>
        </p:nvGrpSpPr>
        <p:grpSpPr>
          <a:xfrm>
            <a:off x="4503888" y="2017936"/>
            <a:ext cx="1308129" cy="1583831"/>
            <a:chOff x="4488648" y="2003445"/>
            <a:chExt cx="1308129" cy="1583831"/>
          </a:xfrm>
        </p:grpSpPr>
        <p:sp>
          <p:nvSpPr>
            <p:cNvPr id="9" name="Freeform 5">
              <a:extLst>
                <a:ext uri="{FF2B5EF4-FFF2-40B4-BE49-F238E27FC236}">
                  <a16:creationId xmlns:a16="http://schemas.microsoft.com/office/drawing/2014/main" id="{DDC194A2-6E74-B234-1EED-522D74FE9B93}"/>
                </a:ext>
              </a:extLst>
            </p:cNvPr>
            <p:cNvSpPr>
              <a:spLocks/>
            </p:cNvSpPr>
            <p:nvPr/>
          </p:nvSpPr>
          <p:spPr bwMode="auto">
            <a:xfrm>
              <a:off x="4488648" y="2003445"/>
              <a:ext cx="1308129" cy="1583831"/>
            </a:xfrm>
            <a:custGeom>
              <a:avLst/>
              <a:gdLst>
                <a:gd name="T0" fmla="*/ 1406 w 1411"/>
                <a:gd name="T1" fmla="*/ 919 h 1818"/>
                <a:gd name="T2" fmla="*/ 1378 w 1411"/>
                <a:gd name="T3" fmla="*/ 845 h 1818"/>
                <a:gd name="T4" fmla="*/ 1291 w 1411"/>
                <a:gd name="T5" fmla="*/ 682 h 1818"/>
                <a:gd name="T6" fmla="*/ 1263 w 1411"/>
                <a:gd name="T7" fmla="*/ 591 h 1818"/>
                <a:gd name="T8" fmla="*/ 1248 w 1411"/>
                <a:gd name="T9" fmla="*/ 466 h 1818"/>
                <a:gd name="T10" fmla="*/ 1192 w 1411"/>
                <a:gd name="T11" fmla="*/ 298 h 1818"/>
                <a:gd name="T12" fmla="*/ 1064 w 1411"/>
                <a:gd name="T13" fmla="*/ 135 h 1818"/>
                <a:gd name="T14" fmla="*/ 749 w 1411"/>
                <a:gd name="T15" fmla="*/ 10 h 1818"/>
                <a:gd name="T16" fmla="*/ 573 w 1411"/>
                <a:gd name="T17" fmla="*/ 8 h 1818"/>
                <a:gd name="T18" fmla="*/ 441 w 1411"/>
                <a:gd name="T19" fmla="*/ 25 h 1818"/>
                <a:gd name="T20" fmla="*/ 311 w 1411"/>
                <a:gd name="T21" fmla="*/ 69 h 1818"/>
                <a:gd name="T22" fmla="*/ 163 w 1411"/>
                <a:gd name="T23" fmla="*/ 160 h 1818"/>
                <a:gd name="T24" fmla="*/ 39 w 1411"/>
                <a:gd name="T25" fmla="*/ 351 h 1818"/>
                <a:gd name="T26" fmla="*/ 5 w 1411"/>
                <a:gd name="T27" fmla="*/ 514 h 1818"/>
                <a:gd name="T28" fmla="*/ 23 w 1411"/>
                <a:gd name="T29" fmla="*/ 749 h 1818"/>
                <a:gd name="T30" fmla="*/ 72 w 1411"/>
                <a:gd name="T31" fmla="*/ 899 h 1818"/>
                <a:gd name="T32" fmla="*/ 194 w 1411"/>
                <a:gd name="T33" fmla="*/ 1108 h 1818"/>
                <a:gd name="T34" fmla="*/ 201 w 1411"/>
                <a:gd name="T35" fmla="*/ 1123 h 1818"/>
                <a:gd name="T36" fmla="*/ 204 w 1411"/>
                <a:gd name="T37" fmla="*/ 1215 h 1818"/>
                <a:gd name="T38" fmla="*/ 199 w 1411"/>
                <a:gd name="T39" fmla="*/ 1474 h 1818"/>
                <a:gd name="T40" fmla="*/ 209 w 1411"/>
                <a:gd name="T41" fmla="*/ 1492 h 1818"/>
                <a:gd name="T42" fmla="*/ 334 w 1411"/>
                <a:gd name="T43" fmla="*/ 1551 h 1818"/>
                <a:gd name="T44" fmla="*/ 423 w 1411"/>
                <a:gd name="T45" fmla="*/ 1594 h 1818"/>
                <a:gd name="T46" fmla="*/ 553 w 1411"/>
                <a:gd name="T47" fmla="*/ 1658 h 1818"/>
                <a:gd name="T48" fmla="*/ 680 w 1411"/>
                <a:gd name="T49" fmla="*/ 1719 h 1818"/>
                <a:gd name="T50" fmla="*/ 833 w 1411"/>
                <a:gd name="T51" fmla="*/ 1790 h 1818"/>
                <a:gd name="T52" fmla="*/ 889 w 1411"/>
                <a:gd name="T53" fmla="*/ 1818 h 1818"/>
                <a:gd name="T54" fmla="*/ 955 w 1411"/>
                <a:gd name="T55" fmla="*/ 1431 h 1818"/>
                <a:gd name="T56" fmla="*/ 965 w 1411"/>
                <a:gd name="T57" fmla="*/ 1434 h 1818"/>
                <a:gd name="T58" fmla="*/ 1080 w 1411"/>
                <a:gd name="T59" fmla="*/ 1446 h 1818"/>
                <a:gd name="T60" fmla="*/ 1240 w 1411"/>
                <a:gd name="T61" fmla="*/ 1439 h 1818"/>
                <a:gd name="T62" fmla="*/ 1266 w 1411"/>
                <a:gd name="T63" fmla="*/ 1426 h 1818"/>
                <a:gd name="T64" fmla="*/ 1283 w 1411"/>
                <a:gd name="T65" fmla="*/ 1357 h 1818"/>
                <a:gd name="T66" fmla="*/ 1255 w 1411"/>
                <a:gd name="T67" fmla="*/ 1273 h 1818"/>
                <a:gd name="T68" fmla="*/ 1255 w 1411"/>
                <a:gd name="T69" fmla="*/ 1260 h 1818"/>
                <a:gd name="T70" fmla="*/ 1281 w 1411"/>
                <a:gd name="T71" fmla="*/ 1187 h 1818"/>
                <a:gd name="T72" fmla="*/ 1276 w 1411"/>
                <a:gd name="T73" fmla="*/ 1169 h 1818"/>
                <a:gd name="T74" fmla="*/ 1235 w 1411"/>
                <a:gd name="T75" fmla="*/ 1131 h 1818"/>
                <a:gd name="T76" fmla="*/ 1240 w 1411"/>
                <a:gd name="T77" fmla="*/ 1123 h 1818"/>
                <a:gd name="T78" fmla="*/ 1291 w 1411"/>
                <a:gd name="T79" fmla="*/ 1090 h 1818"/>
                <a:gd name="T80" fmla="*/ 1296 w 1411"/>
                <a:gd name="T81" fmla="*/ 1077 h 1818"/>
                <a:gd name="T82" fmla="*/ 1291 w 1411"/>
                <a:gd name="T83" fmla="*/ 1039 h 1818"/>
                <a:gd name="T84" fmla="*/ 1283 w 1411"/>
                <a:gd name="T85" fmla="*/ 980 h 1818"/>
                <a:gd name="T86" fmla="*/ 1370 w 1411"/>
                <a:gd name="T87" fmla="*/ 970 h 1818"/>
                <a:gd name="T88" fmla="*/ 1406 w 1411"/>
                <a:gd name="T89" fmla="*/ 919 h 1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11" h="1818">
                  <a:moveTo>
                    <a:pt x="1406" y="919"/>
                  </a:moveTo>
                  <a:cubicBezTo>
                    <a:pt x="1395" y="894"/>
                    <a:pt x="1390" y="868"/>
                    <a:pt x="1378" y="845"/>
                  </a:cubicBezTo>
                  <a:cubicBezTo>
                    <a:pt x="1350" y="792"/>
                    <a:pt x="1319" y="738"/>
                    <a:pt x="1291" y="682"/>
                  </a:cubicBezTo>
                  <a:cubicBezTo>
                    <a:pt x="1276" y="654"/>
                    <a:pt x="1263" y="626"/>
                    <a:pt x="1263" y="591"/>
                  </a:cubicBezTo>
                  <a:cubicBezTo>
                    <a:pt x="1260" y="550"/>
                    <a:pt x="1255" y="507"/>
                    <a:pt x="1248" y="466"/>
                  </a:cubicBezTo>
                  <a:cubicBezTo>
                    <a:pt x="1238" y="407"/>
                    <a:pt x="1220" y="351"/>
                    <a:pt x="1192" y="298"/>
                  </a:cubicBezTo>
                  <a:cubicBezTo>
                    <a:pt x="1161" y="234"/>
                    <a:pt x="1118" y="181"/>
                    <a:pt x="1064" y="135"/>
                  </a:cubicBezTo>
                  <a:cubicBezTo>
                    <a:pt x="973" y="59"/>
                    <a:pt x="866" y="23"/>
                    <a:pt x="749" y="10"/>
                  </a:cubicBezTo>
                  <a:cubicBezTo>
                    <a:pt x="690" y="3"/>
                    <a:pt x="632" y="0"/>
                    <a:pt x="573" y="8"/>
                  </a:cubicBezTo>
                  <a:cubicBezTo>
                    <a:pt x="527" y="13"/>
                    <a:pt x="484" y="15"/>
                    <a:pt x="441" y="25"/>
                  </a:cubicBezTo>
                  <a:cubicBezTo>
                    <a:pt x="395" y="36"/>
                    <a:pt x="354" y="51"/>
                    <a:pt x="311" y="69"/>
                  </a:cubicBezTo>
                  <a:cubicBezTo>
                    <a:pt x="255" y="89"/>
                    <a:pt x="207" y="122"/>
                    <a:pt x="163" y="160"/>
                  </a:cubicBezTo>
                  <a:cubicBezTo>
                    <a:pt x="105" y="214"/>
                    <a:pt x="64" y="278"/>
                    <a:pt x="39" y="351"/>
                  </a:cubicBezTo>
                  <a:cubicBezTo>
                    <a:pt x="18" y="405"/>
                    <a:pt x="8" y="461"/>
                    <a:pt x="5" y="514"/>
                  </a:cubicBezTo>
                  <a:cubicBezTo>
                    <a:pt x="0" y="593"/>
                    <a:pt x="5" y="672"/>
                    <a:pt x="23" y="749"/>
                  </a:cubicBezTo>
                  <a:cubicBezTo>
                    <a:pt x="33" y="800"/>
                    <a:pt x="51" y="850"/>
                    <a:pt x="72" y="899"/>
                  </a:cubicBezTo>
                  <a:cubicBezTo>
                    <a:pt x="102" y="973"/>
                    <a:pt x="143" y="1044"/>
                    <a:pt x="194" y="1108"/>
                  </a:cubicBezTo>
                  <a:cubicBezTo>
                    <a:pt x="199" y="1110"/>
                    <a:pt x="201" y="1118"/>
                    <a:pt x="201" y="1123"/>
                  </a:cubicBezTo>
                  <a:cubicBezTo>
                    <a:pt x="204" y="1153"/>
                    <a:pt x="204" y="1184"/>
                    <a:pt x="204" y="1215"/>
                  </a:cubicBezTo>
                  <a:cubicBezTo>
                    <a:pt x="204" y="1301"/>
                    <a:pt x="201" y="1388"/>
                    <a:pt x="199" y="1474"/>
                  </a:cubicBezTo>
                  <a:cubicBezTo>
                    <a:pt x="199" y="1484"/>
                    <a:pt x="199" y="1490"/>
                    <a:pt x="209" y="1492"/>
                  </a:cubicBezTo>
                  <a:cubicBezTo>
                    <a:pt x="250" y="1512"/>
                    <a:pt x="293" y="1530"/>
                    <a:pt x="334" y="1551"/>
                  </a:cubicBezTo>
                  <a:cubicBezTo>
                    <a:pt x="364" y="1563"/>
                    <a:pt x="392" y="1581"/>
                    <a:pt x="423" y="1594"/>
                  </a:cubicBezTo>
                  <a:cubicBezTo>
                    <a:pt x="466" y="1617"/>
                    <a:pt x="509" y="1637"/>
                    <a:pt x="553" y="1658"/>
                  </a:cubicBezTo>
                  <a:cubicBezTo>
                    <a:pt x="596" y="1678"/>
                    <a:pt x="637" y="1698"/>
                    <a:pt x="680" y="1719"/>
                  </a:cubicBezTo>
                  <a:cubicBezTo>
                    <a:pt x="731" y="1742"/>
                    <a:pt x="782" y="1767"/>
                    <a:pt x="833" y="1790"/>
                  </a:cubicBezTo>
                  <a:cubicBezTo>
                    <a:pt x="851" y="1800"/>
                    <a:pt x="868" y="1808"/>
                    <a:pt x="889" y="1818"/>
                  </a:cubicBezTo>
                  <a:cubicBezTo>
                    <a:pt x="912" y="1688"/>
                    <a:pt x="935" y="1561"/>
                    <a:pt x="955" y="1431"/>
                  </a:cubicBezTo>
                  <a:cubicBezTo>
                    <a:pt x="960" y="1431"/>
                    <a:pt x="963" y="1431"/>
                    <a:pt x="965" y="1434"/>
                  </a:cubicBezTo>
                  <a:cubicBezTo>
                    <a:pt x="1003" y="1439"/>
                    <a:pt x="1042" y="1444"/>
                    <a:pt x="1080" y="1446"/>
                  </a:cubicBezTo>
                  <a:cubicBezTo>
                    <a:pt x="1133" y="1451"/>
                    <a:pt x="1187" y="1451"/>
                    <a:pt x="1240" y="1439"/>
                  </a:cubicBezTo>
                  <a:cubicBezTo>
                    <a:pt x="1250" y="1436"/>
                    <a:pt x="1258" y="1434"/>
                    <a:pt x="1266" y="1426"/>
                  </a:cubicBezTo>
                  <a:cubicBezTo>
                    <a:pt x="1286" y="1408"/>
                    <a:pt x="1291" y="1383"/>
                    <a:pt x="1283" y="1357"/>
                  </a:cubicBezTo>
                  <a:cubicBezTo>
                    <a:pt x="1278" y="1329"/>
                    <a:pt x="1266" y="1301"/>
                    <a:pt x="1255" y="1273"/>
                  </a:cubicBezTo>
                  <a:cubicBezTo>
                    <a:pt x="1255" y="1268"/>
                    <a:pt x="1255" y="1263"/>
                    <a:pt x="1255" y="1260"/>
                  </a:cubicBezTo>
                  <a:cubicBezTo>
                    <a:pt x="1263" y="1235"/>
                    <a:pt x="1271" y="1209"/>
                    <a:pt x="1281" y="1187"/>
                  </a:cubicBezTo>
                  <a:cubicBezTo>
                    <a:pt x="1283" y="1179"/>
                    <a:pt x="1281" y="1174"/>
                    <a:pt x="1276" y="1169"/>
                  </a:cubicBezTo>
                  <a:cubicBezTo>
                    <a:pt x="1263" y="1156"/>
                    <a:pt x="1248" y="1143"/>
                    <a:pt x="1235" y="1131"/>
                  </a:cubicBezTo>
                  <a:cubicBezTo>
                    <a:pt x="1238" y="1125"/>
                    <a:pt x="1240" y="1125"/>
                    <a:pt x="1240" y="1123"/>
                  </a:cubicBezTo>
                  <a:cubicBezTo>
                    <a:pt x="1258" y="1113"/>
                    <a:pt x="1273" y="1100"/>
                    <a:pt x="1291" y="1090"/>
                  </a:cubicBezTo>
                  <a:cubicBezTo>
                    <a:pt x="1294" y="1087"/>
                    <a:pt x="1296" y="1082"/>
                    <a:pt x="1296" y="1077"/>
                  </a:cubicBezTo>
                  <a:cubicBezTo>
                    <a:pt x="1296" y="1064"/>
                    <a:pt x="1294" y="1052"/>
                    <a:pt x="1291" y="1039"/>
                  </a:cubicBezTo>
                  <a:cubicBezTo>
                    <a:pt x="1288" y="1018"/>
                    <a:pt x="1286" y="998"/>
                    <a:pt x="1283" y="980"/>
                  </a:cubicBezTo>
                  <a:cubicBezTo>
                    <a:pt x="1314" y="975"/>
                    <a:pt x="1342" y="973"/>
                    <a:pt x="1370" y="970"/>
                  </a:cubicBezTo>
                  <a:cubicBezTo>
                    <a:pt x="1400" y="965"/>
                    <a:pt x="1411" y="950"/>
                    <a:pt x="1406" y="919"/>
                  </a:cubicBezTo>
                  <a:close/>
                </a:path>
              </a:pathLst>
            </a:custGeom>
            <a:solidFill>
              <a:srgbClr val="18F9FF">
                <a:alpha val="8902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10" name="Freeform 5">
              <a:extLst>
                <a:ext uri="{FF2B5EF4-FFF2-40B4-BE49-F238E27FC236}">
                  <a16:creationId xmlns:a16="http://schemas.microsoft.com/office/drawing/2014/main" id="{94CD1397-2A00-2D80-CCD4-D0511A94FBD3}"/>
                </a:ext>
              </a:extLst>
            </p:cNvPr>
            <p:cNvSpPr>
              <a:spLocks noChangeAspect="1" noEditPoints="1"/>
            </p:cNvSpPr>
            <p:nvPr/>
          </p:nvSpPr>
          <p:spPr bwMode="auto">
            <a:xfrm rot="16200000">
              <a:off x="5200559" y="2270633"/>
              <a:ext cx="363886" cy="365760"/>
            </a:xfrm>
            <a:custGeom>
              <a:avLst/>
              <a:gdLst>
                <a:gd name="T0" fmla="*/ 548 w 567"/>
                <a:gd name="T1" fmla="*/ 239 h 571"/>
                <a:gd name="T2" fmla="*/ 495 w 567"/>
                <a:gd name="T3" fmla="*/ 210 h 571"/>
                <a:gd name="T4" fmla="*/ 485 w 567"/>
                <a:gd name="T5" fmla="*/ 162 h 571"/>
                <a:gd name="T6" fmla="*/ 506 w 567"/>
                <a:gd name="T7" fmla="*/ 119 h 571"/>
                <a:gd name="T8" fmla="*/ 465 w 567"/>
                <a:gd name="T9" fmla="*/ 66 h 571"/>
                <a:gd name="T10" fmla="*/ 409 w 567"/>
                <a:gd name="T11" fmla="*/ 79 h 571"/>
                <a:gd name="T12" fmla="*/ 355 w 567"/>
                <a:gd name="T13" fmla="*/ 71 h 571"/>
                <a:gd name="T14" fmla="*/ 330 w 567"/>
                <a:gd name="T15" fmla="*/ 19 h 571"/>
                <a:gd name="T16" fmla="*/ 258 w 567"/>
                <a:gd name="T17" fmla="*/ 1 h 571"/>
                <a:gd name="T18" fmla="*/ 227 w 567"/>
                <a:gd name="T19" fmla="*/ 53 h 571"/>
                <a:gd name="T20" fmla="*/ 186 w 567"/>
                <a:gd name="T21" fmla="*/ 83 h 571"/>
                <a:gd name="T22" fmla="*/ 128 w 567"/>
                <a:gd name="T23" fmla="*/ 64 h 571"/>
                <a:gd name="T24" fmla="*/ 66 w 567"/>
                <a:gd name="T25" fmla="*/ 104 h 571"/>
                <a:gd name="T26" fmla="*/ 81 w 567"/>
                <a:gd name="T27" fmla="*/ 159 h 571"/>
                <a:gd name="T28" fmla="*/ 71 w 567"/>
                <a:gd name="T29" fmla="*/ 214 h 571"/>
                <a:gd name="T30" fmla="*/ 20 w 567"/>
                <a:gd name="T31" fmla="*/ 239 h 571"/>
                <a:gd name="T32" fmla="*/ 2 w 567"/>
                <a:gd name="T33" fmla="*/ 312 h 571"/>
                <a:gd name="T34" fmla="*/ 50 w 567"/>
                <a:gd name="T35" fmla="*/ 341 h 571"/>
                <a:gd name="T36" fmla="*/ 82 w 567"/>
                <a:gd name="T37" fmla="*/ 387 h 571"/>
                <a:gd name="T38" fmla="*/ 82 w 567"/>
                <a:gd name="T39" fmla="*/ 408 h 571"/>
                <a:gd name="T40" fmla="*/ 68 w 567"/>
                <a:gd name="T41" fmla="*/ 470 h 571"/>
                <a:gd name="T42" fmla="*/ 103 w 567"/>
                <a:gd name="T43" fmla="*/ 505 h 571"/>
                <a:gd name="T44" fmla="*/ 153 w 567"/>
                <a:gd name="T45" fmla="*/ 494 h 571"/>
                <a:gd name="T46" fmla="*/ 210 w 567"/>
                <a:gd name="T47" fmla="*/ 500 h 571"/>
                <a:gd name="T48" fmla="*/ 238 w 567"/>
                <a:gd name="T49" fmla="*/ 551 h 571"/>
                <a:gd name="T50" fmla="*/ 273 w 567"/>
                <a:gd name="T51" fmla="*/ 571 h 571"/>
                <a:gd name="T52" fmla="*/ 330 w 567"/>
                <a:gd name="T53" fmla="*/ 551 h 571"/>
                <a:gd name="T54" fmla="*/ 356 w 567"/>
                <a:gd name="T55" fmla="*/ 501 h 571"/>
                <a:gd name="T56" fmla="*/ 405 w 567"/>
                <a:gd name="T57" fmla="*/ 489 h 571"/>
                <a:gd name="T58" fmla="*/ 452 w 567"/>
                <a:gd name="T59" fmla="*/ 509 h 571"/>
                <a:gd name="T60" fmla="*/ 501 w 567"/>
                <a:gd name="T61" fmla="*/ 468 h 571"/>
                <a:gd name="T62" fmla="*/ 490 w 567"/>
                <a:gd name="T63" fmla="*/ 417 h 571"/>
                <a:gd name="T64" fmla="*/ 495 w 567"/>
                <a:gd name="T65" fmla="*/ 364 h 571"/>
                <a:gd name="T66" fmla="*/ 548 w 567"/>
                <a:gd name="T67" fmla="*/ 331 h 571"/>
                <a:gd name="T68" fmla="*/ 567 w 567"/>
                <a:gd name="T69" fmla="*/ 275 h 571"/>
                <a:gd name="T70" fmla="*/ 285 w 567"/>
                <a:gd name="T71" fmla="*/ 355 h 571"/>
                <a:gd name="T72" fmla="*/ 285 w 567"/>
                <a:gd name="T73" fmla="*/ 215 h 571"/>
                <a:gd name="T74" fmla="*/ 285 w 567"/>
                <a:gd name="T75" fmla="*/ 355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67" h="571">
                  <a:moveTo>
                    <a:pt x="565" y="260"/>
                  </a:moveTo>
                  <a:cubicBezTo>
                    <a:pt x="566" y="250"/>
                    <a:pt x="557" y="241"/>
                    <a:pt x="548" y="239"/>
                  </a:cubicBezTo>
                  <a:cubicBezTo>
                    <a:pt x="537" y="236"/>
                    <a:pt x="526" y="232"/>
                    <a:pt x="515" y="229"/>
                  </a:cubicBezTo>
                  <a:cubicBezTo>
                    <a:pt x="506" y="227"/>
                    <a:pt x="499" y="219"/>
                    <a:pt x="495" y="210"/>
                  </a:cubicBezTo>
                  <a:cubicBezTo>
                    <a:pt x="492" y="202"/>
                    <a:pt x="489" y="193"/>
                    <a:pt x="486" y="186"/>
                  </a:cubicBezTo>
                  <a:cubicBezTo>
                    <a:pt x="480" y="177"/>
                    <a:pt x="480" y="170"/>
                    <a:pt x="485" y="162"/>
                  </a:cubicBezTo>
                  <a:cubicBezTo>
                    <a:pt x="490" y="153"/>
                    <a:pt x="495" y="145"/>
                    <a:pt x="499" y="137"/>
                  </a:cubicBezTo>
                  <a:cubicBezTo>
                    <a:pt x="502" y="131"/>
                    <a:pt x="506" y="126"/>
                    <a:pt x="506" y="119"/>
                  </a:cubicBezTo>
                  <a:cubicBezTo>
                    <a:pt x="507" y="106"/>
                    <a:pt x="499" y="98"/>
                    <a:pt x="492" y="91"/>
                  </a:cubicBezTo>
                  <a:cubicBezTo>
                    <a:pt x="484" y="82"/>
                    <a:pt x="474" y="74"/>
                    <a:pt x="465" y="66"/>
                  </a:cubicBezTo>
                  <a:cubicBezTo>
                    <a:pt x="457" y="60"/>
                    <a:pt x="449" y="59"/>
                    <a:pt x="440" y="63"/>
                  </a:cubicBezTo>
                  <a:cubicBezTo>
                    <a:pt x="430" y="68"/>
                    <a:pt x="420" y="74"/>
                    <a:pt x="409" y="79"/>
                  </a:cubicBezTo>
                  <a:cubicBezTo>
                    <a:pt x="401" y="84"/>
                    <a:pt x="392" y="86"/>
                    <a:pt x="383" y="83"/>
                  </a:cubicBezTo>
                  <a:cubicBezTo>
                    <a:pt x="373" y="79"/>
                    <a:pt x="363" y="75"/>
                    <a:pt x="355" y="71"/>
                  </a:cubicBezTo>
                  <a:cubicBezTo>
                    <a:pt x="348" y="67"/>
                    <a:pt x="342" y="61"/>
                    <a:pt x="340" y="54"/>
                  </a:cubicBezTo>
                  <a:cubicBezTo>
                    <a:pt x="336" y="42"/>
                    <a:pt x="333" y="30"/>
                    <a:pt x="330" y="19"/>
                  </a:cubicBezTo>
                  <a:cubicBezTo>
                    <a:pt x="327" y="11"/>
                    <a:pt x="318" y="2"/>
                    <a:pt x="310" y="1"/>
                  </a:cubicBezTo>
                  <a:cubicBezTo>
                    <a:pt x="293" y="0"/>
                    <a:pt x="276" y="0"/>
                    <a:pt x="258" y="1"/>
                  </a:cubicBezTo>
                  <a:cubicBezTo>
                    <a:pt x="249" y="2"/>
                    <a:pt x="240" y="9"/>
                    <a:pt x="238" y="18"/>
                  </a:cubicBezTo>
                  <a:cubicBezTo>
                    <a:pt x="234" y="30"/>
                    <a:pt x="231" y="42"/>
                    <a:pt x="227" y="53"/>
                  </a:cubicBezTo>
                  <a:cubicBezTo>
                    <a:pt x="225" y="61"/>
                    <a:pt x="219" y="68"/>
                    <a:pt x="212" y="71"/>
                  </a:cubicBezTo>
                  <a:cubicBezTo>
                    <a:pt x="204" y="75"/>
                    <a:pt x="195" y="79"/>
                    <a:pt x="186" y="83"/>
                  </a:cubicBezTo>
                  <a:cubicBezTo>
                    <a:pt x="177" y="86"/>
                    <a:pt x="167" y="85"/>
                    <a:pt x="159" y="81"/>
                  </a:cubicBezTo>
                  <a:cubicBezTo>
                    <a:pt x="149" y="76"/>
                    <a:pt x="138" y="69"/>
                    <a:pt x="128" y="64"/>
                  </a:cubicBezTo>
                  <a:cubicBezTo>
                    <a:pt x="120" y="60"/>
                    <a:pt x="110" y="60"/>
                    <a:pt x="103" y="66"/>
                  </a:cubicBezTo>
                  <a:cubicBezTo>
                    <a:pt x="89" y="77"/>
                    <a:pt x="76" y="89"/>
                    <a:pt x="66" y="104"/>
                  </a:cubicBezTo>
                  <a:cubicBezTo>
                    <a:pt x="60" y="111"/>
                    <a:pt x="60" y="120"/>
                    <a:pt x="64" y="129"/>
                  </a:cubicBezTo>
                  <a:cubicBezTo>
                    <a:pt x="69" y="139"/>
                    <a:pt x="75" y="149"/>
                    <a:pt x="81" y="159"/>
                  </a:cubicBezTo>
                  <a:cubicBezTo>
                    <a:pt x="85" y="167"/>
                    <a:pt x="86" y="176"/>
                    <a:pt x="83" y="184"/>
                  </a:cubicBezTo>
                  <a:cubicBezTo>
                    <a:pt x="79" y="193"/>
                    <a:pt x="75" y="204"/>
                    <a:pt x="71" y="214"/>
                  </a:cubicBezTo>
                  <a:cubicBezTo>
                    <a:pt x="67" y="221"/>
                    <a:pt x="62" y="226"/>
                    <a:pt x="54" y="229"/>
                  </a:cubicBezTo>
                  <a:cubicBezTo>
                    <a:pt x="43" y="233"/>
                    <a:pt x="32" y="236"/>
                    <a:pt x="20" y="239"/>
                  </a:cubicBezTo>
                  <a:cubicBezTo>
                    <a:pt x="11" y="241"/>
                    <a:pt x="3" y="249"/>
                    <a:pt x="1" y="260"/>
                  </a:cubicBezTo>
                  <a:cubicBezTo>
                    <a:pt x="0" y="277"/>
                    <a:pt x="1" y="295"/>
                    <a:pt x="2" y="312"/>
                  </a:cubicBezTo>
                  <a:cubicBezTo>
                    <a:pt x="3" y="322"/>
                    <a:pt x="10" y="328"/>
                    <a:pt x="18" y="331"/>
                  </a:cubicBezTo>
                  <a:cubicBezTo>
                    <a:pt x="29" y="335"/>
                    <a:pt x="39" y="338"/>
                    <a:pt x="50" y="341"/>
                  </a:cubicBezTo>
                  <a:cubicBezTo>
                    <a:pt x="60" y="344"/>
                    <a:pt x="67" y="350"/>
                    <a:pt x="71" y="360"/>
                  </a:cubicBezTo>
                  <a:cubicBezTo>
                    <a:pt x="75" y="369"/>
                    <a:pt x="79" y="378"/>
                    <a:pt x="82" y="387"/>
                  </a:cubicBezTo>
                  <a:cubicBezTo>
                    <a:pt x="84" y="391"/>
                    <a:pt x="88" y="395"/>
                    <a:pt x="85" y="400"/>
                  </a:cubicBezTo>
                  <a:cubicBezTo>
                    <a:pt x="85" y="403"/>
                    <a:pt x="84" y="405"/>
                    <a:pt x="82" y="408"/>
                  </a:cubicBezTo>
                  <a:cubicBezTo>
                    <a:pt x="77" y="419"/>
                    <a:pt x="71" y="429"/>
                    <a:pt x="65" y="440"/>
                  </a:cubicBezTo>
                  <a:cubicBezTo>
                    <a:pt x="60" y="452"/>
                    <a:pt x="60" y="461"/>
                    <a:pt x="68" y="470"/>
                  </a:cubicBezTo>
                  <a:cubicBezTo>
                    <a:pt x="75" y="477"/>
                    <a:pt x="81" y="484"/>
                    <a:pt x="87" y="490"/>
                  </a:cubicBezTo>
                  <a:cubicBezTo>
                    <a:pt x="93" y="495"/>
                    <a:pt x="97" y="500"/>
                    <a:pt x="103" y="505"/>
                  </a:cubicBezTo>
                  <a:cubicBezTo>
                    <a:pt x="110" y="512"/>
                    <a:pt x="119" y="511"/>
                    <a:pt x="127" y="508"/>
                  </a:cubicBezTo>
                  <a:cubicBezTo>
                    <a:pt x="136" y="503"/>
                    <a:pt x="145" y="498"/>
                    <a:pt x="153" y="494"/>
                  </a:cubicBezTo>
                  <a:cubicBezTo>
                    <a:pt x="163" y="487"/>
                    <a:pt x="173" y="485"/>
                    <a:pt x="184" y="489"/>
                  </a:cubicBezTo>
                  <a:cubicBezTo>
                    <a:pt x="193" y="493"/>
                    <a:pt x="201" y="496"/>
                    <a:pt x="210" y="500"/>
                  </a:cubicBezTo>
                  <a:cubicBezTo>
                    <a:pt x="218" y="503"/>
                    <a:pt x="225" y="509"/>
                    <a:pt x="229" y="518"/>
                  </a:cubicBezTo>
                  <a:cubicBezTo>
                    <a:pt x="232" y="529"/>
                    <a:pt x="235" y="540"/>
                    <a:pt x="238" y="551"/>
                  </a:cubicBezTo>
                  <a:cubicBezTo>
                    <a:pt x="240" y="559"/>
                    <a:pt x="244" y="565"/>
                    <a:pt x="252" y="568"/>
                  </a:cubicBezTo>
                  <a:cubicBezTo>
                    <a:pt x="259" y="570"/>
                    <a:pt x="266" y="570"/>
                    <a:pt x="273" y="571"/>
                  </a:cubicBezTo>
                  <a:cubicBezTo>
                    <a:pt x="285" y="571"/>
                    <a:pt x="298" y="569"/>
                    <a:pt x="310" y="569"/>
                  </a:cubicBezTo>
                  <a:cubicBezTo>
                    <a:pt x="319" y="569"/>
                    <a:pt x="328" y="559"/>
                    <a:pt x="330" y="551"/>
                  </a:cubicBezTo>
                  <a:cubicBezTo>
                    <a:pt x="332" y="541"/>
                    <a:pt x="336" y="530"/>
                    <a:pt x="339" y="520"/>
                  </a:cubicBezTo>
                  <a:cubicBezTo>
                    <a:pt x="342" y="512"/>
                    <a:pt x="348" y="505"/>
                    <a:pt x="356" y="501"/>
                  </a:cubicBezTo>
                  <a:cubicBezTo>
                    <a:pt x="365" y="497"/>
                    <a:pt x="374" y="494"/>
                    <a:pt x="383" y="490"/>
                  </a:cubicBezTo>
                  <a:cubicBezTo>
                    <a:pt x="390" y="486"/>
                    <a:pt x="398" y="486"/>
                    <a:pt x="405" y="489"/>
                  </a:cubicBezTo>
                  <a:cubicBezTo>
                    <a:pt x="414" y="493"/>
                    <a:pt x="422" y="498"/>
                    <a:pt x="430" y="502"/>
                  </a:cubicBezTo>
                  <a:cubicBezTo>
                    <a:pt x="437" y="505"/>
                    <a:pt x="444" y="511"/>
                    <a:pt x="452" y="509"/>
                  </a:cubicBezTo>
                  <a:cubicBezTo>
                    <a:pt x="457" y="509"/>
                    <a:pt x="462" y="507"/>
                    <a:pt x="466" y="504"/>
                  </a:cubicBezTo>
                  <a:cubicBezTo>
                    <a:pt x="479" y="493"/>
                    <a:pt x="490" y="481"/>
                    <a:pt x="501" y="468"/>
                  </a:cubicBezTo>
                  <a:cubicBezTo>
                    <a:pt x="508" y="460"/>
                    <a:pt x="508" y="452"/>
                    <a:pt x="504" y="442"/>
                  </a:cubicBezTo>
                  <a:cubicBezTo>
                    <a:pt x="499" y="434"/>
                    <a:pt x="495" y="425"/>
                    <a:pt x="490" y="417"/>
                  </a:cubicBezTo>
                  <a:cubicBezTo>
                    <a:pt x="483" y="405"/>
                    <a:pt x="482" y="393"/>
                    <a:pt x="488" y="380"/>
                  </a:cubicBezTo>
                  <a:cubicBezTo>
                    <a:pt x="490" y="376"/>
                    <a:pt x="493" y="371"/>
                    <a:pt x="495" y="364"/>
                  </a:cubicBezTo>
                  <a:cubicBezTo>
                    <a:pt x="499" y="354"/>
                    <a:pt x="504" y="345"/>
                    <a:pt x="515" y="341"/>
                  </a:cubicBezTo>
                  <a:cubicBezTo>
                    <a:pt x="526" y="338"/>
                    <a:pt x="537" y="334"/>
                    <a:pt x="548" y="331"/>
                  </a:cubicBezTo>
                  <a:cubicBezTo>
                    <a:pt x="556" y="329"/>
                    <a:pt x="565" y="320"/>
                    <a:pt x="565" y="312"/>
                  </a:cubicBezTo>
                  <a:cubicBezTo>
                    <a:pt x="566" y="300"/>
                    <a:pt x="567" y="287"/>
                    <a:pt x="567" y="275"/>
                  </a:cubicBezTo>
                  <a:cubicBezTo>
                    <a:pt x="567" y="269"/>
                    <a:pt x="565" y="264"/>
                    <a:pt x="565" y="260"/>
                  </a:cubicBezTo>
                  <a:close/>
                  <a:moveTo>
                    <a:pt x="285" y="355"/>
                  </a:moveTo>
                  <a:cubicBezTo>
                    <a:pt x="246" y="355"/>
                    <a:pt x="215" y="324"/>
                    <a:pt x="215" y="285"/>
                  </a:cubicBezTo>
                  <a:cubicBezTo>
                    <a:pt x="215" y="246"/>
                    <a:pt x="246" y="215"/>
                    <a:pt x="285" y="215"/>
                  </a:cubicBezTo>
                  <a:cubicBezTo>
                    <a:pt x="324" y="215"/>
                    <a:pt x="355" y="246"/>
                    <a:pt x="355" y="285"/>
                  </a:cubicBezTo>
                  <a:cubicBezTo>
                    <a:pt x="355" y="324"/>
                    <a:pt x="324" y="355"/>
                    <a:pt x="285" y="355"/>
                  </a:cubicBezTo>
                  <a:close/>
                </a:path>
              </a:pathLst>
            </a:custGeom>
            <a:solidFill>
              <a:srgbClr val="D0024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11" name="Freeform 5">
              <a:extLst>
                <a:ext uri="{FF2B5EF4-FFF2-40B4-BE49-F238E27FC236}">
                  <a16:creationId xmlns:a16="http://schemas.microsoft.com/office/drawing/2014/main" id="{094BF2FC-8277-5543-F1F2-24F2A948270E}"/>
                </a:ext>
              </a:extLst>
            </p:cNvPr>
            <p:cNvSpPr>
              <a:spLocks noChangeAspect="1" noEditPoints="1"/>
            </p:cNvSpPr>
            <p:nvPr/>
          </p:nvSpPr>
          <p:spPr bwMode="auto">
            <a:xfrm rot="980026">
              <a:off x="4905920" y="2879347"/>
              <a:ext cx="221711" cy="274320"/>
            </a:xfrm>
            <a:custGeom>
              <a:avLst/>
              <a:gdLst>
                <a:gd name="T0" fmla="*/ 548 w 567"/>
                <a:gd name="T1" fmla="*/ 239 h 571"/>
                <a:gd name="T2" fmla="*/ 495 w 567"/>
                <a:gd name="T3" fmla="*/ 210 h 571"/>
                <a:gd name="T4" fmla="*/ 485 w 567"/>
                <a:gd name="T5" fmla="*/ 162 h 571"/>
                <a:gd name="T6" fmla="*/ 506 w 567"/>
                <a:gd name="T7" fmla="*/ 119 h 571"/>
                <a:gd name="T8" fmla="*/ 465 w 567"/>
                <a:gd name="T9" fmla="*/ 66 h 571"/>
                <a:gd name="T10" fmla="*/ 409 w 567"/>
                <a:gd name="T11" fmla="*/ 79 h 571"/>
                <a:gd name="T12" fmla="*/ 355 w 567"/>
                <a:gd name="T13" fmla="*/ 71 h 571"/>
                <a:gd name="T14" fmla="*/ 330 w 567"/>
                <a:gd name="T15" fmla="*/ 19 h 571"/>
                <a:gd name="T16" fmla="*/ 258 w 567"/>
                <a:gd name="T17" fmla="*/ 1 h 571"/>
                <a:gd name="T18" fmla="*/ 227 w 567"/>
                <a:gd name="T19" fmla="*/ 53 h 571"/>
                <a:gd name="T20" fmla="*/ 186 w 567"/>
                <a:gd name="T21" fmla="*/ 83 h 571"/>
                <a:gd name="T22" fmla="*/ 128 w 567"/>
                <a:gd name="T23" fmla="*/ 64 h 571"/>
                <a:gd name="T24" fmla="*/ 66 w 567"/>
                <a:gd name="T25" fmla="*/ 104 h 571"/>
                <a:gd name="T26" fmla="*/ 81 w 567"/>
                <a:gd name="T27" fmla="*/ 159 h 571"/>
                <a:gd name="T28" fmla="*/ 71 w 567"/>
                <a:gd name="T29" fmla="*/ 214 h 571"/>
                <a:gd name="T30" fmla="*/ 20 w 567"/>
                <a:gd name="T31" fmla="*/ 239 h 571"/>
                <a:gd name="T32" fmla="*/ 2 w 567"/>
                <a:gd name="T33" fmla="*/ 312 h 571"/>
                <a:gd name="T34" fmla="*/ 50 w 567"/>
                <a:gd name="T35" fmla="*/ 341 h 571"/>
                <a:gd name="T36" fmla="*/ 82 w 567"/>
                <a:gd name="T37" fmla="*/ 387 h 571"/>
                <a:gd name="T38" fmla="*/ 82 w 567"/>
                <a:gd name="T39" fmla="*/ 408 h 571"/>
                <a:gd name="T40" fmla="*/ 68 w 567"/>
                <a:gd name="T41" fmla="*/ 470 h 571"/>
                <a:gd name="T42" fmla="*/ 103 w 567"/>
                <a:gd name="T43" fmla="*/ 505 h 571"/>
                <a:gd name="T44" fmla="*/ 153 w 567"/>
                <a:gd name="T45" fmla="*/ 494 h 571"/>
                <a:gd name="T46" fmla="*/ 210 w 567"/>
                <a:gd name="T47" fmla="*/ 500 h 571"/>
                <a:gd name="T48" fmla="*/ 238 w 567"/>
                <a:gd name="T49" fmla="*/ 551 h 571"/>
                <a:gd name="T50" fmla="*/ 273 w 567"/>
                <a:gd name="T51" fmla="*/ 571 h 571"/>
                <a:gd name="T52" fmla="*/ 330 w 567"/>
                <a:gd name="T53" fmla="*/ 551 h 571"/>
                <a:gd name="T54" fmla="*/ 356 w 567"/>
                <a:gd name="T55" fmla="*/ 501 h 571"/>
                <a:gd name="T56" fmla="*/ 405 w 567"/>
                <a:gd name="T57" fmla="*/ 489 h 571"/>
                <a:gd name="T58" fmla="*/ 452 w 567"/>
                <a:gd name="T59" fmla="*/ 509 h 571"/>
                <a:gd name="T60" fmla="*/ 501 w 567"/>
                <a:gd name="T61" fmla="*/ 468 h 571"/>
                <a:gd name="T62" fmla="*/ 490 w 567"/>
                <a:gd name="T63" fmla="*/ 417 h 571"/>
                <a:gd name="T64" fmla="*/ 495 w 567"/>
                <a:gd name="T65" fmla="*/ 364 h 571"/>
                <a:gd name="T66" fmla="*/ 548 w 567"/>
                <a:gd name="T67" fmla="*/ 331 h 571"/>
                <a:gd name="T68" fmla="*/ 567 w 567"/>
                <a:gd name="T69" fmla="*/ 275 h 571"/>
                <a:gd name="T70" fmla="*/ 285 w 567"/>
                <a:gd name="T71" fmla="*/ 355 h 571"/>
                <a:gd name="T72" fmla="*/ 285 w 567"/>
                <a:gd name="T73" fmla="*/ 215 h 571"/>
                <a:gd name="T74" fmla="*/ 285 w 567"/>
                <a:gd name="T75" fmla="*/ 355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67" h="571">
                  <a:moveTo>
                    <a:pt x="565" y="260"/>
                  </a:moveTo>
                  <a:cubicBezTo>
                    <a:pt x="566" y="250"/>
                    <a:pt x="557" y="241"/>
                    <a:pt x="548" y="239"/>
                  </a:cubicBezTo>
                  <a:cubicBezTo>
                    <a:pt x="537" y="236"/>
                    <a:pt x="526" y="232"/>
                    <a:pt x="515" y="229"/>
                  </a:cubicBezTo>
                  <a:cubicBezTo>
                    <a:pt x="506" y="227"/>
                    <a:pt x="499" y="219"/>
                    <a:pt x="495" y="210"/>
                  </a:cubicBezTo>
                  <a:cubicBezTo>
                    <a:pt x="492" y="202"/>
                    <a:pt x="489" y="193"/>
                    <a:pt x="486" y="186"/>
                  </a:cubicBezTo>
                  <a:cubicBezTo>
                    <a:pt x="480" y="177"/>
                    <a:pt x="480" y="170"/>
                    <a:pt x="485" y="162"/>
                  </a:cubicBezTo>
                  <a:cubicBezTo>
                    <a:pt x="490" y="153"/>
                    <a:pt x="495" y="145"/>
                    <a:pt x="499" y="137"/>
                  </a:cubicBezTo>
                  <a:cubicBezTo>
                    <a:pt x="502" y="131"/>
                    <a:pt x="506" y="126"/>
                    <a:pt x="506" y="119"/>
                  </a:cubicBezTo>
                  <a:cubicBezTo>
                    <a:pt x="507" y="106"/>
                    <a:pt x="499" y="98"/>
                    <a:pt x="492" y="91"/>
                  </a:cubicBezTo>
                  <a:cubicBezTo>
                    <a:pt x="484" y="82"/>
                    <a:pt x="474" y="74"/>
                    <a:pt x="465" y="66"/>
                  </a:cubicBezTo>
                  <a:cubicBezTo>
                    <a:pt x="457" y="60"/>
                    <a:pt x="449" y="59"/>
                    <a:pt x="440" y="63"/>
                  </a:cubicBezTo>
                  <a:cubicBezTo>
                    <a:pt x="430" y="68"/>
                    <a:pt x="420" y="74"/>
                    <a:pt x="409" y="79"/>
                  </a:cubicBezTo>
                  <a:cubicBezTo>
                    <a:pt x="401" y="84"/>
                    <a:pt x="392" y="86"/>
                    <a:pt x="383" y="83"/>
                  </a:cubicBezTo>
                  <a:cubicBezTo>
                    <a:pt x="373" y="79"/>
                    <a:pt x="363" y="75"/>
                    <a:pt x="355" y="71"/>
                  </a:cubicBezTo>
                  <a:cubicBezTo>
                    <a:pt x="348" y="67"/>
                    <a:pt x="342" y="61"/>
                    <a:pt x="340" y="54"/>
                  </a:cubicBezTo>
                  <a:cubicBezTo>
                    <a:pt x="336" y="42"/>
                    <a:pt x="333" y="30"/>
                    <a:pt x="330" y="19"/>
                  </a:cubicBezTo>
                  <a:cubicBezTo>
                    <a:pt x="327" y="11"/>
                    <a:pt x="318" y="2"/>
                    <a:pt x="310" y="1"/>
                  </a:cubicBezTo>
                  <a:cubicBezTo>
                    <a:pt x="293" y="0"/>
                    <a:pt x="276" y="0"/>
                    <a:pt x="258" y="1"/>
                  </a:cubicBezTo>
                  <a:cubicBezTo>
                    <a:pt x="249" y="2"/>
                    <a:pt x="240" y="9"/>
                    <a:pt x="238" y="18"/>
                  </a:cubicBezTo>
                  <a:cubicBezTo>
                    <a:pt x="234" y="30"/>
                    <a:pt x="231" y="42"/>
                    <a:pt x="227" y="53"/>
                  </a:cubicBezTo>
                  <a:cubicBezTo>
                    <a:pt x="225" y="61"/>
                    <a:pt x="219" y="68"/>
                    <a:pt x="212" y="71"/>
                  </a:cubicBezTo>
                  <a:cubicBezTo>
                    <a:pt x="204" y="75"/>
                    <a:pt x="195" y="79"/>
                    <a:pt x="186" y="83"/>
                  </a:cubicBezTo>
                  <a:cubicBezTo>
                    <a:pt x="177" y="86"/>
                    <a:pt x="167" y="85"/>
                    <a:pt x="159" y="81"/>
                  </a:cubicBezTo>
                  <a:cubicBezTo>
                    <a:pt x="149" y="76"/>
                    <a:pt x="138" y="69"/>
                    <a:pt x="128" y="64"/>
                  </a:cubicBezTo>
                  <a:cubicBezTo>
                    <a:pt x="120" y="60"/>
                    <a:pt x="110" y="60"/>
                    <a:pt x="103" y="66"/>
                  </a:cubicBezTo>
                  <a:cubicBezTo>
                    <a:pt x="89" y="77"/>
                    <a:pt x="76" y="89"/>
                    <a:pt x="66" y="104"/>
                  </a:cubicBezTo>
                  <a:cubicBezTo>
                    <a:pt x="60" y="111"/>
                    <a:pt x="60" y="120"/>
                    <a:pt x="64" y="129"/>
                  </a:cubicBezTo>
                  <a:cubicBezTo>
                    <a:pt x="69" y="139"/>
                    <a:pt x="75" y="149"/>
                    <a:pt x="81" y="159"/>
                  </a:cubicBezTo>
                  <a:cubicBezTo>
                    <a:pt x="85" y="167"/>
                    <a:pt x="86" y="176"/>
                    <a:pt x="83" y="184"/>
                  </a:cubicBezTo>
                  <a:cubicBezTo>
                    <a:pt x="79" y="193"/>
                    <a:pt x="75" y="204"/>
                    <a:pt x="71" y="214"/>
                  </a:cubicBezTo>
                  <a:cubicBezTo>
                    <a:pt x="67" y="221"/>
                    <a:pt x="62" y="226"/>
                    <a:pt x="54" y="229"/>
                  </a:cubicBezTo>
                  <a:cubicBezTo>
                    <a:pt x="43" y="233"/>
                    <a:pt x="32" y="236"/>
                    <a:pt x="20" y="239"/>
                  </a:cubicBezTo>
                  <a:cubicBezTo>
                    <a:pt x="11" y="241"/>
                    <a:pt x="3" y="249"/>
                    <a:pt x="1" y="260"/>
                  </a:cubicBezTo>
                  <a:cubicBezTo>
                    <a:pt x="0" y="277"/>
                    <a:pt x="1" y="295"/>
                    <a:pt x="2" y="312"/>
                  </a:cubicBezTo>
                  <a:cubicBezTo>
                    <a:pt x="3" y="322"/>
                    <a:pt x="10" y="328"/>
                    <a:pt x="18" y="331"/>
                  </a:cubicBezTo>
                  <a:cubicBezTo>
                    <a:pt x="29" y="335"/>
                    <a:pt x="39" y="338"/>
                    <a:pt x="50" y="341"/>
                  </a:cubicBezTo>
                  <a:cubicBezTo>
                    <a:pt x="60" y="344"/>
                    <a:pt x="67" y="350"/>
                    <a:pt x="71" y="360"/>
                  </a:cubicBezTo>
                  <a:cubicBezTo>
                    <a:pt x="75" y="369"/>
                    <a:pt x="79" y="378"/>
                    <a:pt x="82" y="387"/>
                  </a:cubicBezTo>
                  <a:cubicBezTo>
                    <a:pt x="84" y="391"/>
                    <a:pt x="88" y="395"/>
                    <a:pt x="85" y="400"/>
                  </a:cubicBezTo>
                  <a:cubicBezTo>
                    <a:pt x="85" y="403"/>
                    <a:pt x="84" y="405"/>
                    <a:pt x="82" y="408"/>
                  </a:cubicBezTo>
                  <a:cubicBezTo>
                    <a:pt x="77" y="419"/>
                    <a:pt x="71" y="429"/>
                    <a:pt x="65" y="440"/>
                  </a:cubicBezTo>
                  <a:cubicBezTo>
                    <a:pt x="60" y="452"/>
                    <a:pt x="60" y="461"/>
                    <a:pt x="68" y="470"/>
                  </a:cubicBezTo>
                  <a:cubicBezTo>
                    <a:pt x="75" y="477"/>
                    <a:pt x="81" y="484"/>
                    <a:pt x="87" y="490"/>
                  </a:cubicBezTo>
                  <a:cubicBezTo>
                    <a:pt x="93" y="495"/>
                    <a:pt x="97" y="500"/>
                    <a:pt x="103" y="505"/>
                  </a:cubicBezTo>
                  <a:cubicBezTo>
                    <a:pt x="110" y="512"/>
                    <a:pt x="119" y="511"/>
                    <a:pt x="127" y="508"/>
                  </a:cubicBezTo>
                  <a:cubicBezTo>
                    <a:pt x="136" y="503"/>
                    <a:pt x="145" y="498"/>
                    <a:pt x="153" y="494"/>
                  </a:cubicBezTo>
                  <a:cubicBezTo>
                    <a:pt x="163" y="487"/>
                    <a:pt x="173" y="485"/>
                    <a:pt x="184" y="489"/>
                  </a:cubicBezTo>
                  <a:cubicBezTo>
                    <a:pt x="193" y="493"/>
                    <a:pt x="201" y="496"/>
                    <a:pt x="210" y="500"/>
                  </a:cubicBezTo>
                  <a:cubicBezTo>
                    <a:pt x="218" y="503"/>
                    <a:pt x="225" y="509"/>
                    <a:pt x="229" y="518"/>
                  </a:cubicBezTo>
                  <a:cubicBezTo>
                    <a:pt x="232" y="529"/>
                    <a:pt x="235" y="540"/>
                    <a:pt x="238" y="551"/>
                  </a:cubicBezTo>
                  <a:cubicBezTo>
                    <a:pt x="240" y="559"/>
                    <a:pt x="244" y="565"/>
                    <a:pt x="252" y="568"/>
                  </a:cubicBezTo>
                  <a:cubicBezTo>
                    <a:pt x="259" y="570"/>
                    <a:pt x="266" y="570"/>
                    <a:pt x="273" y="571"/>
                  </a:cubicBezTo>
                  <a:cubicBezTo>
                    <a:pt x="285" y="571"/>
                    <a:pt x="298" y="569"/>
                    <a:pt x="310" y="569"/>
                  </a:cubicBezTo>
                  <a:cubicBezTo>
                    <a:pt x="319" y="569"/>
                    <a:pt x="328" y="559"/>
                    <a:pt x="330" y="551"/>
                  </a:cubicBezTo>
                  <a:cubicBezTo>
                    <a:pt x="332" y="541"/>
                    <a:pt x="336" y="530"/>
                    <a:pt x="339" y="520"/>
                  </a:cubicBezTo>
                  <a:cubicBezTo>
                    <a:pt x="342" y="512"/>
                    <a:pt x="348" y="505"/>
                    <a:pt x="356" y="501"/>
                  </a:cubicBezTo>
                  <a:cubicBezTo>
                    <a:pt x="365" y="497"/>
                    <a:pt x="374" y="494"/>
                    <a:pt x="383" y="490"/>
                  </a:cubicBezTo>
                  <a:cubicBezTo>
                    <a:pt x="390" y="486"/>
                    <a:pt x="398" y="486"/>
                    <a:pt x="405" y="489"/>
                  </a:cubicBezTo>
                  <a:cubicBezTo>
                    <a:pt x="414" y="493"/>
                    <a:pt x="422" y="498"/>
                    <a:pt x="430" y="502"/>
                  </a:cubicBezTo>
                  <a:cubicBezTo>
                    <a:pt x="437" y="505"/>
                    <a:pt x="444" y="511"/>
                    <a:pt x="452" y="509"/>
                  </a:cubicBezTo>
                  <a:cubicBezTo>
                    <a:pt x="457" y="509"/>
                    <a:pt x="462" y="507"/>
                    <a:pt x="466" y="504"/>
                  </a:cubicBezTo>
                  <a:cubicBezTo>
                    <a:pt x="479" y="493"/>
                    <a:pt x="490" y="481"/>
                    <a:pt x="501" y="468"/>
                  </a:cubicBezTo>
                  <a:cubicBezTo>
                    <a:pt x="508" y="460"/>
                    <a:pt x="508" y="452"/>
                    <a:pt x="504" y="442"/>
                  </a:cubicBezTo>
                  <a:cubicBezTo>
                    <a:pt x="499" y="434"/>
                    <a:pt x="495" y="425"/>
                    <a:pt x="490" y="417"/>
                  </a:cubicBezTo>
                  <a:cubicBezTo>
                    <a:pt x="483" y="405"/>
                    <a:pt x="482" y="393"/>
                    <a:pt x="488" y="380"/>
                  </a:cubicBezTo>
                  <a:cubicBezTo>
                    <a:pt x="490" y="376"/>
                    <a:pt x="493" y="371"/>
                    <a:pt x="495" y="364"/>
                  </a:cubicBezTo>
                  <a:cubicBezTo>
                    <a:pt x="499" y="354"/>
                    <a:pt x="504" y="345"/>
                    <a:pt x="515" y="341"/>
                  </a:cubicBezTo>
                  <a:cubicBezTo>
                    <a:pt x="526" y="338"/>
                    <a:pt x="537" y="334"/>
                    <a:pt x="548" y="331"/>
                  </a:cubicBezTo>
                  <a:cubicBezTo>
                    <a:pt x="556" y="329"/>
                    <a:pt x="565" y="320"/>
                    <a:pt x="565" y="312"/>
                  </a:cubicBezTo>
                  <a:cubicBezTo>
                    <a:pt x="566" y="300"/>
                    <a:pt x="567" y="287"/>
                    <a:pt x="567" y="275"/>
                  </a:cubicBezTo>
                  <a:cubicBezTo>
                    <a:pt x="567" y="269"/>
                    <a:pt x="565" y="264"/>
                    <a:pt x="565" y="260"/>
                  </a:cubicBezTo>
                  <a:close/>
                  <a:moveTo>
                    <a:pt x="285" y="355"/>
                  </a:moveTo>
                  <a:cubicBezTo>
                    <a:pt x="246" y="355"/>
                    <a:pt x="215" y="324"/>
                    <a:pt x="215" y="285"/>
                  </a:cubicBezTo>
                  <a:cubicBezTo>
                    <a:pt x="215" y="246"/>
                    <a:pt x="246" y="215"/>
                    <a:pt x="285" y="215"/>
                  </a:cubicBezTo>
                  <a:cubicBezTo>
                    <a:pt x="324" y="215"/>
                    <a:pt x="355" y="246"/>
                    <a:pt x="355" y="285"/>
                  </a:cubicBezTo>
                  <a:cubicBezTo>
                    <a:pt x="355" y="324"/>
                    <a:pt x="324" y="355"/>
                    <a:pt x="285" y="355"/>
                  </a:cubicBezTo>
                  <a:close/>
                </a:path>
              </a:pathLst>
            </a:custGeom>
            <a:solidFill>
              <a:srgbClr val="D0024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12" name="Freeform 5">
              <a:extLst>
                <a:ext uri="{FF2B5EF4-FFF2-40B4-BE49-F238E27FC236}">
                  <a16:creationId xmlns:a16="http://schemas.microsoft.com/office/drawing/2014/main" id="{D6750A91-37DA-2B6F-DA3C-5A7A0CDC7FA1}"/>
                </a:ext>
              </a:extLst>
            </p:cNvPr>
            <p:cNvSpPr>
              <a:spLocks noChangeAspect="1" noEditPoints="1"/>
            </p:cNvSpPr>
            <p:nvPr/>
          </p:nvSpPr>
          <p:spPr bwMode="auto">
            <a:xfrm rot="16200000">
              <a:off x="4906966" y="2047666"/>
              <a:ext cx="272915" cy="274320"/>
            </a:xfrm>
            <a:custGeom>
              <a:avLst/>
              <a:gdLst>
                <a:gd name="T0" fmla="*/ 548 w 567"/>
                <a:gd name="T1" fmla="*/ 239 h 571"/>
                <a:gd name="T2" fmla="*/ 495 w 567"/>
                <a:gd name="T3" fmla="*/ 210 h 571"/>
                <a:gd name="T4" fmla="*/ 485 w 567"/>
                <a:gd name="T5" fmla="*/ 162 h 571"/>
                <a:gd name="T6" fmla="*/ 506 w 567"/>
                <a:gd name="T7" fmla="*/ 119 h 571"/>
                <a:gd name="T8" fmla="*/ 465 w 567"/>
                <a:gd name="T9" fmla="*/ 66 h 571"/>
                <a:gd name="T10" fmla="*/ 409 w 567"/>
                <a:gd name="T11" fmla="*/ 79 h 571"/>
                <a:gd name="T12" fmla="*/ 355 w 567"/>
                <a:gd name="T13" fmla="*/ 71 h 571"/>
                <a:gd name="T14" fmla="*/ 330 w 567"/>
                <a:gd name="T15" fmla="*/ 19 h 571"/>
                <a:gd name="T16" fmla="*/ 258 w 567"/>
                <a:gd name="T17" fmla="*/ 1 h 571"/>
                <a:gd name="T18" fmla="*/ 227 w 567"/>
                <a:gd name="T19" fmla="*/ 53 h 571"/>
                <a:gd name="T20" fmla="*/ 186 w 567"/>
                <a:gd name="T21" fmla="*/ 83 h 571"/>
                <a:gd name="T22" fmla="*/ 128 w 567"/>
                <a:gd name="T23" fmla="*/ 64 h 571"/>
                <a:gd name="T24" fmla="*/ 66 w 567"/>
                <a:gd name="T25" fmla="*/ 104 h 571"/>
                <a:gd name="T26" fmla="*/ 81 w 567"/>
                <a:gd name="T27" fmla="*/ 159 h 571"/>
                <a:gd name="T28" fmla="*/ 71 w 567"/>
                <a:gd name="T29" fmla="*/ 214 h 571"/>
                <a:gd name="T30" fmla="*/ 20 w 567"/>
                <a:gd name="T31" fmla="*/ 239 h 571"/>
                <a:gd name="T32" fmla="*/ 2 w 567"/>
                <a:gd name="T33" fmla="*/ 312 h 571"/>
                <a:gd name="T34" fmla="*/ 50 w 567"/>
                <a:gd name="T35" fmla="*/ 341 h 571"/>
                <a:gd name="T36" fmla="*/ 82 w 567"/>
                <a:gd name="T37" fmla="*/ 387 h 571"/>
                <a:gd name="T38" fmla="*/ 82 w 567"/>
                <a:gd name="T39" fmla="*/ 408 h 571"/>
                <a:gd name="T40" fmla="*/ 68 w 567"/>
                <a:gd name="T41" fmla="*/ 470 h 571"/>
                <a:gd name="T42" fmla="*/ 103 w 567"/>
                <a:gd name="T43" fmla="*/ 505 h 571"/>
                <a:gd name="T44" fmla="*/ 153 w 567"/>
                <a:gd name="T45" fmla="*/ 494 h 571"/>
                <a:gd name="T46" fmla="*/ 210 w 567"/>
                <a:gd name="T47" fmla="*/ 500 h 571"/>
                <a:gd name="T48" fmla="*/ 238 w 567"/>
                <a:gd name="T49" fmla="*/ 551 h 571"/>
                <a:gd name="T50" fmla="*/ 273 w 567"/>
                <a:gd name="T51" fmla="*/ 571 h 571"/>
                <a:gd name="T52" fmla="*/ 330 w 567"/>
                <a:gd name="T53" fmla="*/ 551 h 571"/>
                <a:gd name="T54" fmla="*/ 356 w 567"/>
                <a:gd name="T55" fmla="*/ 501 h 571"/>
                <a:gd name="T56" fmla="*/ 405 w 567"/>
                <a:gd name="T57" fmla="*/ 489 h 571"/>
                <a:gd name="T58" fmla="*/ 452 w 567"/>
                <a:gd name="T59" fmla="*/ 509 h 571"/>
                <a:gd name="T60" fmla="*/ 501 w 567"/>
                <a:gd name="T61" fmla="*/ 468 h 571"/>
                <a:gd name="T62" fmla="*/ 490 w 567"/>
                <a:gd name="T63" fmla="*/ 417 h 571"/>
                <a:gd name="T64" fmla="*/ 495 w 567"/>
                <a:gd name="T65" fmla="*/ 364 h 571"/>
                <a:gd name="T66" fmla="*/ 548 w 567"/>
                <a:gd name="T67" fmla="*/ 331 h 571"/>
                <a:gd name="T68" fmla="*/ 567 w 567"/>
                <a:gd name="T69" fmla="*/ 275 h 571"/>
                <a:gd name="T70" fmla="*/ 285 w 567"/>
                <a:gd name="T71" fmla="*/ 355 h 571"/>
                <a:gd name="T72" fmla="*/ 285 w 567"/>
                <a:gd name="T73" fmla="*/ 215 h 571"/>
                <a:gd name="T74" fmla="*/ 285 w 567"/>
                <a:gd name="T75" fmla="*/ 355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67" h="571">
                  <a:moveTo>
                    <a:pt x="565" y="260"/>
                  </a:moveTo>
                  <a:cubicBezTo>
                    <a:pt x="566" y="250"/>
                    <a:pt x="557" y="241"/>
                    <a:pt x="548" y="239"/>
                  </a:cubicBezTo>
                  <a:cubicBezTo>
                    <a:pt x="537" y="236"/>
                    <a:pt x="526" y="232"/>
                    <a:pt x="515" y="229"/>
                  </a:cubicBezTo>
                  <a:cubicBezTo>
                    <a:pt x="506" y="227"/>
                    <a:pt x="499" y="219"/>
                    <a:pt x="495" y="210"/>
                  </a:cubicBezTo>
                  <a:cubicBezTo>
                    <a:pt x="492" y="202"/>
                    <a:pt x="489" y="193"/>
                    <a:pt x="486" y="186"/>
                  </a:cubicBezTo>
                  <a:cubicBezTo>
                    <a:pt x="480" y="177"/>
                    <a:pt x="480" y="170"/>
                    <a:pt x="485" y="162"/>
                  </a:cubicBezTo>
                  <a:cubicBezTo>
                    <a:pt x="490" y="153"/>
                    <a:pt x="495" y="145"/>
                    <a:pt x="499" y="137"/>
                  </a:cubicBezTo>
                  <a:cubicBezTo>
                    <a:pt x="502" y="131"/>
                    <a:pt x="506" y="126"/>
                    <a:pt x="506" y="119"/>
                  </a:cubicBezTo>
                  <a:cubicBezTo>
                    <a:pt x="507" y="106"/>
                    <a:pt x="499" y="98"/>
                    <a:pt x="492" y="91"/>
                  </a:cubicBezTo>
                  <a:cubicBezTo>
                    <a:pt x="484" y="82"/>
                    <a:pt x="474" y="74"/>
                    <a:pt x="465" y="66"/>
                  </a:cubicBezTo>
                  <a:cubicBezTo>
                    <a:pt x="457" y="60"/>
                    <a:pt x="449" y="59"/>
                    <a:pt x="440" y="63"/>
                  </a:cubicBezTo>
                  <a:cubicBezTo>
                    <a:pt x="430" y="68"/>
                    <a:pt x="420" y="74"/>
                    <a:pt x="409" y="79"/>
                  </a:cubicBezTo>
                  <a:cubicBezTo>
                    <a:pt x="401" y="84"/>
                    <a:pt x="392" y="86"/>
                    <a:pt x="383" y="83"/>
                  </a:cubicBezTo>
                  <a:cubicBezTo>
                    <a:pt x="373" y="79"/>
                    <a:pt x="363" y="75"/>
                    <a:pt x="355" y="71"/>
                  </a:cubicBezTo>
                  <a:cubicBezTo>
                    <a:pt x="348" y="67"/>
                    <a:pt x="342" y="61"/>
                    <a:pt x="340" y="54"/>
                  </a:cubicBezTo>
                  <a:cubicBezTo>
                    <a:pt x="336" y="42"/>
                    <a:pt x="333" y="30"/>
                    <a:pt x="330" y="19"/>
                  </a:cubicBezTo>
                  <a:cubicBezTo>
                    <a:pt x="327" y="11"/>
                    <a:pt x="318" y="2"/>
                    <a:pt x="310" y="1"/>
                  </a:cubicBezTo>
                  <a:cubicBezTo>
                    <a:pt x="293" y="0"/>
                    <a:pt x="276" y="0"/>
                    <a:pt x="258" y="1"/>
                  </a:cubicBezTo>
                  <a:cubicBezTo>
                    <a:pt x="249" y="2"/>
                    <a:pt x="240" y="9"/>
                    <a:pt x="238" y="18"/>
                  </a:cubicBezTo>
                  <a:cubicBezTo>
                    <a:pt x="234" y="30"/>
                    <a:pt x="231" y="42"/>
                    <a:pt x="227" y="53"/>
                  </a:cubicBezTo>
                  <a:cubicBezTo>
                    <a:pt x="225" y="61"/>
                    <a:pt x="219" y="68"/>
                    <a:pt x="212" y="71"/>
                  </a:cubicBezTo>
                  <a:cubicBezTo>
                    <a:pt x="204" y="75"/>
                    <a:pt x="195" y="79"/>
                    <a:pt x="186" y="83"/>
                  </a:cubicBezTo>
                  <a:cubicBezTo>
                    <a:pt x="177" y="86"/>
                    <a:pt x="167" y="85"/>
                    <a:pt x="159" y="81"/>
                  </a:cubicBezTo>
                  <a:cubicBezTo>
                    <a:pt x="149" y="76"/>
                    <a:pt x="138" y="69"/>
                    <a:pt x="128" y="64"/>
                  </a:cubicBezTo>
                  <a:cubicBezTo>
                    <a:pt x="120" y="60"/>
                    <a:pt x="110" y="60"/>
                    <a:pt x="103" y="66"/>
                  </a:cubicBezTo>
                  <a:cubicBezTo>
                    <a:pt x="89" y="77"/>
                    <a:pt x="76" y="89"/>
                    <a:pt x="66" y="104"/>
                  </a:cubicBezTo>
                  <a:cubicBezTo>
                    <a:pt x="60" y="111"/>
                    <a:pt x="60" y="120"/>
                    <a:pt x="64" y="129"/>
                  </a:cubicBezTo>
                  <a:cubicBezTo>
                    <a:pt x="69" y="139"/>
                    <a:pt x="75" y="149"/>
                    <a:pt x="81" y="159"/>
                  </a:cubicBezTo>
                  <a:cubicBezTo>
                    <a:pt x="85" y="167"/>
                    <a:pt x="86" y="176"/>
                    <a:pt x="83" y="184"/>
                  </a:cubicBezTo>
                  <a:cubicBezTo>
                    <a:pt x="79" y="193"/>
                    <a:pt x="75" y="204"/>
                    <a:pt x="71" y="214"/>
                  </a:cubicBezTo>
                  <a:cubicBezTo>
                    <a:pt x="67" y="221"/>
                    <a:pt x="62" y="226"/>
                    <a:pt x="54" y="229"/>
                  </a:cubicBezTo>
                  <a:cubicBezTo>
                    <a:pt x="43" y="233"/>
                    <a:pt x="32" y="236"/>
                    <a:pt x="20" y="239"/>
                  </a:cubicBezTo>
                  <a:cubicBezTo>
                    <a:pt x="11" y="241"/>
                    <a:pt x="3" y="249"/>
                    <a:pt x="1" y="260"/>
                  </a:cubicBezTo>
                  <a:cubicBezTo>
                    <a:pt x="0" y="277"/>
                    <a:pt x="1" y="295"/>
                    <a:pt x="2" y="312"/>
                  </a:cubicBezTo>
                  <a:cubicBezTo>
                    <a:pt x="3" y="322"/>
                    <a:pt x="10" y="328"/>
                    <a:pt x="18" y="331"/>
                  </a:cubicBezTo>
                  <a:cubicBezTo>
                    <a:pt x="29" y="335"/>
                    <a:pt x="39" y="338"/>
                    <a:pt x="50" y="341"/>
                  </a:cubicBezTo>
                  <a:cubicBezTo>
                    <a:pt x="60" y="344"/>
                    <a:pt x="67" y="350"/>
                    <a:pt x="71" y="360"/>
                  </a:cubicBezTo>
                  <a:cubicBezTo>
                    <a:pt x="75" y="369"/>
                    <a:pt x="79" y="378"/>
                    <a:pt x="82" y="387"/>
                  </a:cubicBezTo>
                  <a:cubicBezTo>
                    <a:pt x="84" y="391"/>
                    <a:pt x="88" y="395"/>
                    <a:pt x="85" y="400"/>
                  </a:cubicBezTo>
                  <a:cubicBezTo>
                    <a:pt x="85" y="403"/>
                    <a:pt x="84" y="405"/>
                    <a:pt x="82" y="408"/>
                  </a:cubicBezTo>
                  <a:cubicBezTo>
                    <a:pt x="77" y="419"/>
                    <a:pt x="71" y="429"/>
                    <a:pt x="65" y="440"/>
                  </a:cubicBezTo>
                  <a:cubicBezTo>
                    <a:pt x="60" y="452"/>
                    <a:pt x="60" y="461"/>
                    <a:pt x="68" y="470"/>
                  </a:cubicBezTo>
                  <a:cubicBezTo>
                    <a:pt x="75" y="477"/>
                    <a:pt x="81" y="484"/>
                    <a:pt x="87" y="490"/>
                  </a:cubicBezTo>
                  <a:cubicBezTo>
                    <a:pt x="93" y="495"/>
                    <a:pt x="97" y="500"/>
                    <a:pt x="103" y="505"/>
                  </a:cubicBezTo>
                  <a:cubicBezTo>
                    <a:pt x="110" y="512"/>
                    <a:pt x="119" y="511"/>
                    <a:pt x="127" y="508"/>
                  </a:cubicBezTo>
                  <a:cubicBezTo>
                    <a:pt x="136" y="503"/>
                    <a:pt x="145" y="498"/>
                    <a:pt x="153" y="494"/>
                  </a:cubicBezTo>
                  <a:cubicBezTo>
                    <a:pt x="163" y="487"/>
                    <a:pt x="173" y="485"/>
                    <a:pt x="184" y="489"/>
                  </a:cubicBezTo>
                  <a:cubicBezTo>
                    <a:pt x="193" y="493"/>
                    <a:pt x="201" y="496"/>
                    <a:pt x="210" y="500"/>
                  </a:cubicBezTo>
                  <a:cubicBezTo>
                    <a:pt x="218" y="503"/>
                    <a:pt x="225" y="509"/>
                    <a:pt x="229" y="518"/>
                  </a:cubicBezTo>
                  <a:cubicBezTo>
                    <a:pt x="232" y="529"/>
                    <a:pt x="235" y="540"/>
                    <a:pt x="238" y="551"/>
                  </a:cubicBezTo>
                  <a:cubicBezTo>
                    <a:pt x="240" y="559"/>
                    <a:pt x="244" y="565"/>
                    <a:pt x="252" y="568"/>
                  </a:cubicBezTo>
                  <a:cubicBezTo>
                    <a:pt x="259" y="570"/>
                    <a:pt x="266" y="570"/>
                    <a:pt x="273" y="571"/>
                  </a:cubicBezTo>
                  <a:cubicBezTo>
                    <a:pt x="285" y="571"/>
                    <a:pt x="298" y="569"/>
                    <a:pt x="310" y="569"/>
                  </a:cubicBezTo>
                  <a:cubicBezTo>
                    <a:pt x="319" y="569"/>
                    <a:pt x="328" y="559"/>
                    <a:pt x="330" y="551"/>
                  </a:cubicBezTo>
                  <a:cubicBezTo>
                    <a:pt x="332" y="541"/>
                    <a:pt x="336" y="530"/>
                    <a:pt x="339" y="520"/>
                  </a:cubicBezTo>
                  <a:cubicBezTo>
                    <a:pt x="342" y="512"/>
                    <a:pt x="348" y="505"/>
                    <a:pt x="356" y="501"/>
                  </a:cubicBezTo>
                  <a:cubicBezTo>
                    <a:pt x="365" y="497"/>
                    <a:pt x="374" y="494"/>
                    <a:pt x="383" y="490"/>
                  </a:cubicBezTo>
                  <a:cubicBezTo>
                    <a:pt x="390" y="486"/>
                    <a:pt x="398" y="486"/>
                    <a:pt x="405" y="489"/>
                  </a:cubicBezTo>
                  <a:cubicBezTo>
                    <a:pt x="414" y="493"/>
                    <a:pt x="422" y="498"/>
                    <a:pt x="430" y="502"/>
                  </a:cubicBezTo>
                  <a:cubicBezTo>
                    <a:pt x="437" y="505"/>
                    <a:pt x="444" y="511"/>
                    <a:pt x="452" y="509"/>
                  </a:cubicBezTo>
                  <a:cubicBezTo>
                    <a:pt x="457" y="509"/>
                    <a:pt x="462" y="507"/>
                    <a:pt x="466" y="504"/>
                  </a:cubicBezTo>
                  <a:cubicBezTo>
                    <a:pt x="479" y="493"/>
                    <a:pt x="490" y="481"/>
                    <a:pt x="501" y="468"/>
                  </a:cubicBezTo>
                  <a:cubicBezTo>
                    <a:pt x="508" y="460"/>
                    <a:pt x="508" y="452"/>
                    <a:pt x="504" y="442"/>
                  </a:cubicBezTo>
                  <a:cubicBezTo>
                    <a:pt x="499" y="434"/>
                    <a:pt x="495" y="425"/>
                    <a:pt x="490" y="417"/>
                  </a:cubicBezTo>
                  <a:cubicBezTo>
                    <a:pt x="483" y="405"/>
                    <a:pt x="482" y="393"/>
                    <a:pt x="488" y="380"/>
                  </a:cubicBezTo>
                  <a:cubicBezTo>
                    <a:pt x="490" y="376"/>
                    <a:pt x="493" y="371"/>
                    <a:pt x="495" y="364"/>
                  </a:cubicBezTo>
                  <a:cubicBezTo>
                    <a:pt x="499" y="354"/>
                    <a:pt x="504" y="345"/>
                    <a:pt x="515" y="341"/>
                  </a:cubicBezTo>
                  <a:cubicBezTo>
                    <a:pt x="526" y="338"/>
                    <a:pt x="537" y="334"/>
                    <a:pt x="548" y="331"/>
                  </a:cubicBezTo>
                  <a:cubicBezTo>
                    <a:pt x="556" y="329"/>
                    <a:pt x="565" y="320"/>
                    <a:pt x="565" y="312"/>
                  </a:cubicBezTo>
                  <a:cubicBezTo>
                    <a:pt x="566" y="300"/>
                    <a:pt x="567" y="287"/>
                    <a:pt x="567" y="275"/>
                  </a:cubicBezTo>
                  <a:cubicBezTo>
                    <a:pt x="567" y="269"/>
                    <a:pt x="565" y="264"/>
                    <a:pt x="565" y="260"/>
                  </a:cubicBezTo>
                  <a:close/>
                  <a:moveTo>
                    <a:pt x="285" y="355"/>
                  </a:moveTo>
                  <a:cubicBezTo>
                    <a:pt x="246" y="355"/>
                    <a:pt x="215" y="324"/>
                    <a:pt x="215" y="285"/>
                  </a:cubicBezTo>
                  <a:cubicBezTo>
                    <a:pt x="215" y="246"/>
                    <a:pt x="246" y="215"/>
                    <a:pt x="285" y="215"/>
                  </a:cubicBezTo>
                  <a:cubicBezTo>
                    <a:pt x="324" y="215"/>
                    <a:pt x="355" y="246"/>
                    <a:pt x="355" y="285"/>
                  </a:cubicBezTo>
                  <a:cubicBezTo>
                    <a:pt x="355" y="324"/>
                    <a:pt x="324" y="355"/>
                    <a:pt x="285" y="355"/>
                  </a:cubicBezTo>
                  <a:close/>
                </a:path>
              </a:pathLst>
            </a:custGeom>
            <a:solidFill>
              <a:srgbClr val="D0024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grpSp>
          <p:nvGrpSpPr>
            <p:cNvPr id="13" name="Group 12">
              <a:extLst>
                <a:ext uri="{FF2B5EF4-FFF2-40B4-BE49-F238E27FC236}">
                  <a16:creationId xmlns:a16="http://schemas.microsoft.com/office/drawing/2014/main" id="{77C8122B-B531-FA79-0C0F-F315155E4E23}"/>
                </a:ext>
              </a:extLst>
            </p:cNvPr>
            <p:cNvGrpSpPr/>
            <p:nvPr/>
          </p:nvGrpSpPr>
          <p:grpSpPr>
            <a:xfrm>
              <a:off x="4698922" y="2343343"/>
              <a:ext cx="620695" cy="638612"/>
              <a:chOff x="4671960" y="2153984"/>
              <a:chExt cx="1442032" cy="1433684"/>
            </a:xfrm>
          </p:grpSpPr>
          <p:sp>
            <p:nvSpPr>
              <p:cNvPr id="14" name="Oval 13">
                <a:extLst>
                  <a:ext uri="{FF2B5EF4-FFF2-40B4-BE49-F238E27FC236}">
                    <a16:creationId xmlns:a16="http://schemas.microsoft.com/office/drawing/2014/main" id="{2AA9235B-B419-D5DD-174B-60D105A9CC0F}"/>
                  </a:ext>
                </a:extLst>
              </p:cNvPr>
              <p:cNvSpPr>
                <a:spLocks noChangeAspect="1"/>
              </p:cNvSpPr>
              <p:nvPr/>
            </p:nvSpPr>
            <p:spPr>
              <a:xfrm>
                <a:off x="4671960" y="2153984"/>
                <a:ext cx="1075226" cy="1086860"/>
              </a:xfrm>
              <a:prstGeom prst="ellipse">
                <a:avLst/>
              </a:prstGeom>
              <a:solidFill>
                <a:schemeClr val="accent1">
                  <a:lumMod val="50000"/>
                </a:schemeClr>
              </a:solidFill>
              <a:ln w="571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Freeform 6">
                <a:extLst>
                  <a:ext uri="{FF2B5EF4-FFF2-40B4-BE49-F238E27FC236}">
                    <a16:creationId xmlns:a16="http://schemas.microsoft.com/office/drawing/2014/main" id="{21AEEF11-F683-D39B-631F-30D0082DC8BF}"/>
                  </a:ext>
                </a:extLst>
              </p:cNvPr>
              <p:cNvSpPr>
                <a:spLocks noEditPoints="1"/>
              </p:cNvSpPr>
              <p:nvPr/>
            </p:nvSpPr>
            <p:spPr bwMode="auto">
              <a:xfrm>
                <a:off x="4748368" y="2216069"/>
                <a:ext cx="1365624" cy="1371599"/>
              </a:xfrm>
              <a:custGeom>
                <a:avLst/>
                <a:gdLst>
                  <a:gd name="T0" fmla="*/ 1257 w 1295"/>
                  <a:gd name="T1" fmla="*/ 1098 h 1289"/>
                  <a:gd name="T2" fmla="*/ 1123 w 1295"/>
                  <a:gd name="T3" fmla="*/ 981 h 1289"/>
                  <a:gd name="T4" fmla="*/ 895 w 1295"/>
                  <a:gd name="T5" fmla="*/ 781 h 1289"/>
                  <a:gd name="T6" fmla="*/ 872 w 1295"/>
                  <a:gd name="T7" fmla="*/ 773 h 1289"/>
                  <a:gd name="T8" fmla="*/ 816 w 1295"/>
                  <a:gd name="T9" fmla="*/ 752 h 1289"/>
                  <a:gd name="T10" fmla="*/ 814 w 1295"/>
                  <a:gd name="T11" fmla="*/ 722 h 1289"/>
                  <a:gd name="T12" fmla="*/ 825 w 1295"/>
                  <a:gd name="T13" fmla="*/ 706 h 1289"/>
                  <a:gd name="T14" fmla="*/ 903 w 1295"/>
                  <a:gd name="T15" fmla="*/ 452 h 1289"/>
                  <a:gd name="T16" fmla="*/ 452 w 1295"/>
                  <a:gd name="T17" fmla="*/ 0 h 1289"/>
                  <a:gd name="T18" fmla="*/ 0 w 1295"/>
                  <a:gd name="T19" fmla="*/ 452 h 1289"/>
                  <a:gd name="T20" fmla="*/ 452 w 1295"/>
                  <a:gd name="T21" fmla="*/ 903 h 1289"/>
                  <a:gd name="T22" fmla="*/ 697 w 1295"/>
                  <a:gd name="T23" fmla="*/ 831 h 1289"/>
                  <a:gd name="T24" fmla="*/ 704 w 1295"/>
                  <a:gd name="T25" fmla="*/ 826 h 1289"/>
                  <a:gd name="T26" fmla="*/ 705 w 1295"/>
                  <a:gd name="T27" fmla="*/ 826 h 1289"/>
                  <a:gd name="T28" fmla="*/ 714 w 1295"/>
                  <a:gd name="T29" fmla="*/ 819 h 1289"/>
                  <a:gd name="T30" fmla="*/ 757 w 1295"/>
                  <a:gd name="T31" fmla="*/ 822 h 1289"/>
                  <a:gd name="T32" fmla="*/ 774 w 1295"/>
                  <a:gd name="T33" fmla="*/ 869 h 1289"/>
                  <a:gd name="T34" fmla="*/ 786 w 1295"/>
                  <a:gd name="T35" fmla="*/ 900 h 1289"/>
                  <a:gd name="T36" fmla="*/ 1109 w 1295"/>
                  <a:gd name="T37" fmla="*/ 1268 h 1289"/>
                  <a:gd name="T38" fmla="*/ 1159 w 1295"/>
                  <a:gd name="T39" fmla="*/ 1284 h 1289"/>
                  <a:gd name="T40" fmla="*/ 1278 w 1295"/>
                  <a:gd name="T41" fmla="*/ 1181 h 1289"/>
                  <a:gd name="T42" fmla="*/ 1257 w 1295"/>
                  <a:gd name="T43" fmla="*/ 1098 h 1289"/>
                  <a:gd name="T44" fmla="*/ 90 w 1295"/>
                  <a:gd name="T45" fmla="*/ 452 h 1289"/>
                  <a:gd name="T46" fmla="*/ 452 w 1295"/>
                  <a:gd name="T47" fmla="*/ 90 h 1289"/>
                  <a:gd name="T48" fmla="*/ 813 w 1295"/>
                  <a:gd name="T49" fmla="*/ 452 h 1289"/>
                  <a:gd name="T50" fmla="*/ 452 w 1295"/>
                  <a:gd name="T51" fmla="*/ 813 h 1289"/>
                  <a:gd name="T52" fmla="*/ 90 w 1295"/>
                  <a:gd name="T53" fmla="*/ 452 h 1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95" h="1289">
                    <a:moveTo>
                      <a:pt x="1257" y="1098"/>
                    </a:moveTo>
                    <a:cubicBezTo>
                      <a:pt x="1212" y="1059"/>
                      <a:pt x="1168" y="1020"/>
                      <a:pt x="1123" y="981"/>
                    </a:cubicBezTo>
                    <a:cubicBezTo>
                      <a:pt x="1047" y="914"/>
                      <a:pt x="971" y="847"/>
                      <a:pt x="895" y="781"/>
                    </a:cubicBezTo>
                    <a:cubicBezTo>
                      <a:pt x="889" y="776"/>
                      <a:pt x="878" y="770"/>
                      <a:pt x="872" y="773"/>
                    </a:cubicBezTo>
                    <a:cubicBezTo>
                      <a:pt x="846" y="783"/>
                      <a:pt x="832" y="768"/>
                      <a:pt x="816" y="752"/>
                    </a:cubicBezTo>
                    <a:cubicBezTo>
                      <a:pt x="805" y="741"/>
                      <a:pt x="805" y="734"/>
                      <a:pt x="814" y="722"/>
                    </a:cubicBezTo>
                    <a:cubicBezTo>
                      <a:pt x="817" y="717"/>
                      <a:pt x="821" y="712"/>
                      <a:pt x="825" y="706"/>
                    </a:cubicBezTo>
                    <a:cubicBezTo>
                      <a:pt x="874" y="634"/>
                      <a:pt x="903" y="546"/>
                      <a:pt x="903" y="452"/>
                    </a:cubicBezTo>
                    <a:cubicBezTo>
                      <a:pt x="903" y="202"/>
                      <a:pt x="701" y="0"/>
                      <a:pt x="452" y="0"/>
                    </a:cubicBezTo>
                    <a:cubicBezTo>
                      <a:pt x="202" y="0"/>
                      <a:pt x="0" y="202"/>
                      <a:pt x="0" y="452"/>
                    </a:cubicBezTo>
                    <a:cubicBezTo>
                      <a:pt x="0" y="701"/>
                      <a:pt x="202" y="903"/>
                      <a:pt x="452" y="903"/>
                    </a:cubicBezTo>
                    <a:cubicBezTo>
                      <a:pt x="542" y="903"/>
                      <a:pt x="626" y="877"/>
                      <a:pt x="697" y="831"/>
                    </a:cubicBezTo>
                    <a:cubicBezTo>
                      <a:pt x="699" y="829"/>
                      <a:pt x="702" y="828"/>
                      <a:pt x="704" y="826"/>
                    </a:cubicBezTo>
                    <a:cubicBezTo>
                      <a:pt x="704" y="826"/>
                      <a:pt x="704" y="826"/>
                      <a:pt x="705" y="826"/>
                    </a:cubicBezTo>
                    <a:cubicBezTo>
                      <a:pt x="708" y="824"/>
                      <a:pt x="711" y="822"/>
                      <a:pt x="714" y="819"/>
                    </a:cubicBezTo>
                    <a:cubicBezTo>
                      <a:pt x="732" y="807"/>
                      <a:pt x="742" y="805"/>
                      <a:pt x="757" y="822"/>
                    </a:cubicBezTo>
                    <a:cubicBezTo>
                      <a:pt x="769" y="836"/>
                      <a:pt x="781" y="847"/>
                      <a:pt x="774" y="869"/>
                    </a:cubicBezTo>
                    <a:cubicBezTo>
                      <a:pt x="771" y="877"/>
                      <a:pt x="779" y="892"/>
                      <a:pt x="786" y="900"/>
                    </a:cubicBezTo>
                    <a:cubicBezTo>
                      <a:pt x="893" y="1023"/>
                      <a:pt x="1001" y="1146"/>
                      <a:pt x="1109" y="1268"/>
                    </a:cubicBezTo>
                    <a:cubicBezTo>
                      <a:pt x="1122" y="1284"/>
                      <a:pt x="1139" y="1289"/>
                      <a:pt x="1159" y="1284"/>
                    </a:cubicBezTo>
                    <a:cubicBezTo>
                      <a:pt x="1216" y="1270"/>
                      <a:pt x="1256" y="1234"/>
                      <a:pt x="1278" y="1181"/>
                    </a:cubicBezTo>
                    <a:cubicBezTo>
                      <a:pt x="1295" y="1141"/>
                      <a:pt x="1290" y="1127"/>
                      <a:pt x="1257" y="1098"/>
                    </a:cubicBezTo>
                    <a:close/>
                    <a:moveTo>
                      <a:pt x="90" y="452"/>
                    </a:moveTo>
                    <a:cubicBezTo>
                      <a:pt x="90" y="252"/>
                      <a:pt x="252" y="90"/>
                      <a:pt x="452" y="90"/>
                    </a:cubicBezTo>
                    <a:cubicBezTo>
                      <a:pt x="651" y="90"/>
                      <a:pt x="813" y="252"/>
                      <a:pt x="813" y="452"/>
                    </a:cubicBezTo>
                    <a:cubicBezTo>
                      <a:pt x="813" y="651"/>
                      <a:pt x="651" y="813"/>
                      <a:pt x="452" y="813"/>
                    </a:cubicBezTo>
                    <a:cubicBezTo>
                      <a:pt x="252" y="813"/>
                      <a:pt x="90" y="651"/>
                      <a:pt x="90" y="452"/>
                    </a:cubicBezTo>
                    <a:close/>
                  </a:path>
                </a:pathLst>
              </a:custGeom>
              <a:solidFill>
                <a:srgbClr val="00206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grpSp>
            <p:nvGrpSpPr>
              <p:cNvPr id="16" name="Group 15">
                <a:extLst>
                  <a:ext uri="{FF2B5EF4-FFF2-40B4-BE49-F238E27FC236}">
                    <a16:creationId xmlns:a16="http://schemas.microsoft.com/office/drawing/2014/main" id="{39029F47-E230-246C-EBBC-25E15921B942}"/>
                  </a:ext>
                </a:extLst>
              </p:cNvPr>
              <p:cNvGrpSpPr/>
              <p:nvPr/>
            </p:nvGrpSpPr>
            <p:grpSpPr>
              <a:xfrm>
                <a:off x="4982012" y="2343409"/>
                <a:ext cx="490312" cy="633943"/>
                <a:chOff x="5864333" y="438274"/>
                <a:chExt cx="714135" cy="1057938"/>
              </a:xfrm>
            </p:grpSpPr>
            <p:sp>
              <p:nvSpPr>
                <p:cNvPr id="17" name="Freeform 31">
                  <a:extLst>
                    <a:ext uri="{FF2B5EF4-FFF2-40B4-BE49-F238E27FC236}">
                      <a16:creationId xmlns:a16="http://schemas.microsoft.com/office/drawing/2014/main" id="{71A3FF70-A13E-C9EC-98AC-5876E36FF0AD}"/>
                    </a:ext>
                  </a:extLst>
                </p:cNvPr>
                <p:cNvSpPr>
                  <a:spLocks/>
                </p:cNvSpPr>
                <p:nvPr/>
              </p:nvSpPr>
              <p:spPr bwMode="auto">
                <a:xfrm>
                  <a:off x="6054479" y="438274"/>
                  <a:ext cx="333842" cy="332783"/>
                </a:xfrm>
                <a:custGeom>
                  <a:avLst/>
                  <a:gdLst>
                    <a:gd name="T0" fmla="*/ 38 w 121"/>
                    <a:gd name="T1" fmla="*/ 116 h 120"/>
                    <a:gd name="T2" fmla="*/ 63 w 121"/>
                    <a:gd name="T3" fmla="*/ 120 h 120"/>
                    <a:gd name="T4" fmla="*/ 85 w 121"/>
                    <a:gd name="T5" fmla="*/ 115 h 120"/>
                    <a:gd name="T6" fmla="*/ 106 w 121"/>
                    <a:gd name="T7" fmla="*/ 100 h 120"/>
                    <a:gd name="T8" fmla="*/ 121 w 121"/>
                    <a:gd name="T9" fmla="*/ 60 h 120"/>
                    <a:gd name="T10" fmla="*/ 110 w 121"/>
                    <a:gd name="T11" fmla="*/ 26 h 120"/>
                    <a:gd name="T12" fmla="*/ 57 w 121"/>
                    <a:gd name="T13" fmla="*/ 1 h 120"/>
                    <a:gd name="T14" fmla="*/ 30 w 121"/>
                    <a:gd name="T15" fmla="*/ 8 h 120"/>
                    <a:gd name="T16" fmla="*/ 6 w 121"/>
                    <a:gd name="T17" fmla="*/ 34 h 120"/>
                    <a:gd name="T18" fmla="*/ 0 w 121"/>
                    <a:gd name="T19" fmla="*/ 61 h 120"/>
                    <a:gd name="T20" fmla="*/ 6 w 121"/>
                    <a:gd name="T21" fmla="*/ 87 h 120"/>
                    <a:gd name="T22" fmla="*/ 38 w 121"/>
                    <a:gd name="T23" fmla="*/ 116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1" h="120">
                      <a:moveTo>
                        <a:pt x="38" y="116"/>
                      </a:moveTo>
                      <a:cubicBezTo>
                        <a:pt x="46" y="119"/>
                        <a:pt x="54" y="120"/>
                        <a:pt x="63" y="120"/>
                      </a:cubicBezTo>
                      <a:cubicBezTo>
                        <a:pt x="71" y="119"/>
                        <a:pt x="78" y="118"/>
                        <a:pt x="85" y="115"/>
                      </a:cubicBezTo>
                      <a:cubicBezTo>
                        <a:pt x="93" y="111"/>
                        <a:pt x="100" y="107"/>
                        <a:pt x="106" y="100"/>
                      </a:cubicBezTo>
                      <a:cubicBezTo>
                        <a:pt x="116" y="88"/>
                        <a:pt x="121" y="75"/>
                        <a:pt x="121" y="60"/>
                      </a:cubicBezTo>
                      <a:cubicBezTo>
                        <a:pt x="121" y="47"/>
                        <a:pt x="117" y="36"/>
                        <a:pt x="110" y="26"/>
                      </a:cubicBezTo>
                      <a:cubicBezTo>
                        <a:pt x="97" y="9"/>
                        <a:pt x="81" y="1"/>
                        <a:pt x="57" y="1"/>
                      </a:cubicBezTo>
                      <a:cubicBezTo>
                        <a:pt x="48" y="0"/>
                        <a:pt x="37" y="5"/>
                        <a:pt x="30" y="8"/>
                      </a:cubicBezTo>
                      <a:cubicBezTo>
                        <a:pt x="20" y="15"/>
                        <a:pt x="12" y="23"/>
                        <a:pt x="6" y="34"/>
                      </a:cubicBezTo>
                      <a:cubicBezTo>
                        <a:pt x="2" y="43"/>
                        <a:pt x="0" y="52"/>
                        <a:pt x="0" y="61"/>
                      </a:cubicBezTo>
                      <a:cubicBezTo>
                        <a:pt x="0" y="70"/>
                        <a:pt x="2" y="79"/>
                        <a:pt x="6" y="87"/>
                      </a:cubicBezTo>
                      <a:cubicBezTo>
                        <a:pt x="14" y="101"/>
                        <a:pt x="24" y="110"/>
                        <a:pt x="38" y="116"/>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18" name="Freeform 66">
                  <a:extLst>
                    <a:ext uri="{FF2B5EF4-FFF2-40B4-BE49-F238E27FC236}">
                      <a16:creationId xmlns:a16="http://schemas.microsoft.com/office/drawing/2014/main" id="{129F5E6C-973A-0379-CB39-D2CAE6E8FF5C}"/>
                    </a:ext>
                  </a:extLst>
                </p:cNvPr>
                <p:cNvSpPr>
                  <a:spLocks/>
                </p:cNvSpPr>
                <p:nvPr/>
              </p:nvSpPr>
              <p:spPr bwMode="auto">
                <a:xfrm>
                  <a:off x="5864333" y="801698"/>
                  <a:ext cx="714135" cy="694514"/>
                </a:xfrm>
                <a:custGeom>
                  <a:avLst/>
                  <a:gdLst>
                    <a:gd name="T0" fmla="*/ 69 w 135"/>
                    <a:gd name="T1" fmla="*/ 96 h 101"/>
                    <a:gd name="T2" fmla="*/ 18 w 135"/>
                    <a:gd name="T3" fmla="*/ 96 h 101"/>
                    <a:gd name="T4" fmla="*/ 7 w 135"/>
                    <a:gd name="T5" fmla="*/ 91 h 101"/>
                    <a:gd name="T6" fmla="*/ 34 w 135"/>
                    <a:gd name="T7" fmla="*/ 16 h 101"/>
                    <a:gd name="T8" fmla="*/ 96 w 135"/>
                    <a:gd name="T9" fmla="*/ 11 h 101"/>
                    <a:gd name="T10" fmla="*/ 131 w 135"/>
                    <a:gd name="T11" fmla="*/ 69 h 101"/>
                    <a:gd name="T12" fmla="*/ 105 w 135"/>
                    <a:gd name="T13" fmla="*/ 96 h 101"/>
                    <a:gd name="T14" fmla="*/ 69 w 135"/>
                    <a:gd name="T15" fmla="*/ 96 h 1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101">
                      <a:moveTo>
                        <a:pt x="69" y="96"/>
                      </a:moveTo>
                      <a:cubicBezTo>
                        <a:pt x="52" y="96"/>
                        <a:pt x="35" y="96"/>
                        <a:pt x="18" y="96"/>
                      </a:cubicBezTo>
                      <a:cubicBezTo>
                        <a:pt x="14" y="95"/>
                        <a:pt x="9" y="97"/>
                        <a:pt x="7" y="91"/>
                      </a:cubicBezTo>
                      <a:cubicBezTo>
                        <a:pt x="0" y="65"/>
                        <a:pt x="12" y="31"/>
                        <a:pt x="34" y="16"/>
                      </a:cubicBezTo>
                      <a:cubicBezTo>
                        <a:pt x="54" y="2"/>
                        <a:pt x="75" y="0"/>
                        <a:pt x="96" y="11"/>
                      </a:cubicBezTo>
                      <a:cubicBezTo>
                        <a:pt x="119" y="23"/>
                        <a:pt x="131" y="43"/>
                        <a:pt x="131" y="69"/>
                      </a:cubicBezTo>
                      <a:cubicBezTo>
                        <a:pt x="132" y="101"/>
                        <a:pt x="135" y="95"/>
                        <a:pt x="105" y="96"/>
                      </a:cubicBezTo>
                      <a:cubicBezTo>
                        <a:pt x="93" y="96"/>
                        <a:pt x="81" y="96"/>
                        <a:pt x="69" y="96"/>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grpSp>
        </p:grpSp>
      </p:grpSp>
      <p:sp>
        <p:nvSpPr>
          <p:cNvPr id="19" name="Freeform 6">
            <a:extLst>
              <a:ext uri="{FF2B5EF4-FFF2-40B4-BE49-F238E27FC236}">
                <a16:creationId xmlns:a16="http://schemas.microsoft.com/office/drawing/2014/main" id="{A4705F89-9861-6FFB-6449-77D3C2B1DCDD}"/>
              </a:ext>
            </a:extLst>
          </p:cNvPr>
          <p:cNvSpPr>
            <a:spLocks noEditPoints="1"/>
          </p:cNvSpPr>
          <p:nvPr/>
        </p:nvSpPr>
        <p:spPr bwMode="auto">
          <a:xfrm>
            <a:off x="2015107" y="2093693"/>
            <a:ext cx="1821346" cy="1310878"/>
          </a:xfrm>
          <a:custGeom>
            <a:avLst/>
            <a:gdLst>
              <a:gd name="T0" fmla="*/ 673 w 783"/>
              <a:gd name="T1" fmla="*/ 98 h 628"/>
              <a:gd name="T2" fmla="*/ 388 w 783"/>
              <a:gd name="T3" fmla="*/ 1 h 628"/>
              <a:gd name="T4" fmla="*/ 69 w 783"/>
              <a:gd name="T5" fmla="*/ 118 h 628"/>
              <a:gd name="T6" fmla="*/ 137 w 783"/>
              <a:gd name="T7" fmla="*/ 433 h 628"/>
              <a:gd name="T8" fmla="*/ 481 w 783"/>
              <a:gd name="T9" fmla="*/ 593 h 628"/>
              <a:gd name="T10" fmla="*/ 720 w 783"/>
              <a:gd name="T11" fmla="*/ 425 h 628"/>
              <a:gd name="T12" fmla="*/ 599 w 783"/>
              <a:gd name="T13" fmla="*/ 84 h 628"/>
              <a:gd name="T14" fmla="*/ 539 w 783"/>
              <a:gd name="T15" fmla="*/ 145 h 628"/>
              <a:gd name="T16" fmla="*/ 553 w 783"/>
              <a:gd name="T17" fmla="*/ 157 h 628"/>
              <a:gd name="T18" fmla="*/ 419 w 783"/>
              <a:gd name="T19" fmla="*/ 88 h 628"/>
              <a:gd name="T20" fmla="*/ 291 w 783"/>
              <a:gd name="T21" fmla="*/ 50 h 628"/>
              <a:gd name="T22" fmla="*/ 416 w 783"/>
              <a:gd name="T23" fmla="*/ 235 h 628"/>
              <a:gd name="T24" fmla="*/ 383 w 783"/>
              <a:gd name="T25" fmla="*/ 316 h 628"/>
              <a:gd name="T26" fmla="*/ 337 w 783"/>
              <a:gd name="T27" fmla="*/ 246 h 628"/>
              <a:gd name="T28" fmla="*/ 278 w 783"/>
              <a:gd name="T29" fmla="*/ 123 h 628"/>
              <a:gd name="T30" fmla="*/ 356 w 783"/>
              <a:gd name="T31" fmla="*/ 223 h 628"/>
              <a:gd name="T32" fmla="*/ 257 w 783"/>
              <a:gd name="T33" fmla="*/ 121 h 628"/>
              <a:gd name="T34" fmla="*/ 62 w 783"/>
              <a:gd name="T35" fmla="*/ 162 h 628"/>
              <a:gd name="T36" fmla="*/ 129 w 783"/>
              <a:gd name="T37" fmla="*/ 195 h 628"/>
              <a:gd name="T38" fmla="*/ 164 w 783"/>
              <a:gd name="T39" fmla="*/ 322 h 628"/>
              <a:gd name="T40" fmla="*/ 89 w 783"/>
              <a:gd name="T41" fmla="*/ 272 h 628"/>
              <a:gd name="T42" fmla="*/ 75 w 783"/>
              <a:gd name="T43" fmla="*/ 310 h 628"/>
              <a:gd name="T44" fmla="*/ 198 w 783"/>
              <a:gd name="T45" fmla="*/ 314 h 628"/>
              <a:gd name="T46" fmla="*/ 71 w 783"/>
              <a:gd name="T47" fmla="*/ 249 h 628"/>
              <a:gd name="T48" fmla="*/ 146 w 783"/>
              <a:gd name="T49" fmla="*/ 405 h 628"/>
              <a:gd name="T50" fmla="*/ 161 w 783"/>
              <a:gd name="T51" fmla="*/ 306 h 628"/>
              <a:gd name="T52" fmla="*/ 97 w 783"/>
              <a:gd name="T53" fmla="*/ 121 h 628"/>
              <a:gd name="T54" fmla="*/ 204 w 783"/>
              <a:gd name="T55" fmla="*/ 205 h 628"/>
              <a:gd name="T56" fmla="*/ 224 w 783"/>
              <a:gd name="T57" fmla="*/ 379 h 628"/>
              <a:gd name="T58" fmla="*/ 237 w 783"/>
              <a:gd name="T59" fmla="*/ 455 h 628"/>
              <a:gd name="T60" fmla="*/ 316 w 783"/>
              <a:gd name="T61" fmla="*/ 469 h 628"/>
              <a:gd name="T62" fmla="*/ 342 w 783"/>
              <a:gd name="T63" fmla="*/ 455 h 628"/>
              <a:gd name="T64" fmla="*/ 327 w 783"/>
              <a:gd name="T65" fmla="*/ 452 h 628"/>
              <a:gd name="T66" fmla="*/ 266 w 783"/>
              <a:gd name="T67" fmla="*/ 244 h 628"/>
              <a:gd name="T68" fmla="*/ 169 w 783"/>
              <a:gd name="T69" fmla="*/ 85 h 628"/>
              <a:gd name="T70" fmla="*/ 257 w 783"/>
              <a:gd name="T71" fmla="*/ 135 h 628"/>
              <a:gd name="T72" fmla="*/ 372 w 783"/>
              <a:gd name="T73" fmla="*/ 431 h 628"/>
              <a:gd name="T74" fmla="*/ 438 w 783"/>
              <a:gd name="T75" fmla="*/ 511 h 628"/>
              <a:gd name="T76" fmla="*/ 477 w 783"/>
              <a:gd name="T77" fmla="*/ 272 h 628"/>
              <a:gd name="T78" fmla="*/ 462 w 783"/>
              <a:gd name="T79" fmla="*/ 266 h 628"/>
              <a:gd name="T80" fmla="*/ 467 w 783"/>
              <a:gd name="T81" fmla="*/ 68 h 628"/>
              <a:gd name="T82" fmla="*/ 531 w 783"/>
              <a:gd name="T83" fmla="*/ 158 h 628"/>
              <a:gd name="T84" fmla="*/ 501 w 783"/>
              <a:gd name="T85" fmla="*/ 396 h 628"/>
              <a:gd name="T86" fmla="*/ 479 w 783"/>
              <a:gd name="T87" fmla="*/ 524 h 628"/>
              <a:gd name="T88" fmla="*/ 533 w 783"/>
              <a:gd name="T89" fmla="*/ 576 h 628"/>
              <a:gd name="T90" fmla="*/ 503 w 783"/>
              <a:gd name="T91" fmla="*/ 535 h 628"/>
              <a:gd name="T92" fmla="*/ 523 w 783"/>
              <a:gd name="T93" fmla="*/ 541 h 628"/>
              <a:gd name="T94" fmla="*/ 667 w 783"/>
              <a:gd name="T95" fmla="*/ 512 h 628"/>
              <a:gd name="T96" fmla="*/ 599 w 783"/>
              <a:gd name="T97" fmla="*/ 469 h 628"/>
              <a:gd name="T98" fmla="*/ 639 w 783"/>
              <a:gd name="T99" fmla="*/ 316 h 628"/>
              <a:gd name="T100" fmla="*/ 592 w 783"/>
              <a:gd name="T101" fmla="*/ 379 h 628"/>
              <a:gd name="T102" fmla="*/ 541 w 783"/>
              <a:gd name="T103" fmla="*/ 354 h 628"/>
              <a:gd name="T104" fmla="*/ 484 w 783"/>
              <a:gd name="T105" fmla="*/ 497 h 628"/>
              <a:gd name="T106" fmla="*/ 558 w 783"/>
              <a:gd name="T107" fmla="*/ 253 h 628"/>
              <a:gd name="T108" fmla="*/ 604 w 783"/>
              <a:gd name="T109" fmla="*/ 148 h 628"/>
              <a:gd name="T110" fmla="*/ 673 w 783"/>
              <a:gd name="T111" fmla="*/ 291 h 628"/>
              <a:gd name="T112" fmla="*/ 625 w 783"/>
              <a:gd name="T113" fmla="*/ 316 h 628"/>
              <a:gd name="T114" fmla="*/ 691 w 783"/>
              <a:gd name="T115" fmla="*/ 268 h 628"/>
              <a:gd name="T116" fmla="*/ 696 w 783"/>
              <a:gd name="T117" fmla="*/ 249 h 628"/>
              <a:gd name="T118" fmla="*/ 621 w 783"/>
              <a:gd name="T119" fmla="*/ 129 h 628"/>
              <a:gd name="T120" fmla="*/ 733 w 783"/>
              <a:gd name="T121" fmla="*/ 224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83" h="628">
                <a:moveTo>
                  <a:pt x="770" y="294"/>
                </a:moveTo>
                <a:cubicBezTo>
                  <a:pt x="769" y="292"/>
                  <a:pt x="768" y="289"/>
                  <a:pt x="769" y="287"/>
                </a:cubicBezTo>
                <a:cubicBezTo>
                  <a:pt x="770" y="272"/>
                  <a:pt x="770" y="258"/>
                  <a:pt x="765" y="244"/>
                </a:cubicBezTo>
                <a:cubicBezTo>
                  <a:pt x="758" y="218"/>
                  <a:pt x="745" y="195"/>
                  <a:pt x="723" y="179"/>
                </a:cubicBezTo>
                <a:cubicBezTo>
                  <a:pt x="720" y="177"/>
                  <a:pt x="720" y="175"/>
                  <a:pt x="720" y="172"/>
                </a:cubicBezTo>
                <a:cubicBezTo>
                  <a:pt x="719" y="157"/>
                  <a:pt x="715" y="144"/>
                  <a:pt x="707" y="131"/>
                </a:cubicBezTo>
                <a:cubicBezTo>
                  <a:pt x="698" y="118"/>
                  <a:pt x="686" y="107"/>
                  <a:pt x="673" y="98"/>
                </a:cubicBezTo>
                <a:cubicBezTo>
                  <a:pt x="673" y="98"/>
                  <a:pt x="673" y="98"/>
                  <a:pt x="673" y="98"/>
                </a:cubicBezTo>
                <a:cubicBezTo>
                  <a:pt x="661" y="90"/>
                  <a:pt x="637" y="77"/>
                  <a:pt x="632" y="74"/>
                </a:cubicBezTo>
                <a:cubicBezTo>
                  <a:pt x="621" y="67"/>
                  <a:pt x="607" y="64"/>
                  <a:pt x="597" y="54"/>
                </a:cubicBezTo>
                <a:cubicBezTo>
                  <a:pt x="584" y="41"/>
                  <a:pt x="567" y="32"/>
                  <a:pt x="549" y="26"/>
                </a:cubicBezTo>
                <a:cubicBezTo>
                  <a:pt x="536" y="21"/>
                  <a:pt x="522" y="17"/>
                  <a:pt x="508" y="13"/>
                </a:cubicBezTo>
                <a:cubicBezTo>
                  <a:pt x="499" y="11"/>
                  <a:pt x="490" y="10"/>
                  <a:pt x="481" y="9"/>
                </a:cubicBezTo>
                <a:cubicBezTo>
                  <a:pt x="469" y="9"/>
                  <a:pt x="457" y="9"/>
                  <a:pt x="445" y="9"/>
                </a:cubicBezTo>
                <a:cubicBezTo>
                  <a:pt x="440" y="9"/>
                  <a:pt x="435" y="12"/>
                  <a:pt x="431" y="10"/>
                </a:cubicBezTo>
                <a:cubicBezTo>
                  <a:pt x="417" y="4"/>
                  <a:pt x="403" y="2"/>
                  <a:pt x="388" y="1"/>
                </a:cubicBezTo>
                <a:cubicBezTo>
                  <a:pt x="366" y="0"/>
                  <a:pt x="345" y="3"/>
                  <a:pt x="324" y="8"/>
                </a:cubicBezTo>
                <a:cubicBezTo>
                  <a:pt x="311" y="12"/>
                  <a:pt x="298" y="16"/>
                  <a:pt x="287" y="24"/>
                </a:cubicBezTo>
                <a:cubicBezTo>
                  <a:pt x="286" y="25"/>
                  <a:pt x="283" y="25"/>
                  <a:pt x="282" y="25"/>
                </a:cubicBezTo>
                <a:cubicBezTo>
                  <a:pt x="259" y="19"/>
                  <a:pt x="236" y="21"/>
                  <a:pt x="214" y="29"/>
                </a:cubicBezTo>
                <a:cubicBezTo>
                  <a:pt x="191" y="37"/>
                  <a:pt x="171" y="50"/>
                  <a:pt x="152" y="66"/>
                </a:cubicBezTo>
                <a:cubicBezTo>
                  <a:pt x="150" y="68"/>
                  <a:pt x="147" y="69"/>
                  <a:pt x="145" y="70"/>
                </a:cubicBezTo>
                <a:cubicBezTo>
                  <a:pt x="139" y="71"/>
                  <a:pt x="133" y="70"/>
                  <a:pt x="127" y="72"/>
                </a:cubicBezTo>
                <a:cubicBezTo>
                  <a:pt x="101" y="78"/>
                  <a:pt x="82" y="94"/>
                  <a:pt x="69" y="118"/>
                </a:cubicBezTo>
                <a:cubicBezTo>
                  <a:pt x="64" y="127"/>
                  <a:pt x="62" y="136"/>
                  <a:pt x="52" y="142"/>
                </a:cubicBezTo>
                <a:cubicBezTo>
                  <a:pt x="15" y="169"/>
                  <a:pt x="0" y="218"/>
                  <a:pt x="14" y="261"/>
                </a:cubicBezTo>
                <a:cubicBezTo>
                  <a:pt x="18" y="273"/>
                  <a:pt x="20" y="284"/>
                  <a:pt x="19" y="297"/>
                </a:cubicBezTo>
                <a:cubicBezTo>
                  <a:pt x="18" y="315"/>
                  <a:pt x="23" y="332"/>
                  <a:pt x="29" y="349"/>
                </a:cubicBezTo>
                <a:cubicBezTo>
                  <a:pt x="38" y="366"/>
                  <a:pt x="38" y="366"/>
                  <a:pt x="38" y="366"/>
                </a:cubicBezTo>
                <a:cubicBezTo>
                  <a:pt x="43" y="374"/>
                  <a:pt x="47" y="381"/>
                  <a:pt x="53" y="388"/>
                </a:cubicBezTo>
                <a:cubicBezTo>
                  <a:pt x="74" y="411"/>
                  <a:pt x="100" y="424"/>
                  <a:pt x="130" y="429"/>
                </a:cubicBezTo>
                <a:cubicBezTo>
                  <a:pt x="133" y="429"/>
                  <a:pt x="136" y="431"/>
                  <a:pt x="137" y="433"/>
                </a:cubicBezTo>
                <a:cubicBezTo>
                  <a:pt x="153" y="459"/>
                  <a:pt x="177" y="472"/>
                  <a:pt x="207" y="473"/>
                </a:cubicBezTo>
                <a:cubicBezTo>
                  <a:pt x="217" y="473"/>
                  <a:pt x="224" y="475"/>
                  <a:pt x="233" y="480"/>
                </a:cubicBezTo>
                <a:cubicBezTo>
                  <a:pt x="256" y="492"/>
                  <a:pt x="295" y="498"/>
                  <a:pt x="321" y="493"/>
                </a:cubicBezTo>
                <a:cubicBezTo>
                  <a:pt x="325" y="493"/>
                  <a:pt x="328" y="493"/>
                  <a:pt x="332" y="497"/>
                </a:cubicBezTo>
                <a:cubicBezTo>
                  <a:pt x="346" y="513"/>
                  <a:pt x="363" y="524"/>
                  <a:pt x="384" y="530"/>
                </a:cubicBezTo>
                <a:cubicBezTo>
                  <a:pt x="399" y="535"/>
                  <a:pt x="414" y="536"/>
                  <a:pt x="429" y="535"/>
                </a:cubicBezTo>
                <a:cubicBezTo>
                  <a:pt x="432" y="535"/>
                  <a:pt x="434" y="535"/>
                  <a:pt x="436" y="538"/>
                </a:cubicBezTo>
                <a:cubicBezTo>
                  <a:pt x="451" y="556"/>
                  <a:pt x="466" y="575"/>
                  <a:pt x="481" y="593"/>
                </a:cubicBezTo>
                <a:cubicBezTo>
                  <a:pt x="489" y="603"/>
                  <a:pt x="497" y="614"/>
                  <a:pt x="509" y="620"/>
                </a:cubicBezTo>
                <a:cubicBezTo>
                  <a:pt x="520" y="626"/>
                  <a:pt x="531" y="628"/>
                  <a:pt x="543" y="622"/>
                </a:cubicBezTo>
                <a:cubicBezTo>
                  <a:pt x="554" y="616"/>
                  <a:pt x="559" y="606"/>
                  <a:pt x="560" y="594"/>
                </a:cubicBezTo>
                <a:cubicBezTo>
                  <a:pt x="560" y="591"/>
                  <a:pt x="561" y="588"/>
                  <a:pt x="565" y="588"/>
                </a:cubicBezTo>
                <a:cubicBezTo>
                  <a:pt x="578" y="588"/>
                  <a:pt x="591" y="585"/>
                  <a:pt x="603" y="581"/>
                </a:cubicBezTo>
                <a:cubicBezTo>
                  <a:pt x="623" y="575"/>
                  <a:pt x="641" y="566"/>
                  <a:pt x="657" y="554"/>
                </a:cubicBezTo>
                <a:cubicBezTo>
                  <a:pt x="696" y="522"/>
                  <a:pt x="715" y="480"/>
                  <a:pt x="717" y="430"/>
                </a:cubicBezTo>
                <a:cubicBezTo>
                  <a:pt x="717" y="427"/>
                  <a:pt x="717" y="426"/>
                  <a:pt x="720" y="425"/>
                </a:cubicBezTo>
                <a:cubicBezTo>
                  <a:pt x="723" y="424"/>
                  <a:pt x="726" y="423"/>
                  <a:pt x="728" y="422"/>
                </a:cubicBezTo>
                <a:cubicBezTo>
                  <a:pt x="755" y="407"/>
                  <a:pt x="772" y="385"/>
                  <a:pt x="778" y="355"/>
                </a:cubicBezTo>
                <a:cubicBezTo>
                  <a:pt x="783" y="334"/>
                  <a:pt x="780" y="313"/>
                  <a:pt x="770" y="294"/>
                </a:cubicBezTo>
                <a:close/>
                <a:moveTo>
                  <a:pt x="523" y="59"/>
                </a:moveTo>
                <a:cubicBezTo>
                  <a:pt x="523" y="53"/>
                  <a:pt x="524" y="47"/>
                  <a:pt x="524" y="40"/>
                </a:cubicBezTo>
                <a:cubicBezTo>
                  <a:pt x="534" y="44"/>
                  <a:pt x="543" y="47"/>
                  <a:pt x="552" y="51"/>
                </a:cubicBezTo>
                <a:cubicBezTo>
                  <a:pt x="566" y="58"/>
                  <a:pt x="579" y="64"/>
                  <a:pt x="588" y="77"/>
                </a:cubicBezTo>
                <a:cubicBezTo>
                  <a:pt x="591" y="81"/>
                  <a:pt x="594" y="83"/>
                  <a:pt x="599" y="84"/>
                </a:cubicBezTo>
                <a:cubicBezTo>
                  <a:pt x="607" y="87"/>
                  <a:pt x="607" y="87"/>
                  <a:pt x="607" y="96"/>
                </a:cubicBezTo>
                <a:cubicBezTo>
                  <a:pt x="607" y="101"/>
                  <a:pt x="607" y="119"/>
                  <a:pt x="606" y="130"/>
                </a:cubicBezTo>
                <a:cubicBezTo>
                  <a:pt x="605" y="130"/>
                  <a:pt x="604" y="131"/>
                  <a:pt x="604" y="131"/>
                </a:cubicBezTo>
                <a:cubicBezTo>
                  <a:pt x="593" y="137"/>
                  <a:pt x="582" y="143"/>
                  <a:pt x="572" y="148"/>
                </a:cubicBezTo>
                <a:cubicBezTo>
                  <a:pt x="571" y="149"/>
                  <a:pt x="569" y="149"/>
                  <a:pt x="568" y="149"/>
                </a:cubicBezTo>
                <a:cubicBezTo>
                  <a:pt x="564" y="146"/>
                  <a:pt x="559" y="144"/>
                  <a:pt x="553" y="144"/>
                </a:cubicBezTo>
                <a:cubicBezTo>
                  <a:pt x="550" y="144"/>
                  <a:pt x="546" y="144"/>
                  <a:pt x="543" y="146"/>
                </a:cubicBezTo>
                <a:cubicBezTo>
                  <a:pt x="542" y="146"/>
                  <a:pt x="540" y="145"/>
                  <a:pt x="539" y="145"/>
                </a:cubicBezTo>
                <a:cubicBezTo>
                  <a:pt x="534" y="140"/>
                  <a:pt x="529" y="136"/>
                  <a:pt x="523" y="131"/>
                </a:cubicBezTo>
                <a:cubicBezTo>
                  <a:pt x="522" y="130"/>
                  <a:pt x="521" y="128"/>
                  <a:pt x="521" y="126"/>
                </a:cubicBezTo>
                <a:cubicBezTo>
                  <a:pt x="522" y="104"/>
                  <a:pt x="522" y="81"/>
                  <a:pt x="523" y="59"/>
                </a:cubicBezTo>
                <a:close/>
                <a:moveTo>
                  <a:pt x="553" y="157"/>
                </a:moveTo>
                <a:cubicBezTo>
                  <a:pt x="559" y="157"/>
                  <a:pt x="564" y="162"/>
                  <a:pt x="564" y="168"/>
                </a:cubicBezTo>
                <a:cubicBezTo>
                  <a:pt x="564" y="174"/>
                  <a:pt x="559" y="179"/>
                  <a:pt x="553" y="179"/>
                </a:cubicBezTo>
                <a:cubicBezTo>
                  <a:pt x="547" y="179"/>
                  <a:pt x="542" y="174"/>
                  <a:pt x="542" y="168"/>
                </a:cubicBezTo>
                <a:cubicBezTo>
                  <a:pt x="542" y="162"/>
                  <a:pt x="547" y="157"/>
                  <a:pt x="553" y="157"/>
                </a:cubicBezTo>
                <a:close/>
                <a:moveTo>
                  <a:pt x="387" y="27"/>
                </a:moveTo>
                <a:cubicBezTo>
                  <a:pt x="387" y="24"/>
                  <a:pt x="388" y="23"/>
                  <a:pt x="391" y="23"/>
                </a:cubicBezTo>
                <a:cubicBezTo>
                  <a:pt x="403" y="25"/>
                  <a:pt x="416" y="25"/>
                  <a:pt x="427" y="34"/>
                </a:cubicBezTo>
                <a:cubicBezTo>
                  <a:pt x="428" y="35"/>
                  <a:pt x="430" y="35"/>
                  <a:pt x="432" y="34"/>
                </a:cubicBezTo>
                <a:cubicBezTo>
                  <a:pt x="439" y="32"/>
                  <a:pt x="446" y="30"/>
                  <a:pt x="454" y="31"/>
                </a:cubicBezTo>
                <a:cubicBezTo>
                  <a:pt x="454" y="42"/>
                  <a:pt x="453" y="52"/>
                  <a:pt x="453" y="63"/>
                </a:cubicBezTo>
                <a:cubicBezTo>
                  <a:pt x="453" y="64"/>
                  <a:pt x="451" y="65"/>
                  <a:pt x="450" y="66"/>
                </a:cubicBezTo>
                <a:cubicBezTo>
                  <a:pt x="440" y="73"/>
                  <a:pt x="430" y="81"/>
                  <a:pt x="419" y="88"/>
                </a:cubicBezTo>
                <a:cubicBezTo>
                  <a:pt x="417" y="90"/>
                  <a:pt x="416" y="92"/>
                  <a:pt x="416" y="95"/>
                </a:cubicBezTo>
                <a:cubicBezTo>
                  <a:pt x="416" y="130"/>
                  <a:pt x="416" y="165"/>
                  <a:pt x="416" y="201"/>
                </a:cubicBezTo>
                <a:cubicBezTo>
                  <a:pt x="416" y="203"/>
                  <a:pt x="416" y="208"/>
                  <a:pt x="416" y="209"/>
                </a:cubicBezTo>
                <a:cubicBezTo>
                  <a:pt x="416" y="209"/>
                  <a:pt x="396" y="188"/>
                  <a:pt x="391" y="182"/>
                </a:cubicBezTo>
                <a:cubicBezTo>
                  <a:pt x="388" y="179"/>
                  <a:pt x="387" y="177"/>
                  <a:pt x="387" y="173"/>
                </a:cubicBezTo>
                <a:cubicBezTo>
                  <a:pt x="387" y="124"/>
                  <a:pt x="387" y="76"/>
                  <a:pt x="387" y="27"/>
                </a:cubicBezTo>
                <a:close/>
                <a:moveTo>
                  <a:pt x="268" y="44"/>
                </a:moveTo>
                <a:cubicBezTo>
                  <a:pt x="275" y="46"/>
                  <a:pt x="283" y="48"/>
                  <a:pt x="291" y="50"/>
                </a:cubicBezTo>
                <a:cubicBezTo>
                  <a:pt x="304" y="35"/>
                  <a:pt x="322" y="31"/>
                  <a:pt x="340" y="28"/>
                </a:cubicBezTo>
                <a:cubicBezTo>
                  <a:pt x="348" y="26"/>
                  <a:pt x="356" y="25"/>
                  <a:pt x="365" y="24"/>
                </a:cubicBezTo>
                <a:cubicBezTo>
                  <a:pt x="367" y="24"/>
                  <a:pt x="369" y="24"/>
                  <a:pt x="372" y="24"/>
                </a:cubicBezTo>
                <a:cubicBezTo>
                  <a:pt x="372" y="26"/>
                  <a:pt x="372" y="28"/>
                  <a:pt x="372" y="30"/>
                </a:cubicBezTo>
                <a:cubicBezTo>
                  <a:pt x="372" y="80"/>
                  <a:pt x="372" y="130"/>
                  <a:pt x="372" y="179"/>
                </a:cubicBezTo>
                <a:cubicBezTo>
                  <a:pt x="372" y="183"/>
                  <a:pt x="373" y="185"/>
                  <a:pt x="375" y="188"/>
                </a:cubicBezTo>
                <a:cubicBezTo>
                  <a:pt x="388" y="201"/>
                  <a:pt x="401" y="214"/>
                  <a:pt x="413" y="227"/>
                </a:cubicBezTo>
                <a:cubicBezTo>
                  <a:pt x="415" y="229"/>
                  <a:pt x="416" y="232"/>
                  <a:pt x="416" y="235"/>
                </a:cubicBezTo>
                <a:cubicBezTo>
                  <a:pt x="416" y="267"/>
                  <a:pt x="416" y="299"/>
                  <a:pt x="416" y="332"/>
                </a:cubicBezTo>
                <a:cubicBezTo>
                  <a:pt x="416" y="351"/>
                  <a:pt x="416" y="371"/>
                  <a:pt x="416" y="390"/>
                </a:cubicBezTo>
                <a:cubicBezTo>
                  <a:pt x="416" y="394"/>
                  <a:pt x="415" y="396"/>
                  <a:pt x="413" y="399"/>
                </a:cubicBezTo>
                <a:cubicBezTo>
                  <a:pt x="405" y="405"/>
                  <a:pt x="398" y="411"/>
                  <a:pt x="391" y="418"/>
                </a:cubicBezTo>
                <a:cubicBezTo>
                  <a:pt x="390" y="419"/>
                  <a:pt x="389" y="419"/>
                  <a:pt x="387" y="421"/>
                </a:cubicBezTo>
                <a:cubicBezTo>
                  <a:pt x="387" y="418"/>
                  <a:pt x="387" y="416"/>
                  <a:pt x="387" y="414"/>
                </a:cubicBezTo>
                <a:cubicBezTo>
                  <a:pt x="387" y="384"/>
                  <a:pt x="387" y="355"/>
                  <a:pt x="387" y="325"/>
                </a:cubicBezTo>
                <a:cubicBezTo>
                  <a:pt x="387" y="321"/>
                  <a:pt x="386" y="318"/>
                  <a:pt x="383" y="316"/>
                </a:cubicBezTo>
                <a:cubicBezTo>
                  <a:pt x="373" y="307"/>
                  <a:pt x="364" y="299"/>
                  <a:pt x="355" y="290"/>
                </a:cubicBezTo>
                <a:cubicBezTo>
                  <a:pt x="354" y="289"/>
                  <a:pt x="352" y="286"/>
                  <a:pt x="352" y="284"/>
                </a:cubicBezTo>
                <a:cubicBezTo>
                  <a:pt x="352" y="272"/>
                  <a:pt x="352" y="261"/>
                  <a:pt x="352" y="249"/>
                </a:cubicBezTo>
                <a:cubicBezTo>
                  <a:pt x="352" y="248"/>
                  <a:pt x="352" y="247"/>
                  <a:pt x="352" y="246"/>
                </a:cubicBezTo>
                <a:cubicBezTo>
                  <a:pt x="362" y="243"/>
                  <a:pt x="369" y="234"/>
                  <a:pt x="369" y="223"/>
                </a:cubicBezTo>
                <a:cubicBezTo>
                  <a:pt x="369" y="210"/>
                  <a:pt x="358" y="199"/>
                  <a:pt x="345" y="199"/>
                </a:cubicBezTo>
                <a:cubicBezTo>
                  <a:pt x="331" y="199"/>
                  <a:pt x="320" y="210"/>
                  <a:pt x="320" y="223"/>
                </a:cubicBezTo>
                <a:cubicBezTo>
                  <a:pt x="320" y="234"/>
                  <a:pt x="327" y="243"/>
                  <a:pt x="337" y="246"/>
                </a:cubicBezTo>
                <a:cubicBezTo>
                  <a:pt x="337" y="248"/>
                  <a:pt x="337" y="249"/>
                  <a:pt x="337" y="251"/>
                </a:cubicBezTo>
                <a:cubicBezTo>
                  <a:pt x="337" y="258"/>
                  <a:pt x="337" y="265"/>
                  <a:pt x="337" y="274"/>
                </a:cubicBezTo>
                <a:cubicBezTo>
                  <a:pt x="326" y="264"/>
                  <a:pt x="316" y="255"/>
                  <a:pt x="306" y="245"/>
                </a:cubicBezTo>
                <a:cubicBezTo>
                  <a:pt x="305" y="244"/>
                  <a:pt x="304" y="241"/>
                  <a:pt x="304" y="238"/>
                </a:cubicBezTo>
                <a:cubicBezTo>
                  <a:pt x="304" y="211"/>
                  <a:pt x="304" y="184"/>
                  <a:pt x="304" y="156"/>
                </a:cubicBezTo>
                <a:cubicBezTo>
                  <a:pt x="304" y="152"/>
                  <a:pt x="303" y="149"/>
                  <a:pt x="300" y="146"/>
                </a:cubicBezTo>
                <a:cubicBezTo>
                  <a:pt x="292" y="139"/>
                  <a:pt x="285" y="131"/>
                  <a:pt x="278" y="123"/>
                </a:cubicBezTo>
                <a:cubicBezTo>
                  <a:pt x="278" y="123"/>
                  <a:pt x="278" y="123"/>
                  <a:pt x="278" y="123"/>
                </a:cubicBezTo>
                <a:cubicBezTo>
                  <a:pt x="280" y="119"/>
                  <a:pt x="281" y="115"/>
                  <a:pt x="281" y="110"/>
                </a:cubicBezTo>
                <a:cubicBezTo>
                  <a:pt x="281" y="100"/>
                  <a:pt x="275" y="91"/>
                  <a:pt x="266" y="88"/>
                </a:cubicBezTo>
                <a:cubicBezTo>
                  <a:pt x="264" y="87"/>
                  <a:pt x="263" y="85"/>
                  <a:pt x="263" y="84"/>
                </a:cubicBezTo>
                <a:cubicBezTo>
                  <a:pt x="263" y="72"/>
                  <a:pt x="263" y="60"/>
                  <a:pt x="262" y="48"/>
                </a:cubicBezTo>
                <a:cubicBezTo>
                  <a:pt x="262" y="44"/>
                  <a:pt x="264" y="43"/>
                  <a:pt x="268" y="44"/>
                </a:cubicBezTo>
                <a:close/>
                <a:moveTo>
                  <a:pt x="337" y="215"/>
                </a:moveTo>
                <a:cubicBezTo>
                  <a:pt x="339" y="213"/>
                  <a:pt x="342" y="212"/>
                  <a:pt x="345" y="212"/>
                </a:cubicBezTo>
                <a:cubicBezTo>
                  <a:pt x="351" y="212"/>
                  <a:pt x="356" y="217"/>
                  <a:pt x="356" y="223"/>
                </a:cubicBezTo>
                <a:cubicBezTo>
                  <a:pt x="356" y="229"/>
                  <a:pt x="351" y="234"/>
                  <a:pt x="345" y="234"/>
                </a:cubicBezTo>
                <a:cubicBezTo>
                  <a:pt x="339" y="234"/>
                  <a:pt x="334" y="230"/>
                  <a:pt x="334" y="224"/>
                </a:cubicBezTo>
                <a:cubicBezTo>
                  <a:pt x="334" y="221"/>
                  <a:pt x="335" y="218"/>
                  <a:pt x="337" y="215"/>
                </a:cubicBezTo>
                <a:close/>
                <a:moveTo>
                  <a:pt x="257" y="121"/>
                </a:moveTo>
                <a:cubicBezTo>
                  <a:pt x="251" y="121"/>
                  <a:pt x="246" y="116"/>
                  <a:pt x="246" y="110"/>
                </a:cubicBezTo>
                <a:cubicBezTo>
                  <a:pt x="246" y="104"/>
                  <a:pt x="251" y="99"/>
                  <a:pt x="257" y="99"/>
                </a:cubicBezTo>
                <a:cubicBezTo>
                  <a:pt x="263" y="99"/>
                  <a:pt x="268" y="104"/>
                  <a:pt x="268" y="110"/>
                </a:cubicBezTo>
                <a:cubicBezTo>
                  <a:pt x="268" y="116"/>
                  <a:pt x="263" y="121"/>
                  <a:pt x="257" y="121"/>
                </a:cubicBezTo>
                <a:close/>
                <a:moveTo>
                  <a:pt x="124" y="403"/>
                </a:moveTo>
                <a:cubicBezTo>
                  <a:pt x="123" y="404"/>
                  <a:pt x="121" y="404"/>
                  <a:pt x="119" y="404"/>
                </a:cubicBezTo>
                <a:cubicBezTo>
                  <a:pt x="90" y="396"/>
                  <a:pt x="69" y="378"/>
                  <a:pt x="55" y="351"/>
                </a:cubicBezTo>
                <a:cubicBezTo>
                  <a:pt x="54" y="350"/>
                  <a:pt x="51" y="344"/>
                  <a:pt x="48" y="337"/>
                </a:cubicBezTo>
                <a:cubicBezTo>
                  <a:pt x="42" y="321"/>
                  <a:pt x="39" y="304"/>
                  <a:pt x="42" y="287"/>
                </a:cubicBezTo>
                <a:cubicBezTo>
                  <a:pt x="43" y="277"/>
                  <a:pt x="41" y="270"/>
                  <a:pt x="37" y="262"/>
                </a:cubicBezTo>
                <a:cubicBezTo>
                  <a:pt x="29" y="244"/>
                  <a:pt x="29" y="226"/>
                  <a:pt x="34" y="207"/>
                </a:cubicBezTo>
                <a:cubicBezTo>
                  <a:pt x="38" y="189"/>
                  <a:pt x="48" y="174"/>
                  <a:pt x="62" y="162"/>
                </a:cubicBezTo>
                <a:cubicBezTo>
                  <a:pt x="66" y="159"/>
                  <a:pt x="72" y="156"/>
                  <a:pt x="76" y="153"/>
                </a:cubicBezTo>
                <a:cubicBezTo>
                  <a:pt x="78" y="151"/>
                  <a:pt x="80" y="149"/>
                  <a:pt x="80" y="148"/>
                </a:cubicBezTo>
                <a:cubicBezTo>
                  <a:pt x="83" y="143"/>
                  <a:pt x="84" y="138"/>
                  <a:pt x="85" y="135"/>
                </a:cubicBezTo>
                <a:cubicBezTo>
                  <a:pt x="96" y="145"/>
                  <a:pt x="107" y="155"/>
                  <a:pt x="118" y="165"/>
                </a:cubicBezTo>
                <a:cubicBezTo>
                  <a:pt x="119" y="165"/>
                  <a:pt x="119" y="166"/>
                  <a:pt x="119" y="166"/>
                </a:cubicBezTo>
                <a:cubicBezTo>
                  <a:pt x="121" y="168"/>
                  <a:pt x="123" y="169"/>
                  <a:pt x="124" y="171"/>
                </a:cubicBezTo>
                <a:cubicBezTo>
                  <a:pt x="123" y="173"/>
                  <a:pt x="122" y="176"/>
                  <a:pt x="122" y="178"/>
                </a:cubicBezTo>
                <a:cubicBezTo>
                  <a:pt x="122" y="185"/>
                  <a:pt x="125" y="191"/>
                  <a:pt x="129" y="195"/>
                </a:cubicBezTo>
                <a:cubicBezTo>
                  <a:pt x="129" y="195"/>
                  <a:pt x="129" y="195"/>
                  <a:pt x="129" y="195"/>
                </a:cubicBezTo>
                <a:cubicBezTo>
                  <a:pt x="130" y="196"/>
                  <a:pt x="130" y="197"/>
                  <a:pt x="131" y="197"/>
                </a:cubicBezTo>
                <a:cubicBezTo>
                  <a:pt x="132" y="198"/>
                  <a:pt x="133" y="199"/>
                  <a:pt x="134" y="200"/>
                </a:cubicBezTo>
                <a:cubicBezTo>
                  <a:pt x="137" y="201"/>
                  <a:pt x="138" y="203"/>
                  <a:pt x="138" y="206"/>
                </a:cubicBezTo>
                <a:cubicBezTo>
                  <a:pt x="137" y="231"/>
                  <a:pt x="137" y="255"/>
                  <a:pt x="137" y="280"/>
                </a:cubicBezTo>
                <a:cubicBezTo>
                  <a:pt x="137" y="283"/>
                  <a:pt x="137" y="313"/>
                  <a:pt x="137" y="321"/>
                </a:cubicBezTo>
                <a:cubicBezTo>
                  <a:pt x="144" y="321"/>
                  <a:pt x="151" y="321"/>
                  <a:pt x="157" y="321"/>
                </a:cubicBezTo>
                <a:cubicBezTo>
                  <a:pt x="160" y="321"/>
                  <a:pt x="162" y="321"/>
                  <a:pt x="164" y="322"/>
                </a:cubicBezTo>
                <a:cubicBezTo>
                  <a:pt x="167" y="329"/>
                  <a:pt x="173" y="336"/>
                  <a:pt x="181" y="338"/>
                </a:cubicBezTo>
                <a:cubicBezTo>
                  <a:pt x="181" y="339"/>
                  <a:pt x="181" y="340"/>
                  <a:pt x="182" y="341"/>
                </a:cubicBezTo>
                <a:cubicBezTo>
                  <a:pt x="182" y="348"/>
                  <a:pt x="180" y="354"/>
                  <a:pt x="174" y="358"/>
                </a:cubicBezTo>
                <a:cubicBezTo>
                  <a:pt x="168" y="362"/>
                  <a:pt x="163" y="367"/>
                  <a:pt x="158" y="372"/>
                </a:cubicBezTo>
                <a:cubicBezTo>
                  <a:pt x="156" y="375"/>
                  <a:pt x="154" y="375"/>
                  <a:pt x="152" y="372"/>
                </a:cubicBezTo>
                <a:cubicBezTo>
                  <a:pt x="137" y="357"/>
                  <a:pt x="121" y="342"/>
                  <a:pt x="106" y="327"/>
                </a:cubicBezTo>
                <a:cubicBezTo>
                  <a:pt x="105" y="326"/>
                  <a:pt x="91" y="310"/>
                  <a:pt x="90" y="307"/>
                </a:cubicBezTo>
                <a:cubicBezTo>
                  <a:pt x="90" y="303"/>
                  <a:pt x="89" y="278"/>
                  <a:pt x="89" y="272"/>
                </a:cubicBezTo>
                <a:cubicBezTo>
                  <a:pt x="99" y="269"/>
                  <a:pt x="106" y="260"/>
                  <a:pt x="106" y="249"/>
                </a:cubicBezTo>
                <a:cubicBezTo>
                  <a:pt x="106" y="238"/>
                  <a:pt x="99" y="229"/>
                  <a:pt x="90" y="226"/>
                </a:cubicBezTo>
                <a:cubicBezTo>
                  <a:pt x="87" y="225"/>
                  <a:pt x="84" y="224"/>
                  <a:pt x="81" y="224"/>
                </a:cubicBezTo>
                <a:cubicBezTo>
                  <a:pt x="76" y="224"/>
                  <a:pt x="71" y="227"/>
                  <a:pt x="67" y="230"/>
                </a:cubicBezTo>
                <a:cubicBezTo>
                  <a:pt x="61" y="234"/>
                  <a:pt x="58" y="241"/>
                  <a:pt x="58" y="249"/>
                </a:cubicBezTo>
                <a:cubicBezTo>
                  <a:pt x="58" y="260"/>
                  <a:pt x="65" y="269"/>
                  <a:pt x="74" y="272"/>
                </a:cubicBezTo>
                <a:cubicBezTo>
                  <a:pt x="74" y="272"/>
                  <a:pt x="74" y="273"/>
                  <a:pt x="74" y="274"/>
                </a:cubicBezTo>
                <a:cubicBezTo>
                  <a:pt x="74" y="287"/>
                  <a:pt x="74" y="297"/>
                  <a:pt x="75" y="310"/>
                </a:cubicBezTo>
                <a:cubicBezTo>
                  <a:pt x="75" y="312"/>
                  <a:pt x="126" y="368"/>
                  <a:pt x="143" y="386"/>
                </a:cubicBezTo>
                <a:cubicBezTo>
                  <a:pt x="137" y="392"/>
                  <a:pt x="131" y="398"/>
                  <a:pt x="124" y="403"/>
                </a:cubicBezTo>
                <a:close/>
                <a:moveTo>
                  <a:pt x="146" y="167"/>
                </a:moveTo>
                <a:cubicBezTo>
                  <a:pt x="153" y="167"/>
                  <a:pt x="157" y="172"/>
                  <a:pt x="157" y="178"/>
                </a:cubicBezTo>
                <a:cubicBezTo>
                  <a:pt x="157" y="184"/>
                  <a:pt x="153" y="189"/>
                  <a:pt x="146" y="189"/>
                </a:cubicBezTo>
                <a:cubicBezTo>
                  <a:pt x="140" y="189"/>
                  <a:pt x="135" y="184"/>
                  <a:pt x="135" y="178"/>
                </a:cubicBezTo>
                <a:cubicBezTo>
                  <a:pt x="135" y="172"/>
                  <a:pt x="140" y="167"/>
                  <a:pt x="146" y="167"/>
                </a:cubicBezTo>
                <a:close/>
                <a:moveTo>
                  <a:pt x="198" y="314"/>
                </a:moveTo>
                <a:cubicBezTo>
                  <a:pt x="198" y="320"/>
                  <a:pt x="194" y="325"/>
                  <a:pt x="187" y="325"/>
                </a:cubicBezTo>
                <a:cubicBezTo>
                  <a:pt x="181" y="325"/>
                  <a:pt x="176" y="320"/>
                  <a:pt x="176" y="314"/>
                </a:cubicBezTo>
                <a:cubicBezTo>
                  <a:pt x="176" y="308"/>
                  <a:pt x="181" y="303"/>
                  <a:pt x="187" y="303"/>
                </a:cubicBezTo>
                <a:cubicBezTo>
                  <a:pt x="194" y="303"/>
                  <a:pt x="198" y="308"/>
                  <a:pt x="198" y="314"/>
                </a:cubicBezTo>
                <a:close/>
                <a:moveTo>
                  <a:pt x="82" y="238"/>
                </a:moveTo>
                <a:cubicBezTo>
                  <a:pt x="88" y="238"/>
                  <a:pt x="93" y="243"/>
                  <a:pt x="93" y="249"/>
                </a:cubicBezTo>
                <a:cubicBezTo>
                  <a:pt x="93" y="255"/>
                  <a:pt x="88" y="260"/>
                  <a:pt x="82" y="260"/>
                </a:cubicBezTo>
                <a:cubicBezTo>
                  <a:pt x="76" y="260"/>
                  <a:pt x="71" y="255"/>
                  <a:pt x="71" y="249"/>
                </a:cubicBezTo>
                <a:cubicBezTo>
                  <a:pt x="71" y="243"/>
                  <a:pt x="76" y="238"/>
                  <a:pt x="82" y="238"/>
                </a:cubicBezTo>
                <a:close/>
                <a:moveTo>
                  <a:pt x="224" y="379"/>
                </a:moveTo>
                <a:cubicBezTo>
                  <a:pt x="222" y="381"/>
                  <a:pt x="221" y="383"/>
                  <a:pt x="221" y="386"/>
                </a:cubicBezTo>
                <a:cubicBezTo>
                  <a:pt x="220" y="406"/>
                  <a:pt x="219" y="426"/>
                  <a:pt x="219" y="446"/>
                </a:cubicBezTo>
                <a:cubicBezTo>
                  <a:pt x="219" y="450"/>
                  <a:pt x="218" y="451"/>
                  <a:pt x="214" y="451"/>
                </a:cubicBezTo>
                <a:cubicBezTo>
                  <a:pt x="189" y="452"/>
                  <a:pt x="161" y="439"/>
                  <a:pt x="152" y="413"/>
                </a:cubicBezTo>
                <a:cubicBezTo>
                  <a:pt x="151" y="409"/>
                  <a:pt x="148" y="408"/>
                  <a:pt x="143" y="408"/>
                </a:cubicBezTo>
                <a:cubicBezTo>
                  <a:pt x="144" y="406"/>
                  <a:pt x="145" y="405"/>
                  <a:pt x="146" y="405"/>
                </a:cubicBezTo>
                <a:cubicBezTo>
                  <a:pt x="162" y="390"/>
                  <a:pt x="178" y="375"/>
                  <a:pt x="193" y="360"/>
                </a:cubicBezTo>
                <a:cubicBezTo>
                  <a:pt x="195" y="359"/>
                  <a:pt x="196" y="356"/>
                  <a:pt x="196" y="354"/>
                </a:cubicBezTo>
                <a:cubicBezTo>
                  <a:pt x="196" y="349"/>
                  <a:pt x="196" y="344"/>
                  <a:pt x="196" y="338"/>
                </a:cubicBezTo>
                <a:cubicBezTo>
                  <a:pt x="196" y="338"/>
                  <a:pt x="196" y="337"/>
                  <a:pt x="196" y="337"/>
                </a:cubicBezTo>
                <a:cubicBezTo>
                  <a:pt x="205" y="333"/>
                  <a:pt x="212" y="325"/>
                  <a:pt x="212" y="314"/>
                </a:cubicBezTo>
                <a:cubicBezTo>
                  <a:pt x="212" y="301"/>
                  <a:pt x="201" y="290"/>
                  <a:pt x="188" y="290"/>
                </a:cubicBezTo>
                <a:cubicBezTo>
                  <a:pt x="177" y="290"/>
                  <a:pt x="168" y="297"/>
                  <a:pt x="165" y="306"/>
                </a:cubicBezTo>
                <a:cubicBezTo>
                  <a:pt x="164" y="306"/>
                  <a:pt x="162" y="306"/>
                  <a:pt x="161" y="306"/>
                </a:cubicBezTo>
                <a:cubicBezTo>
                  <a:pt x="158" y="306"/>
                  <a:pt x="156" y="306"/>
                  <a:pt x="152" y="306"/>
                </a:cubicBezTo>
                <a:cubicBezTo>
                  <a:pt x="152" y="304"/>
                  <a:pt x="152" y="302"/>
                  <a:pt x="152" y="301"/>
                </a:cubicBezTo>
                <a:cubicBezTo>
                  <a:pt x="152" y="269"/>
                  <a:pt x="152" y="238"/>
                  <a:pt x="152" y="207"/>
                </a:cubicBezTo>
                <a:cubicBezTo>
                  <a:pt x="152" y="204"/>
                  <a:pt x="153" y="202"/>
                  <a:pt x="155" y="201"/>
                </a:cubicBezTo>
                <a:cubicBezTo>
                  <a:pt x="164" y="198"/>
                  <a:pt x="171" y="189"/>
                  <a:pt x="171" y="178"/>
                </a:cubicBezTo>
                <a:cubicBezTo>
                  <a:pt x="171" y="165"/>
                  <a:pt x="160" y="154"/>
                  <a:pt x="147" y="154"/>
                </a:cubicBezTo>
                <a:cubicBezTo>
                  <a:pt x="142" y="154"/>
                  <a:pt x="137" y="156"/>
                  <a:pt x="133" y="158"/>
                </a:cubicBezTo>
                <a:cubicBezTo>
                  <a:pt x="121" y="146"/>
                  <a:pt x="109" y="133"/>
                  <a:pt x="97" y="121"/>
                </a:cubicBezTo>
                <a:cubicBezTo>
                  <a:pt x="95" y="119"/>
                  <a:pt x="95" y="118"/>
                  <a:pt x="97" y="116"/>
                </a:cubicBezTo>
                <a:cubicBezTo>
                  <a:pt x="111" y="100"/>
                  <a:pt x="129" y="92"/>
                  <a:pt x="150" y="91"/>
                </a:cubicBezTo>
                <a:cubicBezTo>
                  <a:pt x="152" y="91"/>
                  <a:pt x="154" y="92"/>
                  <a:pt x="156" y="94"/>
                </a:cubicBezTo>
                <a:cubicBezTo>
                  <a:pt x="168" y="106"/>
                  <a:pt x="181" y="118"/>
                  <a:pt x="194" y="130"/>
                </a:cubicBezTo>
                <a:cubicBezTo>
                  <a:pt x="195" y="131"/>
                  <a:pt x="196" y="133"/>
                  <a:pt x="196" y="134"/>
                </a:cubicBezTo>
                <a:cubicBezTo>
                  <a:pt x="197" y="145"/>
                  <a:pt x="198" y="156"/>
                  <a:pt x="199" y="166"/>
                </a:cubicBezTo>
                <a:cubicBezTo>
                  <a:pt x="199" y="177"/>
                  <a:pt x="200" y="187"/>
                  <a:pt x="201" y="198"/>
                </a:cubicBezTo>
                <a:cubicBezTo>
                  <a:pt x="201" y="200"/>
                  <a:pt x="202" y="203"/>
                  <a:pt x="204" y="205"/>
                </a:cubicBezTo>
                <a:cubicBezTo>
                  <a:pt x="217" y="220"/>
                  <a:pt x="230" y="236"/>
                  <a:pt x="244" y="252"/>
                </a:cubicBezTo>
                <a:cubicBezTo>
                  <a:pt x="245" y="253"/>
                  <a:pt x="245" y="254"/>
                  <a:pt x="246" y="255"/>
                </a:cubicBezTo>
                <a:cubicBezTo>
                  <a:pt x="243" y="259"/>
                  <a:pt x="241" y="263"/>
                  <a:pt x="241" y="268"/>
                </a:cubicBezTo>
                <a:cubicBezTo>
                  <a:pt x="241" y="280"/>
                  <a:pt x="249" y="289"/>
                  <a:pt x="259" y="292"/>
                </a:cubicBezTo>
                <a:cubicBezTo>
                  <a:pt x="259" y="292"/>
                  <a:pt x="259" y="292"/>
                  <a:pt x="259" y="292"/>
                </a:cubicBezTo>
                <a:cubicBezTo>
                  <a:pt x="259" y="310"/>
                  <a:pt x="259" y="328"/>
                  <a:pt x="259" y="347"/>
                </a:cubicBezTo>
                <a:cubicBezTo>
                  <a:pt x="259" y="348"/>
                  <a:pt x="258" y="350"/>
                  <a:pt x="257" y="351"/>
                </a:cubicBezTo>
                <a:cubicBezTo>
                  <a:pt x="246" y="361"/>
                  <a:pt x="235" y="370"/>
                  <a:pt x="224" y="379"/>
                </a:cubicBezTo>
                <a:close/>
                <a:moveTo>
                  <a:pt x="276" y="268"/>
                </a:moveTo>
                <a:cubicBezTo>
                  <a:pt x="276" y="274"/>
                  <a:pt x="272" y="279"/>
                  <a:pt x="265" y="279"/>
                </a:cubicBezTo>
                <a:cubicBezTo>
                  <a:pt x="259" y="279"/>
                  <a:pt x="254" y="274"/>
                  <a:pt x="254" y="268"/>
                </a:cubicBezTo>
                <a:cubicBezTo>
                  <a:pt x="254" y="262"/>
                  <a:pt x="259" y="257"/>
                  <a:pt x="265" y="257"/>
                </a:cubicBezTo>
                <a:cubicBezTo>
                  <a:pt x="272" y="257"/>
                  <a:pt x="276" y="262"/>
                  <a:pt x="276" y="268"/>
                </a:cubicBezTo>
                <a:close/>
                <a:moveTo>
                  <a:pt x="310" y="473"/>
                </a:moveTo>
                <a:cubicBezTo>
                  <a:pt x="293" y="475"/>
                  <a:pt x="276" y="475"/>
                  <a:pt x="260" y="468"/>
                </a:cubicBezTo>
                <a:cubicBezTo>
                  <a:pt x="252" y="465"/>
                  <a:pt x="244" y="460"/>
                  <a:pt x="237" y="455"/>
                </a:cubicBezTo>
                <a:cubicBezTo>
                  <a:pt x="235" y="454"/>
                  <a:pt x="234" y="452"/>
                  <a:pt x="234" y="450"/>
                </a:cubicBezTo>
                <a:cubicBezTo>
                  <a:pt x="234" y="431"/>
                  <a:pt x="235" y="412"/>
                  <a:pt x="235" y="393"/>
                </a:cubicBezTo>
                <a:cubicBezTo>
                  <a:pt x="235" y="392"/>
                  <a:pt x="236" y="389"/>
                  <a:pt x="237" y="388"/>
                </a:cubicBezTo>
                <a:cubicBezTo>
                  <a:pt x="244" y="381"/>
                  <a:pt x="252" y="375"/>
                  <a:pt x="260" y="368"/>
                </a:cubicBezTo>
                <a:cubicBezTo>
                  <a:pt x="260" y="371"/>
                  <a:pt x="261" y="373"/>
                  <a:pt x="261" y="374"/>
                </a:cubicBezTo>
                <a:cubicBezTo>
                  <a:pt x="261" y="385"/>
                  <a:pt x="261" y="396"/>
                  <a:pt x="261" y="407"/>
                </a:cubicBezTo>
                <a:cubicBezTo>
                  <a:pt x="261" y="411"/>
                  <a:pt x="263" y="414"/>
                  <a:pt x="265" y="417"/>
                </a:cubicBezTo>
                <a:cubicBezTo>
                  <a:pt x="282" y="434"/>
                  <a:pt x="299" y="451"/>
                  <a:pt x="316" y="469"/>
                </a:cubicBezTo>
                <a:cubicBezTo>
                  <a:pt x="316" y="469"/>
                  <a:pt x="317" y="470"/>
                  <a:pt x="318" y="471"/>
                </a:cubicBezTo>
                <a:cubicBezTo>
                  <a:pt x="315" y="472"/>
                  <a:pt x="312" y="473"/>
                  <a:pt x="310" y="473"/>
                </a:cubicBezTo>
                <a:close/>
                <a:moveTo>
                  <a:pt x="333" y="357"/>
                </a:moveTo>
                <a:cubicBezTo>
                  <a:pt x="340" y="357"/>
                  <a:pt x="344" y="362"/>
                  <a:pt x="344" y="368"/>
                </a:cubicBezTo>
                <a:cubicBezTo>
                  <a:pt x="344" y="374"/>
                  <a:pt x="340" y="379"/>
                  <a:pt x="333" y="379"/>
                </a:cubicBezTo>
                <a:cubicBezTo>
                  <a:pt x="327" y="379"/>
                  <a:pt x="322" y="374"/>
                  <a:pt x="322" y="368"/>
                </a:cubicBezTo>
                <a:cubicBezTo>
                  <a:pt x="322" y="362"/>
                  <a:pt x="327" y="357"/>
                  <a:pt x="333" y="357"/>
                </a:cubicBezTo>
                <a:close/>
                <a:moveTo>
                  <a:pt x="342" y="455"/>
                </a:moveTo>
                <a:cubicBezTo>
                  <a:pt x="342" y="434"/>
                  <a:pt x="342" y="414"/>
                  <a:pt x="342" y="393"/>
                </a:cubicBezTo>
                <a:cubicBezTo>
                  <a:pt x="342" y="392"/>
                  <a:pt x="342" y="391"/>
                  <a:pt x="343" y="390"/>
                </a:cubicBezTo>
                <a:cubicBezTo>
                  <a:pt x="352" y="387"/>
                  <a:pt x="358" y="378"/>
                  <a:pt x="358" y="368"/>
                </a:cubicBezTo>
                <a:cubicBezTo>
                  <a:pt x="358" y="355"/>
                  <a:pt x="347" y="344"/>
                  <a:pt x="334" y="344"/>
                </a:cubicBezTo>
                <a:cubicBezTo>
                  <a:pt x="320" y="344"/>
                  <a:pt x="309" y="355"/>
                  <a:pt x="309" y="368"/>
                </a:cubicBezTo>
                <a:cubicBezTo>
                  <a:pt x="309" y="379"/>
                  <a:pt x="317" y="388"/>
                  <a:pt x="327" y="391"/>
                </a:cubicBezTo>
                <a:cubicBezTo>
                  <a:pt x="327" y="393"/>
                  <a:pt x="328" y="395"/>
                  <a:pt x="327" y="397"/>
                </a:cubicBezTo>
                <a:cubicBezTo>
                  <a:pt x="327" y="415"/>
                  <a:pt x="327" y="434"/>
                  <a:pt x="327" y="452"/>
                </a:cubicBezTo>
                <a:cubicBezTo>
                  <a:pt x="327" y="454"/>
                  <a:pt x="327" y="455"/>
                  <a:pt x="327" y="458"/>
                </a:cubicBezTo>
                <a:cubicBezTo>
                  <a:pt x="325" y="457"/>
                  <a:pt x="324" y="456"/>
                  <a:pt x="324" y="455"/>
                </a:cubicBezTo>
                <a:cubicBezTo>
                  <a:pt x="308" y="440"/>
                  <a:pt x="293" y="424"/>
                  <a:pt x="278" y="409"/>
                </a:cubicBezTo>
                <a:cubicBezTo>
                  <a:pt x="277" y="407"/>
                  <a:pt x="276" y="405"/>
                  <a:pt x="276" y="404"/>
                </a:cubicBezTo>
                <a:cubicBezTo>
                  <a:pt x="276" y="367"/>
                  <a:pt x="275" y="331"/>
                  <a:pt x="274" y="294"/>
                </a:cubicBezTo>
                <a:cubicBezTo>
                  <a:pt x="274" y="293"/>
                  <a:pt x="274" y="292"/>
                  <a:pt x="275" y="291"/>
                </a:cubicBezTo>
                <a:cubicBezTo>
                  <a:pt x="283" y="287"/>
                  <a:pt x="290" y="279"/>
                  <a:pt x="290" y="268"/>
                </a:cubicBezTo>
                <a:cubicBezTo>
                  <a:pt x="290" y="255"/>
                  <a:pt x="279" y="244"/>
                  <a:pt x="266" y="244"/>
                </a:cubicBezTo>
                <a:cubicBezTo>
                  <a:pt x="263" y="244"/>
                  <a:pt x="261" y="245"/>
                  <a:pt x="259" y="245"/>
                </a:cubicBezTo>
                <a:cubicBezTo>
                  <a:pt x="258" y="245"/>
                  <a:pt x="257" y="244"/>
                  <a:pt x="255" y="242"/>
                </a:cubicBezTo>
                <a:cubicBezTo>
                  <a:pt x="243" y="228"/>
                  <a:pt x="230" y="213"/>
                  <a:pt x="217" y="198"/>
                </a:cubicBezTo>
                <a:cubicBezTo>
                  <a:pt x="216" y="197"/>
                  <a:pt x="216" y="195"/>
                  <a:pt x="216" y="194"/>
                </a:cubicBezTo>
                <a:cubicBezTo>
                  <a:pt x="215" y="185"/>
                  <a:pt x="214" y="175"/>
                  <a:pt x="213" y="166"/>
                </a:cubicBezTo>
                <a:cubicBezTo>
                  <a:pt x="212" y="153"/>
                  <a:pt x="211" y="141"/>
                  <a:pt x="210" y="128"/>
                </a:cubicBezTo>
                <a:cubicBezTo>
                  <a:pt x="210" y="126"/>
                  <a:pt x="209" y="124"/>
                  <a:pt x="208" y="123"/>
                </a:cubicBezTo>
                <a:cubicBezTo>
                  <a:pt x="195" y="110"/>
                  <a:pt x="182" y="98"/>
                  <a:pt x="169" y="85"/>
                </a:cubicBezTo>
                <a:cubicBezTo>
                  <a:pt x="168" y="85"/>
                  <a:pt x="168" y="84"/>
                  <a:pt x="167" y="83"/>
                </a:cubicBezTo>
                <a:cubicBezTo>
                  <a:pt x="174" y="77"/>
                  <a:pt x="181" y="71"/>
                  <a:pt x="188" y="66"/>
                </a:cubicBezTo>
                <a:cubicBezTo>
                  <a:pt x="203" y="57"/>
                  <a:pt x="219" y="50"/>
                  <a:pt x="236" y="46"/>
                </a:cubicBezTo>
                <a:cubicBezTo>
                  <a:pt x="248" y="43"/>
                  <a:pt x="248" y="43"/>
                  <a:pt x="248" y="55"/>
                </a:cubicBezTo>
                <a:cubicBezTo>
                  <a:pt x="248" y="65"/>
                  <a:pt x="248" y="74"/>
                  <a:pt x="248" y="83"/>
                </a:cubicBezTo>
                <a:cubicBezTo>
                  <a:pt x="248" y="85"/>
                  <a:pt x="247" y="87"/>
                  <a:pt x="246" y="89"/>
                </a:cubicBezTo>
                <a:cubicBezTo>
                  <a:pt x="238" y="93"/>
                  <a:pt x="233" y="101"/>
                  <a:pt x="233" y="110"/>
                </a:cubicBezTo>
                <a:cubicBezTo>
                  <a:pt x="233" y="124"/>
                  <a:pt x="244" y="135"/>
                  <a:pt x="257" y="135"/>
                </a:cubicBezTo>
                <a:cubicBezTo>
                  <a:pt x="260" y="135"/>
                  <a:pt x="263" y="134"/>
                  <a:pt x="266" y="133"/>
                </a:cubicBezTo>
                <a:cubicBezTo>
                  <a:pt x="274" y="140"/>
                  <a:pt x="281" y="147"/>
                  <a:pt x="288" y="155"/>
                </a:cubicBezTo>
                <a:cubicBezTo>
                  <a:pt x="289" y="156"/>
                  <a:pt x="289" y="159"/>
                  <a:pt x="289" y="162"/>
                </a:cubicBezTo>
                <a:cubicBezTo>
                  <a:pt x="289" y="190"/>
                  <a:pt x="289" y="218"/>
                  <a:pt x="290" y="246"/>
                </a:cubicBezTo>
                <a:cubicBezTo>
                  <a:pt x="290" y="248"/>
                  <a:pt x="291" y="251"/>
                  <a:pt x="292" y="253"/>
                </a:cubicBezTo>
                <a:cubicBezTo>
                  <a:pt x="318" y="277"/>
                  <a:pt x="344" y="300"/>
                  <a:pt x="369" y="324"/>
                </a:cubicBezTo>
                <a:cubicBezTo>
                  <a:pt x="370" y="326"/>
                  <a:pt x="372" y="328"/>
                  <a:pt x="372" y="330"/>
                </a:cubicBezTo>
                <a:cubicBezTo>
                  <a:pt x="372" y="363"/>
                  <a:pt x="372" y="397"/>
                  <a:pt x="372" y="431"/>
                </a:cubicBezTo>
                <a:cubicBezTo>
                  <a:pt x="372" y="433"/>
                  <a:pt x="370" y="436"/>
                  <a:pt x="369" y="437"/>
                </a:cubicBezTo>
                <a:cubicBezTo>
                  <a:pt x="360" y="445"/>
                  <a:pt x="352" y="452"/>
                  <a:pt x="343" y="460"/>
                </a:cubicBezTo>
                <a:cubicBezTo>
                  <a:pt x="343" y="458"/>
                  <a:pt x="342" y="457"/>
                  <a:pt x="342" y="455"/>
                </a:cubicBezTo>
                <a:close/>
                <a:moveTo>
                  <a:pt x="538" y="594"/>
                </a:moveTo>
                <a:cubicBezTo>
                  <a:pt x="537" y="602"/>
                  <a:pt x="530" y="606"/>
                  <a:pt x="522" y="602"/>
                </a:cubicBezTo>
                <a:cubicBezTo>
                  <a:pt x="513" y="598"/>
                  <a:pt x="507" y="591"/>
                  <a:pt x="502" y="584"/>
                </a:cubicBezTo>
                <a:cubicBezTo>
                  <a:pt x="482" y="560"/>
                  <a:pt x="463" y="536"/>
                  <a:pt x="444" y="512"/>
                </a:cubicBezTo>
                <a:cubicBezTo>
                  <a:pt x="442" y="510"/>
                  <a:pt x="440" y="510"/>
                  <a:pt x="438" y="511"/>
                </a:cubicBezTo>
                <a:cubicBezTo>
                  <a:pt x="402" y="518"/>
                  <a:pt x="372" y="508"/>
                  <a:pt x="348" y="482"/>
                </a:cubicBezTo>
                <a:cubicBezTo>
                  <a:pt x="345" y="479"/>
                  <a:pt x="346" y="478"/>
                  <a:pt x="348" y="475"/>
                </a:cubicBezTo>
                <a:cubicBezTo>
                  <a:pt x="375" y="452"/>
                  <a:pt x="401" y="429"/>
                  <a:pt x="427" y="406"/>
                </a:cubicBezTo>
                <a:cubicBezTo>
                  <a:pt x="430" y="403"/>
                  <a:pt x="431" y="401"/>
                  <a:pt x="431" y="397"/>
                </a:cubicBezTo>
                <a:cubicBezTo>
                  <a:pt x="431" y="372"/>
                  <a:pt x="431" y="348"/>
                  <a:pt x="431" y="323"/>
                </a:cubicBezTo>
                <a:cubicBezTo>
                  <a:pt x="431" y="319"/>
                  <a:pt x="432" y="316"/>
                  <a:pt x="435" y="313"/>
                </a:cubicBezTo>
                <a:cubicBezTo>
                  <a:pt x="448" y="302"/>
                  <a:pt x="461" y="291"/>
                  <a:pt x="473" y="280"/>
                </a:cubicBezTo>
                <a:cubicBezTo>
                  <a:pt x="476" y="277"/>
                  <a:pt x="477" y="275"/>
                  <a:pt x="477" y="272"/>
                </a:cubicBezTo>
                <a:cubicBezTo>
                  <a:pt x="477" y="253"/>
                  <a:pt x="477" y="234"/>
                  <a:pt x="477" y="215"/>
                </a:cubicBezTo>
                <a:cubicBezTo>
                  <a:pt x="477" y="213"/>
                  <a:pt x="477" y="212"/>
                  <a:pt x="477" y="210"/>
                </a:cubicBezTo>
                <a:cubicBezTo>
                  <a:pt x="487" y="207"/>
                  <a:pt x="494" y="198"/>
                  <a:pt x="494" y="187"/>
                </a:cubicBezTo>
                <a:cubicBezTo>
                  <a:pt x="494" y="174"/>
                  <a:pt x="483" y="163"/>
                  <a:pt x="470" y="163"/>
                </a:cubicBezTo>
                <a:cubicBezTo>
                  <a:pt x="456" y="163"/>
                  <a:pt x="445" y="174"/>
                  <a:pt x="445" y="187"/>
                </a:cubicBezTo>
                <a:cubicBezTo>
                  <a:pt x="445" y="198"/>
                  <a:pt x="452" y="207"/>
                  <a:pt x="462" y="210"/>
                </a:cubicBezTo>
                <a:cubicBezTo>
                  <a:pt x="462" y="211"/>
                  <a:pt x="462" y="211"/>
                  <a:pt x="462" y="212"/>
                </a:cubicBezTo>
                <a:cubicBezTo>
                  <a:pt x="462" y="230"/>
                  <a:pt x="462" y="248"/>
                  <a:pt x="462" y="266"/>
                </a:cubicBezTo>
                <a:cubicBezTo>
                  <a:pt x="462" y="268"/>
                  <a:pt x="461" y="271"/>
                  <a:pt x="459" y="272"/>
                </a:cubicBezTo>
                <a:cubicBezTo>
                  <a:pt x="451" y="280"/>
                  <a:pt x="442" y="287"/>
                  <a:pt x="434" y="295"/>
                </a:cubicBezTo>
                <a:cubicBezTo>
                  <a:pt x="433" y="295"/>
                  <a:pt x="433" y="295"/>
                  <a:pt x="431" y="296"/>
                </a:cubicBezTo>
                <a:cubicBezTo>
                  <a:pt x="431" y="294"/>
                  <a:pt x="431" y="292"/>
                  <a:pt x="431" y="291"/>
                </a:cubicBezTo>
                <a:cubicBezTo>
                  <a:pt x="431" y="229"/>
                  <a:pt x="431" y="166"/>
                  <a:pt x="431" y="104"/>
                </a:cubicBezTo>
                <a:cubicBezTo>
                  <a:pt x="431" y="99"/>
                  <a:pt x="432" y="97"/>
                  <a:pt x="436" y="94"/>
                </a:cubicBezTo>
                <a:cubicBezTo>
                  <a:pt x="446" y="88"/>
                  <a:pt x="455" y="81"/>
                  <a:pt x="465" y="74"/>
                </a:cubicBezTo>
                <a:cubicBezTo>
                  <a:pt x="466" y="73"/>
                  <a:pt x="467" y="70"/>
                  <a:pt x="467" y="68"/>
                </a:cubicBezTo>
                <a:cubicBezTo>
                  <a:pt x="468" y="57"/>
                  <a:pt x="469" y="45"/>
                  <a:pt x="469" y="34"/>
                </a:cubicBezTo>
                <a:cubicBezTo>
                  <a:pt x="469" y="33"/>
                  <a:pt x="469" y="32"/>
                  <a:pt x="470" y="30"/>
                </a:cubicBezTo>
                <a:cubicBezTo>
                  <a:pt x="483" y="32"/>
                  <a:pt x="495" y="34"/>
                  <a:pt x="509" y="36"/>
                </a:cubicBezTo>
                <a:cubicBezTo>
                  <a:pt x="509" y="39"/>
                  <a:pt x="509" y="41"/>
                  <a:pt x="509" y="43"/>
                </a:cubicBezTo>
                <a:cubicBezTo>
                  <a:pt x="508" y="73"/>
                  <a:pt x="507" y="102"/>
                  <a:pt x="507" y="131"/>
                </a:cubicBezTo>
                <a:cubicBezTo>
                  <a:pt x="506" y="135"/>
                  <a:pt x="508" y="138"/>
                  <a:pt x="510" y="140"/>
                </a:cubicBezTo>
                <a:cubicBezTo>
                  <a:pt x="516" y="145"/>
                  <a:pt x="523" y="150"/>
                  <a:pt x="529" y="155"/>
                </a:cubicBezTo>
                <a:cubicBezTo>
                  <a:pt x="530" y="156"/>
                  <a:pt x="530" y="157"/>
                  <a:pt x="531" y="158"/>
                </a:cubicBezTo>
                <a:cubicBezTo>
                  <a:pt x="530" y="161"/>
                  <a:pt x="529" y="164"/>
                  <a:pt x="529" y="168"/>
                </a:cubicBezTo>
                <a:cubicBezTo>
                  <a:pt x="529" y="179"/>
                  <a:pt x="536" y="188"/>
                  <a:pt x="546" y="191"/>
                </a:cubicBezTo>
                <a:cubicBezTo>
                  <a:pt x="546" y="191"/>
                  <a:pt x="546" y="192"/>
                  <a:pt x="546" y="192"/>
                </a:cubicBezTo>
                <a:cubicBezTo>
                  <a:pt x="546" y="208"/>
                  <a:pt x="546" y="223"/>
                  <a:pt x="546" y="238"/>
                </a:cubicBezTo>
                <a:cubicBezTo>
                  <a:pt x="546" y="241"/>
                  <a:pt x="545" y="243"/>
                  <a:pt x="543" y="244"/>
                </a:cubicBezTo>
                <a:cubicBezTo>
                  <a:pt x="530" y="252"/>
                  <a:pt x="518" y="260"/>
                  <a:pt x="505" y="267"/>
                </a:cubicBezTo>
                <a:cubicBezTo>
                  <a:pt x="502" y="269"/>
                  <a:pt x="501" y="271"/>
                  <a:pt x="501" y="275"/>
                </a:cubicBezTo>
                <a:cubicBezTo>
                  <a:pt x="501" y="316"/>
                  <a:pt x="501" y="356"/>
                  <a:pt x="501" y="396"/>
                </a:cubicBezTo>
                <a:cubicBezTo>
                  <a:pt x="501" y="400"/>
                  <a:pt x="500" y="402"/>
                  <a:pt x="496" y="404"/>
                </a:cubicBezTo>
                <a:cubicBezTo>
                  <a:pt x="487" y="409"/>
                  <a:pt x="479" y="414"/>
                  <a:pt x="470" y="419"/>
                </a:cubicBezTo>
                <a:cubicBezTo>
                  <a:pt x="469" y="420"/>
                  <a:pt x="467" y="423"/>
                  <a:pt x="467" y="425"/>
                </a:cubicBezTo>
                <a:cubicBezTo>
                  <a:pt x="467" y="449"/>
                  <a:pt x="467" y="473"/>
                  <a:pt x="467" y="498"/>
                </a:cubicBezTo>
                <a:cubicBezTo>
                  <a:pt x="467" y="499"/>
                  <a:pt x="468" y="501"/>
                  <a:pt x="469" y="503"/>
                </a:cubicBezTo>
                <a:cubicBezTo>
                  <a:pt x="470" y="505"/>
                  <a:pt x="471" y="506"/>
                  <a:pt x="473" y="507"/>
                </a:cubicBezTo>
                <a:cubicBezTo>
                  <a:pt x="476" y="511"/>
                  <a:pt x="479" y="514"/>
                  <a:pt x="480" y="518"/>
                </a:cubicBezTo>
                <a:cubicBezTo>
                  <a:pt x="480" y="520"/>
                  <a:pt x="479" y="522"/>
                  <a:pt x="479" y="524"/>
                </a:cubicBezTo>
                <a:cubicBezTo>
                  <a:pt x="479" y="529"/>
                  <a:pt x="481" y="533"/>
                  <a:pt x="483" y="537"/>
                </a:cubicBezTo>
                <a:cubicBezTo>
                  <a:pt x="485" y="540"/>
                  <a:pt x="488" y="543"/>
                  <a:pt x="492" y="545"/>
                </a:cubicBezTo>
                <a:cubicBezTo>
                  <a:pt x="492" y="545"/>
                  <a:pt x="492" y="545"/>
                  <a:pt x="492" y="545"/>
                </a:cubicBezTo>
                <a:cubicBezTo>
                  <a:pt x="492" y="545"/>
                  <a:pt x="492" y="545"/>
                  <a:pt x="492" y="545"/>
                </a:cubicBezTo>
                <a:cubicBezTo>
                  <a:pt x="496" y="547"/>
                  <a:pt x="499" y="548"/>
                  <a:pt x="504" y="548"/>
                </a:cubicBezTo>
                <a:cubicBezTo>
                  <a:pt x="505" y="548"/>
                  <a:pt x="506" y="548"/>
                  <a:pt x="507" y="548"/>
                </a:cubicBezTo>
                <a:cubicBezTo>
                  <a:pt x="509" y="548"/>
                  <a:pt x="510" y="550"/>
                  <a:pt x="512" y="551"/>
                </a:cubicBezTo>
                <a:cubicBezTo>
                  <a:pt x="519" y="560"/>
                  <a:pt x="526" y="568"/>
                  <a:pt x="533" y="576"/>
                </a:cubicBezTo>
                <a:cubicBezTo>
                  <a:pt x="538" y="581"/>
                  <a:pt x="539" y="587"/>
                  <a:pt x="538" y="594"/>
                </a:cubicBezTo>
                <a:close/>
                <a:moveTo>
                  <a:pt x="470" y="176"/>
                </a:moveTo>
                <a:cubicBezTo>
                  <a:pt x="476" y="176"/>
                  <a:pt x="481" y="181"/>
                  <a:pt x="481" y="187"/>
                </a:cubicBezTo>
                <a:cubicBezTo>
                  <a:pt x="481" y="193"/>
                  <a:pt x="476" y="198"/>
                  <a:pt x="470" y="198"/>
                </a:cubicBezTo>
                <a:cubicBezTo>
                  <a:pt x="463" y="198"/>
                  <a:pt x="459" y="193"/>
                  <a:pt x="459" y="187"/>
                </a:cubicBezTo>
                <a:cubicBezTo>
                  <a:pt x="459" y="181"/>
                  <a:pt x="463" y="176"/>
                  <a:pt x="470" y="176"/>
                </a:cubicBezTo>
                <a:close/>
                <a:moveTo>
                  <a:pt x="514" y="524"/>
                </a:moveTo>
                <a:cubicBezTo>
                  <a:pt x="514" y="530"/>
                  <a:pt x="510" y="535"/>
                  <a:pt x="503" y="535"/>
                </a:cubicBezTo>
                <a:cubicBezTo>
                  <a:pt x="497" y="535"/>
                  <a:pt x="492" y="530"/>
                  <a:pt x="492" y="524"/>
                </a:cubicBezTo>
                <a:cubicBezTo>
                  <a:pt x="492" y="518"/>
                  <a:pt x="497" y="513"/>
                  <a:pt x="503" y="513"/>
                </a:cubicBezTo>
                <a:cubicBezTo>
                  <a:pt x="510" y="513"/>
                  <a:pt x="514" y="518"/>
                  <a:pt x="514" y="524"/>
                </a:cubicBezTo>
                <a:close/>
                <a:moveTo>
                  <a:pt x="667" y="512"/>
                </a:moveTo>
                <a:cubicBezTo>
                  <a:pt x="652" y="532"/>
                  <a:pt x="632" y="547"/>
                  <a:pt x="609" y="557"/>
                </a:cubicBezTo>
                <a:cubicBezTo>
                  <a:pt x="589" y="564"/>
                  <a:pt x="568" y="567"/>
                  <a:pt x="547" y="567"/>
                </a:cubicBezTo>
                <a:cubicBezTo>
                  <a:pt x="546" y="567"/>
                  <a:pt x="544" y="565"/>
                  <a:pt x="543" y="564"/>
                </a:cubicBezTo>
                <a:cubicBezTo>
                  <a:pt x="536" y="557"/>
                  <a:pt x="529" y="549"/>
                  <a:pt x="523" y="541"/>
                </a:cubicBezTo>
                <a:cubicBezTo>
                  <a:pt x="522" y="541"/>
                  <a:pt x="522" y="540"/>
                  <a:pt x="522" y="540"/>
                </a:cubicBezTo>
                <a:cubicBezTo>
                  <a:pt x="526" y="535"/>
                  <a:pt x="528" y="530"/>
                  <a:pt x="528" y="524"/>
                </a:cubicBezTo>
                <a:cubicBezTo>
                  <a:pt x="528" y="522"/>
                  <a:pt x="528" y="520"/>
                  <a:pt x="527" y="519"/>
                </a:cubicBezTo>
                <a:cubicBezTo>
                  <a:pt x="540" y="508"/>
                  <a:pt x="552" y="497"/>
                  <a:pt x="565" y="487"/>
                </a:cubicBezTo>
                <a:cubicBezTo>
                  <a:pt x="567" y="485"/>
                  <a:pt x="569" y="485"/>
                  <a:pt x="571" y="485"/>
                </a:cubicBezTo>
                <a:cubicBezTo>
                  <a:pt x="607" y="484"/>
                  <a:pt x="643" y="483"/>
                  <a:pt x="680" y="483"/>
                </a:cubicBezTo>
                <a:cubicBezTo>
                  <a:pt x="680" y="483"/>
                  <a:pt x="681" y="483"/>
                  <a:pt x="684" y="483"/>
                </a:cubicBezTo>
                <a:cubicBezTo>
                  <a:pt x="678" y="493"/>
                  <a:pt x="673" y="503"/>
                  <a:pt x="667" y="512"/>
                </a:cubicBezTo>
                <a:close/>
                <a:moveTo>
                  <a:pt x="565" y="343"/>
                </a:moveTo>
                <a:cubicBezTo>
                  <a:pt x="572" y="343"/>
                  <a:pt x="576" y="348"/>
                  <a:pt x="576" y="354"/>
                </a:cubicBezTo>
                <a:cubicBezTo>
                  <a:pt x="576" y="360"/>
                  <a:pt x="572" y="365"/>
                  <a:pt x="565" y="365"/>
                </a:cubicBezTo>
                <a:cubicBezTo>
                  <a:pt x="559" y="365"/>
                  <a:pt x="554" y="360"/>
                  <a:pt x="554" y="354"/>
                </a:cubicBezTo>
                <a:cubicBezTo>
                  <a:pt x="554" y="348"/>
                  <a:pt x="559" y="343"/>
                  <a:pt x="565" y="343"/>
                </a:cubicBezTo>
                <a:close/>
                <a:moveTo>
                  <a:pt x="690" y="462"/>
                </a:moveTo>
                <a:cubicBezTo>
                  <a:pt x="689" y="466"/>
                  <a:pt x="688" y="468"/>
                  <a:pt x="683" y="468"/>
                </a:cubicBezTo>
                <a:cubicBezTo>
                  <a:pt x="655" y="468"/>
                  <a:pt x="627" y="469"/>
                  <a:pt x="599" y="469"/>
                </a:cubicBezTo>
                <a:cubicBezTo>
                  <a:pt x="592" y="469"/>
                  <a:pt x="584" y="470"/>
                  <a:pt x="576" y="470"/>
                </a:cubicBezTo>
                <a:cubicBezTo>
                  <a:pt x="573" y="470"/>
                  <a:pt x="572" y="469"/>
                  <a:pt x="572" y="466"/>
                </a:cubicBezTo>
                <a:cubicBezTo>
                  <a:pt x="571" y="462"/>
                  <a:pt x="572" y="429"/>
                  <a:pt x="573" y="427"/>
                </a:cubicBezTo>
                <a:cubicBezTo>
                  <a:pt x="585" y="409"/>
                  <a:pt x="605" y="386"/>
                  <a:pt x="618" y="369"/>
                </a:cubicBezTo>
                <a:cubicBezTo>
                  <a:pt x="620" y="367"/>
                  <a:pt x="621" y="364"/>
                  <a:pt x="621" y="362"/>
                </a:cubicBezTo>
                <a:cubicBezTo>
                  <a:pt x="621" y="355"/>
                  <a:pt x="621" y="347"/>
                  <a:pt x="621" y="340"/>
                </a:cubicBezTo>
                <a:cubicBezTo>
                  <a:pt x="621" y="340"/>
                  <a:pt x="621" y="340"/>
                  <a:pt x="621" y="339"/>
                </a:cubicBezTo>
                <a:cubicBezTo>
                  <a:pt x="631" y="337"/>
                  <a:pt x="639" y="327"/>
                  <a:pt x="639" y="316"/>
                </a:cubicBezTo>
                <a:cubicBezTo>
                  <a:pt x="639" y="304"/>
                  <a:pt x="630" y="294"/>
                  <a:pt x="618" y="292"/>
                </a:cubicBezTo>
                <a:cubicBezTo>
                  <a:pt x="617" y="292"/>
                  <a:pt x="615" y="291"/>
                  <a:pt x="613" y="292"/>
                </a:cubicBezTo>
                <a:cubicBezTo>
                  <a:pt x="604" y="292"/>
                  <a:pt x="598" y="296"/>
                  <a:pt x="594" y="303"/>
                </a:cubicBezTo>
                <a:cubicBezTo>
                  <a:pt x="592" y="307"/>
                  <a:pt x="590" y="311"/>
                  <a:pt x="590" y="316"/>
                </a:cubicBezTo>
                <a:cubicBezTo>
                  <a:pt x="590" y="326"/>
                  <a:pt x="597" y="335"/>
                  <a:pt x="606" y="339"/>
                </a:cubicBezTo>
                <a:cubicBezTo>
                  <a:pt x="606" y="339"/>
                  <a:pt x="606" y="339"/>
                  <a:pt x="606" y="339"/>
                </a:cubicBezTo>
                <a:cubicBezTo>
                  <a:pt x="606" y="339"/>
                  <a:pt x="606" y="340"/>
                  <a:pt x="606" y="340"/>
                </a:cubicBezTo>
                <a:cubicBezTo>
                  <a:pt x="606" y="361"/>
                  <a:pt x="606" y="361"/>
                  <a:pt x="592" y="379"/>
                </a:cubicBezTo>
                <a:cubicBezTo>
                  <a:pt x="587" y="386"/>
                  <a:pt x="581" y="393"/>
                  <a:pt x="576" y="401"/>
                </a:cubicBezTo>
                <a:cubicBezTo>
                  <a:pt x="575" y="402"/>
                  <a:pt x="574" y="403"/>
                  <a:pt x="572" y="405"/>
                </a:cubicBezTo>
                <a:cubicBezTo>
                  <a:pt x="572" y="402"/>
                  <a:pt x="572" y="401"/>
                  <a:pt x="572" y="400"/>
                </a:cubicBezTo>
                <a:cubicBezTo>
                  <a:pt x="572" y="396"/>
                  <a:pt x="572" y="391"/>
                  <a:pt x="572" y="387"/>
                </a:cubicBezTo>
                <a:cubicBezTo>
                  <a:pt x="571" y="383"/>
                  <a:pt x="572" y="380"/>
                  <a:pt x="573" y="377"/>
                </a:cubicBezTo>
                <a:cubicBezTo>
                  <a:pt x="583" y="374"/>
                  <a:pt x="590" y="365"/>
                  <a:pt x="590" y="354"/>
                </a:cubicBezTo>
                <a:cubicBezTo>
                  <a:pt x="590" y="341"/>
                  <a:pt x="579" y="330"/>
                  <a:pt x="566" y="330"/>
                </a:cubicBezTo>
                <a:cubicBezTo>
                  <a:pt x="552" y="330"/>
                  <a:pt x="541" y="341"/>
                  <a:pt x="541" y="354"/>
                </a:cubicBezTo>
                <a:cubicBezTo>
                  <a:pt x="541" y="364"/>
                  <a:pt x="548" y="373"/>
                  <a:pt x="557" y="376"/>
                </a:cubicBezTo>
                <a:cubicBezTo>
                  <a:pt x="557" y="378"/>
                  <a:pt x="557" y="379"/>
                  <a:pt x="557" y="381"/>
                </a:cubicBezTo>
                <a:cubicBezTo>
                  <a:pt x="557" y="402"/>
                  <a:pt x="557" y="424"/>
                  <a:pt x="557" y="446"/>
                </a:cubicBezTo>
                <a:cubicBezTo>
                  <a:pt x="557" y="448"/>
                  <a:pt x="557" y="471"/>
                  <a:pt x="558" y="472"/>
                </a:cubicBezTo>
                <a:cubicBezTo>
                  <a:pt x="558" y="475"/>
                  <a:pt x="536" y="494"/>
                  <a:pt x="520" y="506"/>
                </a:cubicBezTo>
                <a:cubicBezTo>
                  <a:pt x="516" y="502"/>
                  <a:pt x="510" y="500"/>
                  <a:pt x="504" y="500"/>
                </a:cubicBezTo>
                <a:cubicBezTo>
                  <a:pt x="498" y="500"/>
                  <a:pt x="494" y="501"/>
                  <a:pt x="490" y="504"/>
                </a:cubicBezTo>
                <a:cubicBezTo>
                  <a:pt x="488" y="502"/>
                  <a:pt x="486" y="500"/>
                  <a:pt x="484" y="497"/>
                </a:cubicBezTo>
                <a:cubicBezTo>
                  <a:pt x="483" y="496"/>
                  <a:pt x="482" y="494"/>
                  <a:pt x="482" y="492"/>
                </a:cubicBezTo>
                <a:cubicBezTo>
                  <a:pt x="482" y="472"/>
                  <a:pt x="482" y="453"/>
                  <a:pt x="482" y="433"/>
                </a:cubicBezTo>
                <a:cubicBezTo>
                  <a:pt x="482" y="431"/>
                  <a:pt x="484" y="429"/>
                  <a:pt x="485" y="428"/>
                </a:cubicBezTo>
                <a:cubicBezTo>
                  <a:pt x="494" y="422"/>
                  <a:pt x="503" y="417"/>
                  <a:pt x="512" y="412"/>
                </a:cubicBezTo>
                <a:cubicBezTo>
                  <a:pt x="515" y="411"/>
                  <a:pt x="515" y="409"/>
                  <a:pt x="515" y="406"/>
                </a:cubicBezTo>
                <a:cubicBezTo>
                  <a:pt x="515" y="367"/>
                  <a:pt x="516" y="328"/>
                  <a:pt x="515" y="290"/>
                </a:cubicBezTo>
                <a:cubicBezTo>
                  <a:pt x="515" y="281"/>
                  <a:pt x="518" y="277"/>
                  <a:pt x="525" y="273"/>
                </a:cubicBezTo>
                <a:cubicBezTo>
                  <a:pt x="537" y="267"/>
                  <a:pt x="547" y="259"/>
                  <a:pt x="558" y="253"/>
                </a:cubicBezTo>
                <a:cubicBezTo>
                  <a:pt x="559" y="252"/>
                  <a:pt x="560" y="250"/>
                  <a:pt x="560" y="248"/>
                </a:cubicBezTo>
                <a:cubicBezTo>
                  <a:pt x="560" y="233"/>
                  <a:pt x="560" y="218"/>
                  <a:pt x="560" y="203"/>
                </a:cubicBezTo>
                <a:cubicBezTo>
                  <a:pt x="560" y="201"/>
                  <a:pt x="560" y="199"/>
                  <a:pt x="560" y="196"/>
                </a:cubicBezTo>
                <a:cubicBezTo>
                  <a:pt x="560" y="194"/>
                  <a:pt x="560" y="193"/>
                  <a:pt x="561" y="191"/>
                </a:cubicBezTo>
                <a:cubicBezTo>
                  <a:pt x="570" y="188"/>
                  <a:pt x="577" y="179"/>
                  <a:pt x="577" y="168"/>
                </a:cubicBezTo>
                <a:cubicBezTo>
                  <a:pt x="577" y="166"/>
                  <a:pt x="577" y="165"/>
                  <a:pt x="577" y="163"/>
                </a:cubicBezTo>
                <a:cubicBezTo>
                  <a:pt x="577" y="163"/>
                  <a:pt x="578" y="162"/>
                  <a:pt x="578" y="162"/>
                </a:cubicBezTo>
                <a:cubicBezTo>
                  <a:pt x="587" y="157"/>
                  <a:pt x="595" y="153"/>
                  <a:pt x="604" y="148"/>
                </a:cubicBezTo>
                <a:cubicBezTo>
                  <a:pt x="604" y="148"/>
                  <a:pt x="605" y="148"/>
                  <a:pt x="606" y="148"/>
                </a:cubicBezTo>
                <a:cubicBezTo>
                  <a:pt x="606" y="150"/>
                  <a:pt x="606" y="152"/>
                  <a:pt x="606" y="153"/>
                </a:cubicBezTo>
                <a:cubicBezTo>
                  <a:pt x="606" y="175"/>
                  <a:pt x="606" y="197"/>
                  <a:pt x="606" y="218"/>
                </a:cubicBezTo>
                <a:cubicBezTo>
                  <a:pt x="606" y="222"/>
                  <a:pt x="607" y="224"/>
                  <a:pt x="610" y="226"/>
                </a:cubicBezTo>
                <a:cubicBezTo>
                  <a:pt x="626" y="236"/>
                  <a:pt x="641" y="246"/>
                  <a:pt x="656" y="256"/>
                </a:cubicBezTo>
                <a:cubicBezTo>
                  <a:pt x="657" y="257"/>
                  <a:pt x="658" y="257"/>
                  <a:pt x="658" y="258"/>
                </a:cubicBezTo>
                <a:cubicBezTo>
                  <a:pt x="657" y="261"/>
                  <a:pt x="656" y="265"/>
                  <a:pt x="656" y="268"/>
                </a:cubicBezTo>
                <a:cubicBezTo>
                  <a:pt x="656" y="279"/>
                  <a:pt x="663" y="288"/>
                  <a:pt x="673" y="291"/>
                </a:cubicBezTo>
                <a:cubicBezTo>
                  <a:pt x="673" y="291"/>
                  <a:pt x="673" y="291"/>
                  <a:pt x="673" y="291"/>
                </a:cubicBezTo>
                <a:cubicBezTo>
                  <a:pt x="673" y="323"/>
                  <a:pt x="672" y="355"/>
                  <a:pt x="673" y="387"/>
                </a:cubicBezTo>
                <a:cubicBezTo>
                  <a:pt x="673" y="390"/>
                  <a:pt x="674" y="393"/>
                  <a:pt x="675" y="395"/>
                </a:cubicBezTo>
                <a:cubicBezTo>
                  <a:pt x="681" y="402"/>
                  <a:pt x="687" y="409"/>
                  <a:pt x="692" y="416"/>
                </a:cubicBezTo>
                <a:cubicBezTo>
                  <a:pt x="693" y="417"/>
                  <a:pt x="694" y="419"/>
                  <a:pt x="694" y="420"/>
                </a:cubicBezTo>
                <a:cubicBezTo>
                  <a:pt x="695" y="435"/>
                  <a:pt x="694" y="449"/>
                  <a:pt x="690" y="462"/>
                </a:cubicBezTo>
                <a:close/>
                <a:moveTo>
                  <a:pt x="614" y="305"/>
                </a:moveTo>
                <a:cubicBezTo>
                  <a:pt x="621" y="305"/>
                  <a:pt x="625" y="310"/>
                  <a:pt x="625" y="316"/>
                </a:cubicBezTo>
                <a:cubicBezTo>
                  <a:pt x="625" y="322"/>
                  <a:pt x="621" y="327"/>
                  <a:pt x="614" y="327"/>
                </a:cubicBezTo>
                <a:cubicBezTo>
                  <a:pt x="608" y="327"/>
                  <a:pt x="603" y="322"/>
                  <a:pt x="603" y="316"/>
                </a:cubicBezTo>
                <a:cubicBezTo>
                  <a:pt x="603" y="310"/>
                  <a:pt x="608" y="305"/>
                  <a:pt x="614" y="305"/>
                </a:cubicBezTo>
                <a:close/>
                <a:moveTo>
                  <a:pt x="691" y="268"/>
                </a:moveTo>
                <a:cubicBezTo>
                  <a:pt x="691" y="274"/>
                  <a:pt x="687" y="279"/>
                  <a:pt x="680" y="279"/>
                </a:cubicBezTo>
                <a:cubicBezTo>
                  <a:pt x="674" y="279"/>
                  <a:pt x="669" y="274"/>
                  <a:pt x="669" y="268"/>
                </a:cubicBezTo>
                <a:cubicBezTo>
                  <a:pt x="669" y="262"/>
                  <a:pt x="674" y="257"/>
                  <a:pt x="680" y="257"/>
                </a:cubicBezTo>
                <a:cubicBezTo>
                  <a:pt x="687" y="257"/>
                  <a:pt x="691" y="262"/>
                  <a:pt x="691" y="268"/>
                </a:cubicBezTo>
                <a:close/>
                <a:moveTo>
                  <a:pt x="753" y="362"/>
                </a:moveTo>
                <a:cubicBezTo>
                  <a:pt x="746" y="384"/>
                  <a:pt x="730" y="399"/>
                  <a:pt x="708" y="406"/>
                </a:cubicBezTo>
                <a:cubicBezTo>
                  <a:pt x="705" y="407"/>
                  <a:pt x="704" y="407"/>
                  <a:pt x="702" y="405"/>
                </a:cubicBezTo>
                <a:cubicBezTo>
                  <a:pt x="698" y="399"/>
                  <a:pt x="694" y="394"/>
                  <a:pt x="690" y="389"/>
                </a:cubicBezTo>
                <a:cubicBezTo>
                  <a:pt x="688" y="387"/>
                  <a:pt x="687" y="384"/>
                  <a:pt x="687" y="381"/>
                </a:cubicBezTo>
                <a:cubicBezTo>
                  <a:pt x="687" y="351"/>
                  <a:pt x="688" y="321"/>
                  <a:pt x="688" y="291"/>
                </a:cubicBezTo>
                <a:cubicBezTo>
                  <a:pt x="698" y="288"/>
                  <a:pt x="705" y="279"/>
                  <a:pt x="705" y="268"/>
                </a:cubicBezTo>
                <a:cubicBezTo>
                  <a:pt x="705" y="260"/>
                  <a:pt x="701" y="253"/>
                  <a:pt x="696" y="249"/>
                </a:cubicBezTo>
                <a:cubicBezTo>
                  <a:pt x="689" y="243"/>
                  <a:pt x="680" y="241"/>
                  <a:pt x="671" y="245"/>
                </a:cubicBezTo>
                <a:cubicBezTo>
                  <a:pt x="670" y="245"/>
                  <a:pt x="667" y="245"/>
                  <a:pt x="666" y="244"/>
                </a:cubicBezTo>
                <a:cubicBezTo>
                  <a:pt x="652" y="236"/>
                  <a:pt x="639" y="227"/>
                  <a:pt x="625" y="218"/>
                </a:cubicBezTo>
                <a:cubicBezTo>
                  <a:pt x="622" y="216"/>
                  <a:pt x="621" y="214"/>
                  <a:pt x="621" y="210"/>
                </a:cubicBezTo>
                <a:cubicBezTo>
                  <a:pt x="621" y="195"/>
                  <a:pt x="621" y="179"/>
                  <a:pt x="621" y="164"/>
                </a:cubicBezTo>
                <a:cubicBezTo>
                  <a:pt x="621" y="159"/>
                  <a:pt x="621" y="154"/>
                  <a:pt x="621" y="149"/>
                </a:cubicBezTo>
                <a:cubicBezTo>
                  <a:pt x="621" y="149"/>
                  <a:pt x="621" y="140"/>
                  <a:pt x="621" y="130"/>
                </a:cubicBezTo>
                <a:cubicBezTo>
                  <a:pt x="621" y="130"/>
                  <a:pt x="621" y="129"/>
                  <a:pt x="621" y="129"/>
                </a:cubicBezTo>
                <a:cubicBezTo>
                  <a:pt x="621" y="129"/>
                  <a:pt x="621" y="129"/>
                  <a:pt x="621" y="129"/>
                </a:cubicBezTo>
                <a:cubicBezTo>
                  <a:pt x="622" y="114"/>
                  <a:pt x="622" y="94"/>
                  <a:pt x="622" y="92"/>
                </a:cubicBezTo>
                <a:cubicBezTo>
                  <a:pt x="629" y="96"/>
                  <a:pt x="647" y="106"/>
                  <a:pt x="657" y="113"/>
                </a:cubicBezTo>
                <a:cubicBezTo>
                  <a:pt x="662" y="116"/>
                  <a:pt x="666" y="119"/>
                  <a:pt x="670" y="123"/>
                </a:cubicBezTo>
                <a:cubicBezTo>
                  <a:pt x="679" y="131"/>
                  <a:pt x="687" y="141"/>
                  <a:pt x="693" y="152"/>
                </a:cubicBezTo>
                <a:cubicBezTo>
                  <a:pt x="698" y="164"/>
                  <a:pt x="699" y="176"/>
                  <a:pt x="694" y="188"/>
                </a:cubicBezTo>
                <a:cubicBezTo>
                  <a:pt x="698" y="190"/>
                  <a:pt x="702" y="191"/>
                  <a:pt x="706" y="194"/>
                </a:cubicBezTo>
                <a:cubicBezTo>
                  <a:pt x="718" y="201"/>
                  <a:pt x="726" y="212"/>
                  <a:pt x="733" y="224"/>
                </a:cubicBezTo>
                <a:cubicBezTo>
                  <a:pt x="746" y="245"/>
                  <a:pt x="751" y="267"/>
                  <a:pt x="745" y="292"/>
                </a:cubicBezTo>
                <a:cubicBezTo>
                  <a:pt x="744" y="294"/>
                  <a:pt x="745" y="296"/>
                  <a:pt x="746" y="298"/>
                </a:cubicBezTo>
                <a:cubicBezTo>
                  <a:pt x="761" y="318"/>
                  <a:pt x="761" y="340"/>
                  <a:pt x="753" y="362"/>
                </a:cubicBezTo>
                <a:close/>
              </a:path>
            </a:pathLst>
          </a:custGeom>
          <a:solidFill>
            <a:srgbClr val="18F9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grpSp>
        <p:nvGrpSpPr>
          <p:cNvPr id="20" name="Group 19">
            <a:extLst>
              <a:ext uri="{FF2B5EF4-FFF2-40B4-BE49-F238E27FC236}">
                <a16:creationId xmlns:a16="http://schemas.microsoft.com/office/drawing/2014/main" id="{5FD9C912-DD73-5ADC-D2B2-811BC0414B54}"/>
              </a:ext>
            </a:extLst>
          </p:cNvPr>
          <p:cNvGrpSpPr>
            <a:grpSpLocks noChangeAspect="1"/>
          </p:cNvGrpSpPr>
          <p:nvPr/>
        </p:nvGrpSpPr>
        <p:grpSpPr>
          <a:xfrm>
            <a:off x="7212745" y="1151169"/>
            <a:ext cx="681150" cy="685800"/>
            <a:chOff x="5792011" y="441208"/>
            <a:chExt cx="671063" cy="675644"/>
          </a:xfrm>
        </p:grpSpPr>
        <p:sp>
          <p:nvSpPr>
            <p:cNvPr id="21" name="Oval 64">
              <a:extLst>
                <a:ext uri="{FF2B5EF4-FFF2-40B4-BE49-F238E27FC236}">
                  <a16:creationId xmlns:a16="http://schemas.microsoft.com/office/drawing/2014/main" id="{56B660C1-905B-9163-B0E0-917F205F1BA1}"/>
                </a:ext>
              </a:extLst>
            </p:cNvPr>
            <p:cNvSpPr>
              <a:spLocks noChangeArrowheads="1"/>
            </p:cNvSpPr>
            <p:nvPr/>
          </p:nvSpPr>
          <p:spPr bwMode="auto">
            <a:xfrm>
              <a:off x="5792011" y="441208"/>
              <a:ext cx="671063" cy="675644"/>
            </a:xfrm>
            <a:prstGeom prst="ellipse">
              <a:avLst/>
            </a:prstGeom>
            <a:solidFill>
              <a:srgbClr val="00B0F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22" name="Freeform 65">
              <a:extLst>
                <a:ext uri="{FF2B5EF4-FFF2-40B4-BE49-F238E27FC236}">
                  <a16:creationId xmlns:a16="http://schemas.microsoft.com/office/drawing/2014/main" id="{9FD78A6D-8F61-D02A-9228-D3A6391636E7}"/>
                </a:ext>
              </a:extLst>
            </p:cNvPr>
            <p:cNvSpPr>
              <a:spLocks/>
            </p:cNvSpPr>
            <p:nvPr/>
          </p:nvSpPr>
          <p:spPr bwMode="auto">
            <a:xfrm>
              <a:off x="6206558" y="641610"/>
              <a:ext cx="140855" cy="142000"/>
            </a:xfrm>
            <a:custGeom>
              <a:avLst/>
              <a:gdLst>
                <a:gd name="T0" fmla="*/ 56 w 113"/>
                <a:gd name="T1" fmla="*/ 0 h 113"/>
                <a:gd name="T2" fmla="*/ 113 w 113"/>
                <a:gd name="T3" fmla="*/ 57 h 113"/>
                <a:gd name="T4" fmla="*/ 57 w 113"/>
                <a:gd name="T5" fmla="*/ 113 h 113"/>
                <a:gd name="T6" fmla="*/ 0 w 113"/>
                <a:gd name="T7" fmla="*/ 57 h 113"/>
                <a:gd name="T8" fmla="*/ 56 w 113"/>
                <a:gd name="T9" fmla="*/ 0 h 113"/>
              </a:gdLst>
              <a:ahLst/>
              <a:cxnLst>
                <a:cxn ang="0">
                  <a:pos x="T0" y="T1"/>
                </a:cxn>
                <a:cxn ang="0">
                  <a:pos x="T2" y="T3"/>
                </a:cxn>
                <a:cxn ang="0">
                  <a:pos x="T4" y="T5"/>
                </a:cxn>
                <a:cxn ang="0">
                  <a:pos x="T6" y="T7"/>
                </a:cxn>
                <a:cxn ang="0">
                  <a:pos x="T8" y="T9"/>
                </a:cxn>
              </a:cxnLst>
              <a:rect l="0" t="0" r="r" b="b"/>
              <a:pathLst>
                <a:path w="113" h="113">
                  <a:moveTo>
                    <a:pt x="56" y="0"/>
                  </a:moveTo>
                  <a:cubicBezTo>
                    <a:pt x="88" y="0"/>
                    <a:pt x="113" y="26"/>
                    <a:pt x="113" y="57"/>
                  </a:cubicBezTo>
                  <a:cubicBezTo>
                    <a:pt x="113" y="88"/>
                    <a:pt x="88" y="113"/>
                    <a:pt x="57" y="113"/>
                  </a:cubicBezTo>
                  <a:cubicBezTo>
                    <a:pt x="25" y="113"/>
                    <a:pt x="0" y="88"/>
                    <a:pt x="0" y="57"/>
                  </a:cubicBezTo>
                  <a:cubicBezTo>
                    <a:pt x="0" y="25"/>
                    <a:pt x="25" y="0"/>
                    <a:pt x="5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23" name="Freeform 66">
              <a:extLst>
                <a:ext uri="{FF2B5EF4-FFF2-40B4-BE49-F238E27FC236}">
                  <a16:creationId xmlns:a16="http://schemas.microsoft.com/office/drawing/2014/main" id="{B0FF6237-9A1F-DF14-FBD1-6C3A24B79966}"/>
                </a:ext>
              </a:extLst>
            </p:cNvPr>
            <p:cNvSpPr>
              <a:spLocks/>
            </p:cNvSpPr>
            <p:nvPr/>
          </p:nvSpPr>
          <p:spPr bwMode="auto">
            <a:xfrm>
              <a:off x="6190526" y="795062"/>
              <a:ext cx="168339" cy="127112"/>
            </a:xfrm>
            <a:custGeom>
              <a:avLst/>
              <a:gdLst>
                <a:gd name="T0" fmla="*/ 69 w 135"/>
                <a:gd name="T1" fmla="*/ 96 h 101"/>
                <a:gd name="T2" fmla="*/ 18 w 135"/>
                <a:gd name="T3" fmla="*/ 96 h 101"/>
                <a:gd name="T4" fmla="*/ 7 w 135"/>
                <a:gd name="T5" fmla="*/ 91 h 101"/>
                <a:gd name="T6" fmla="*/ 34 w 135"/>
                <a:gd name="T7" fmla="*/ 16 h 101"/>
                <a:gd name="T8" fmla="*/ 96 w 135"/>
                <a:gd name="T9" fmla="*/ 11 h 101"/>
                <a:gd name="T10" fmla="*/ 131 w 135"/>
                <a:gd name="T11" fmla="*/ 69 h 101"/>
                <a:gd name="T12" fmla="*/ 105 w 135"/>
                <a:gd name="T13" fmla="*/ 96 h 101"/>
                <a:gd name="T14" fmla="*/ 69 w 135"/>
                <a:gd name="T15" fmla="*/ 96 h 1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101">
                  <a:moveTo>
                    <a:pt x="69" y="96"/>
                  </a:moveTo>
                  <a:cubicBezTo>
                    <a:pt x="52" y="96"/>
                    <a:pt x="35" y="96"/>
                    <a:pt x="18" y="96"/>
                  </a:cubicBezTo>
                  <a:cubicBezTo>
                    <a:pt x="14" y="95"/>
                    <a:pt x="9" y="97"/>
                    <a:pt x="7" y="91"/>
                  </a:cubicBezTo>
                  <a:cubicBezTo>
                    <a:pt x="0" y="65"/>
                    <a:pt x="12" y="31"/>
                    <a:pt x="34" y="16"/>
                  </a:cubicBezTo>
                  <a:cubicBezTo>
                    <a:pt x="54" y="2"/>
                    <a:pt x="75" y="0"/>
                    <a:pt x="96" y="11"/>
                  </a:cubicBezTo>
                  <a:cubicBezTo>
                    <a:pt x="119" y="23"/>
                    <a:pt x="131" y="43"/>
                    <a:pt x="131" y="69"/>
                  </a:cubicBezTo>
                  <a:cubicBezTo>
                    <a:pt x="132" y="101"/>
                    <a:pt x="135" y="95"/>
                    <a:pt x="105" y="96"/>
                  </a:cubicBezTo>
                  <a:cubicBezTo>
                    <a:pt x="93" y="96"/>
                    <a:pt x="81" y="96"/>
                    <a:pt x="69"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24" name="Freeform 67">
              <a:extLst>
                <a:ext uri="{FF2B5EF4-FFF2-40B4-BE49-F238E27FC236}">
                  <a16:creationId xmlns:a16="http://schemas.microsoft.com/office/drawing/2014/main" id="{5AF3D4A4-DA17-EF41-C7CF-3CD7EC3409C8}"/>
                </a:ext>
              </a:extLst>
            </p:cNvPr>
            <p:cNvSpPr>
              <a:spLocks/>
            </p:cNvSpPr>
            <p:nvPr/>
          </p:nvSpPr>
          <p:spPr bwMode="auto">
            <a:xfrm>
              <a:off x="6047381" y="669094"/>
              <a:ext cx="129403" cy="127112"/>
            </a:xfrm>
            <a:custGeom>
              <a:avLst/>
              <a:gdLst>
                <a:gd name="T0" fmla="*/ 51 w 103"/>
                <a:gd name="T1" fmla="*/ 0 h 101"/>
                <a:gd name="T2" fmla="*/ 102 w 103"/>
                <a:gd name="T3" fmla="*/ 51 h 101"/>
                <a:gd name="T4" fmla="*/ 52 w 103"/>
                <a:gd name="T5" fmla="*/ 101 h 101"/>
                <a:gd name="T6" fmla="*/ 1 w 103"/>
                <a:gd name="T7" fmla="*/ 51 h 101"/>
                <a:gd name="T8" fmla="*/ 51 w 103"/>
                <a:gd name="T9" fmla="*/ 0 h 101"/>
              </a:gdLst>
              <a:ahLst/>
              <a:cxnLst>
                <a:cxn ang="0">
                  <a:pos x="T0" y="T1"/>
                </a:cxn>
                <a:cxn ang="0">
                  <a:pos x="T2" y="T3"/>
                </a:cxn>
                <a:cxn ang="0">
                  <a:pos x="T4" y="T5"/>
                </a:cxn>
                <a:cxn ang="0">
                  <a:pos x="T6" y="T7"/>
                </a:cxn>
                <a:cxn ang="0">
                  <a:pos x="T8" y="T9"/>
                </a:cxn>
              </a:cxnLst>
              <a:rect l="0" t="0" r="r" b="b"/>
              <a:pathLst>
                <a:path w="103" h="101">
                  <a:moveTo>
                    <a:pt x="51" y="0"/>
                  </a:moveTo>
                  <a:cubicBezTo>
                    <a:pt x="80" y="0"/>
                    <a:pt x="102" y="22"/>
                    <a:pt x="102" y="51"/>
                  </a:cubicBezTo>
                  <a:cubicBezTo>
                    <a:pt x="103" y="79"/>
                    <a:pt x="80" y="101"/>
                    <a:pt x="52" y="101"/>
                  </a:cubicBezTo>
                  <a:cubicBezTo>
                    <a:pt x="24" y="101"/>
                    <a:pt x="1" y="79"/>
                    <a:pt x="1" y="51"/>
                  </a:cubicBezTo>
                  <a:cubicBezTo>
                    <a:pt x="0" y="23"/>
                    <a:pt x="23" y="0"/>
                    <a:pt x="5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25" name="Freeform 68">
              <a:extLst>
                <a:ext uri="{FF2B5EF4-FFF2-40B4-BE49-F238E27FC236}">
                  <a16:creationId xmlns:a16="http://schemas.microsoft.com/office/drawing/2014/main" id="{A7B5B826-8099-621D-E33C-139F6F9870D7}"/>
                </a:ext>
              </a:extLst>
            </p:cNvPr>
            <p:cNvSpPr>
              <a:spLocks/>
            </p:cNvSpPr>
            <p:nvPr/>
          </p:nvSpPr>
          <p:spPr bwMode="auto">
            <a:xfrm>
              <a:off x="6032494" y="801933"/>
              <a:ext cx="153451" cy="114516"/>
            </a:xfrm>
            <a:custGeom>
              <a:avLst/>
              <a:gdLst>
                <a:gd name="T0" fmla="*/ 63 w 123"/>
                <a:gd name="T1" fmla="*/ 91 h 91"/>
                <a:gd name="T2" fmla="*/ 18 w 123"/>
                <a:gd name="T3" fmla="*/ 91 h 91"/>
                <a:gd name="T4" fmla="*/ 7 w 123"/>
                <a:gd name="T5" fmla="*/ 85 h 91"/>
                <a:gd name="T6" fmla="*/ 45 w 123"/>
                <a:gd name="T7" fmla="*/ 12 h 91"/>
                <a:gd name="T8" fmla="*/ 119 w 123"/>
                <a:gd name="T9" fmla="*/ 57 h 91"/>
                <a:gd name="T10" fmla="*/ 90 w 123"/>
                <a:gd name="T11" fmla="*/ 91 h 91"/>
                <a:gd name="T12" fmla="*/ 63 w 123"/>
                <a:gd name="T13" fmla="*/ 91 h 91"/>
              </a:gdLst>
              <a:ahLst/>
              <a:cxnLst>
                <a:cxn ang="0">
                  <a:pos x="T0" y="T1"/>
                </a:cxn>
                <a:cxn ang="0">
                  <a:pos x="T2" y="T3"/>
                </a:cxn>
                <a:cxn ang="0">
                  <a:pos x="T4" y="T5"/>
                </a:cxn>
                <a:cxn ang="0">
                  <a:pos x="T6" y="T7"/>
                </a:cxn>
                <a:cxn ang="0">
                  <a:pos x="T8" y="T9"/>
                </a:cxn>
                <a:cxn ang="0">
                  <a:pos x="T10" y="T11"/>
                </a:cxn>
                <a:cxn ang="0">
                  <a:pos x="T12" y="T13"/>
                </a:cxn>
              </a:cxnLst>
              <a:rect l="0" t="0" r="r" b="b"/>
              <a:pathLst>
                <a:path w="123" h="91">
                  <a:moveTo>
                    <a:pt x="63" y="91"/>
                  </a:moveTo>
                  <a:cubicBezTo>
                    <a:pt x="48" y="91"/>
                    <a:pt x="32" y="91"/>
                    <a:pt x="18" y="91"/>
                  </a:cubicBezTo>
                  <a:cubicBezTo>
                    <a:pt x="13" y="91"/>
                    <a:pt x="9" y="91"/>
                    <a:pt x="7" y="85"/>
                  </a:cubicBezTo>
                  <a:cubicBezTo>
                    <a:pt x="0" y="58"/>
                    <a:pt x="18" y="22"/>
                    <a:pt x="45" y="12"/>
                  </a:cubicBezTo>
                  <a:cubicBezTo>
                    <a:pt x="77" y="0"/>
                    <a:pt x="114" y="23"/>
                    <a:pt x="119" y="57"/>
                  </a:cubicBezTo>
                  <a:cubicBezTo>
                    <a:pt x="123" y="91"/>
                    <a:pt x="123" y="91"/>
                    <a:pt x="90" y="91"/>
                  </a:cubicBezTo>
                  <a:cubicBezTo>
                    <a:pt x="81" y="91"/>
                    <a:pt x="72" y="91"/>
                    <a:pt x="63" y="9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26" name="Freeform 69">
              <a:extLst>
                <a:ext uri="{FF2B5EF4-FFF2-40B4-BE49-F238E27FC236}">
                  <a16:creationId xmlns:a16="http://schemas.microsoft.com/office/drawing/2014/main" id="{E414F178-7686-F6FF-2D2D-EEEEEC3D2F8A}"/>
                </a:ext>
              </a:extLst>
            </p:cNvPr>
            <p:cNvSpPr>
              <a:spLocks/>
            </p:cNvSpPr>
            <p:nvPr/>
          </p:nvSpPr>
          <p:spPr bwMode="auto">
            <a:xfrm>
              <a:off x="5905381" y="693143"/>
              <a:ext cx="113371" cy="115661"/>
            </a:xfrm>
            <a:custGeom>
              <a:avLst/>
              <a:gdLst>
                <a:gd name="T0" fmla="*/ 91 w 91"/>
                <a:gd name="T1" fmla="*/ 46 h 92"/>
                <a:gd name="T2" fmla="*/ 46 w 91"/>
                <a:gd name="T3" fmla="*/ 92 h 92"/>
                <a:gd name="T4" fmla="*/ 0 w 91"/>
                <a:gd name="T5" fmla="*/ 46 h 92"/>
                <a:gd name="T6" fmla="*/ 46 w 91"/>
                <a:gd name="T7" fmla="*/ 1 h 92"/>
                <a:gd name="T8" fmla="*/ 91 w 91"/>
                <a:gd name="T9" fmla="*/ 46 h 92"/>
              </a:gdLst>
              <a:ahLst/>
              <a:cxnLst>
                <a:cxn ang="0">
                  <a:pos x="T0" y="T1"/>
                </a:cxn>
                <a:cxn ang="0">
                  <a:pos x="T2" y="T3"/>
                </a:cxn>
                <a:cxn ang="0">
                  <a:pos x="T4" y="T5"/>
                </a:cxn>
                <a:cxn ang="0">
                  <a:pos x="T6" y="T7"/>
                </a:cxn>
                <a:cxn ang="0">
                  <a:pos x="T8" y="T9"/>
                </a:cxn>
              </a:cxnLst>
              <a:rect l="0" t="0" r="r" b="b"/>
              <a:pathLst>
                <a:path w="91" h="92">
                  <a:moveTo>
                    <a:pt x="91" y="46"/>
                  </a:moveTo>
                  <a:cubicBezTo>
                    <a:pt x="91" y="72"/>
                    <a:pt x="71" y="92"/>
                    <a:pt x="46" y="92"/>
                  </a:cubicBezTo>
                  <a:cubicBezTo>
                    <a:pt x="20" y="92"/>
                    <a:pt x="0" y="71"/>
                    <a:pt x="0" y="46"/>
                  </a:cubicBezTo>
                  <a:cubicBezTo>
                    <a:pt x="0" y="21"/>
                    <a:pt x="21" y="1"/>
                    <a:pt x="46" y="1"/>
                  </a:cubicBezTo>
                  <a:cubicBezTo>
                    <a:pt x="71" y="0"/>
                    <a:pt x="91" y="21"/>
                    <a:pt x="91" y="4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27" name="Freeform 70">
              <a:extLst>
                <a:ext uri="{FF2B5EF4-FFF2-40B4-BE49-F238E27FC236}">
                  <a16:creationId xmlns:a16="http://schemas.microsoft.com/office/drawing/2014/main" id="{99D4EB90-E3C7-8A58-1272-CDB240A7FBA5}"/>
                </a:ext>
              </a:extLst>
            </p:cNvPr>
            <p:cNvSpPr>
              <a:spLocks/>
            </p:cNvSpPr>
            <p:nvPr/>
          </p:nvSpPr>
          <p:spPr bwMode="auto">
            <a:xfrm>
              <a:off x="5898510" y="817965"/>
              <a:ext cx="131694" cy="98484"/>
            </a:xfrm>
            <a:custGeom>
              <a:avLst/>
              <a:gdLst>
                <a:gd name="T0" fmla="*/ 51 w 105"/>
                <a:gd name="T1" fmla="*/ 78 h 78"/>
                <a:gd name="T2" fmla="*/ 11 w 105"/>
                <a:gd name="T3" fmla="*/ 78 h 78"/>
                <a:gd name="T4" fmla="*/ 0 w 105"/>
                <a:gd name="T5" fmla="*/ 67 h 78"/>
                <a:gd name="T6" fmla="*/ 14 w 105"/>
                <a:gd name="T7" fmla="*/ 21 h 78"/>
                <a:gd name="T8" fmla="*/ 65 w 105"/>
                <a:gd name="T9" fmla="*/ 6 h 78"/>
                <a:gd name="T10" fmla="*/ 101 w 105"/>
                <a:gd name="T11" fmla="*/ 49 h 78"/>
                <a:gd name="T12" fmla="*/ 76 w 105"/>
                <a:gd name="T13" fmla="*/ 78 h 78"/>
                <a:gd name="T14" fmla="*/ 51 w 105"/>
                <a:gd name="T15" fmla="*/ 78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78">
                  <a:moveTo>
                    <a:pt x="51" y="78"/>
                  </a:moveTo>
                  <a:cubicBezTo>
                    <a:pt x="38" y="78"/>
                    <a:pt x="25" y="77"/>
                    <a:pt x="11" y="78"/>
                  </a:cubicBezTo>
                  <a:cubicBezTo>
                    <a:pt x="2" y="78"/>
                    <a:pt x="0" y="75"/>
                    <a:pt x="0" y="67"/>
                  </a:cubicBezTo>
                  <a:cubicBezTo>
                    <a:pt x="0" y="50"/>
                    <a:pt x="2" y="34"/>
                    <a:pt x="14" y="21"/>
                  </a:cubicBezTo>
                  <a:cubicBezTo>
                    <a:pt x="28" y="6"/>
                    <a:pt x="45" y="0"/>
                    <a:pt x="65" y="6"/>
                  </a:cubicBezTo>
                  <a:cubicBezTo>
                    <a:pt x="86" y="13"/>
                    <a:pt x="98" y="28"/>
                    <a:pt x="101" y="49"/>
                  </a:cubicBezTo>
                  <a:cubicBezTo>
                    <a:pt x="105" y="77"/>
                    <a:pt x="104" y="78"/>
                    <a:pt x="76" y="78"/>
                  </a:cubicBezTo>
                  <a:cubicBezTo>
                    <a:pt x="67" y="78"/>
                    <a:pt x="59" y="78"/>
                    <a:pt x="51" y="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grpSp>
      <p:grpSp>
        <p:nvGrpSpPr>
          <p:cNvPr id="28" name="Group 27">
            <a:extLst>
              <a:ext uri="{FF2B5EF4-FFF2-40B4-BE49-F238E27FC236}">
                <a16:creationId xmlns:a16="http://schemas.microsoft.com/office/drawing/2014/main" id="{A19A091A-8D29-D949-81B3-742DD0D42E68}"/>
              </a:ext>
            </a:extLst>
          </p:cNvPr>
          <p:cNvGrpSpPr>
            <a:grpSpLocks noChangeAspect="1"/>
          </p:cNvGrpSpPr>
          <p:nvPr/>
        </p:nvGrpSpPr>
        <p:grpSpPr>
          <a:xfrm>
            <a:off x="6681900" y="4051729"/>
            <a:ext cx="681150" cy="685800"/>
            <a:chOff x="7163932" y="4339575"/>
            <a:chExt cx="671063" cy="675644"/>
          </a:xfrm>
        </p:grpSpPr>
        <p:sp>
          <p:nvSpPr>
            <p:cNvPr id="29" name="Oval 64">
              <a:extLst>
                <a:ext uri="{FF2B5EF4-FFF2-40B4-BE49-F238E27FC236}">
                  <a16:creationId xmlns:a16="http://schemas.microsoft.com/office/drawing/2014/main" id="{39406546-D552-3C17-2263-5C3ED6A7D8A5}"/>
                </a:ext>
              </a:extLst>
            </p:cNvPr>
            <p:cNvSpPr>
              <a:spLocks noChangeArrowheads="1"/>
            </p:cNvSpPr>
            <p:nvPr/>
          </p:nvSpPr>
          <p:spPr bwMode="auto">
            <a:xfrm>
              <a:off x="7163932" y="4339575"/>
              <a:ext cx="671063" cy="675644"/>
            </a:xfrm>
            <a:prstGeom prst="ellipse">
              <a:avLst/>
            </a:prstGeom>
            <a:solidFill>
              <a:srgbClr val="92D05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30" name="Freeform 65">
              <a:extLst>
                <a:ext uri="{FF2B5EF4-FFF2-40B4-BE49-F238E27FC236}">
                  <a16:creationId xmlns:a16="http://schemas.microsoft.com/office/drawing/2014/main" id="{C8B139E0-21B1-2C56-21A4-06137FB47AA3}"/>
                </a:ext>
              </a:extLst>
            </p:cNvPr>
            <p:cNvSpPr>
              <a:spLocks/>
            </p:cNvSpPr>
            <p:nvPr/>
          </p:nvSpPr>
          <p:spPr bwMode="auto">
            <a:xfrm>
              <a:off x="7578479" y="4539977"/>
              <a:ext cx="140855" cy="142000"/>
            </a:xfrm>
            <a:custGeom>
              <a:avLst/>
              <a:gdLst>
                <a:gd name="T0" fmla="*/ 56 w 113"/>
                <a:gd name="T1" fmla="*/ 0 h 113"/>
                <a:gd name="T2" fmla="*/ 113 w 113"/>
                <a:gd name="T3" fmla="*/ 57 h 113"/>
                <a:gd name="T4" fmla="*/ 57 w 113"/>
                <a:gd name="T5" fmla="*/ 113 h 113"/>
                <a:gd name="T6" fmla="*/ 0 w 113"/>
                <a:gd name="T7" fmla="*/ 57 h 113"/>
                <a:gd name="T8" fmla="*/ 56 w 113"/>
                <a:gd name="T9" fmla="*/ 0 h 113"/>
              </a:gdLst>
              <a:ahLst/>
              <a:cxnLst>
                <a:cxn ang="0">
                  <a:pos x="T0" y="T1"/>
                </a:cxn>
                <a:cxn ang="0">
                  <a:pos x="T2" y="T3"/>
                </a:cxn>
                <a:cxn ang="0">
                  <a:pos x="T4" y="T5"/>
                </a:cxn>
                <a:cxn ang="0">
                  <a:pos x="T6" y="T7"/>
                </a:cxn>
                <a:cxn ang="0">
                  <a:pos x="T8" y="T9"/>
                </a:cxn>
              </a:cxnLst>
              <a:rect l="0" t="0" r="r" b="b"/>
              <a:pathLst>
                <a:path w="113" h="113">
                  <a:moveTo>
                    <a:pt x="56" y="0"/>
                  </a:moveTo>
                  <a:cubicBezTo>
                    <a:pt x="88" y="0"/>
                    <a:pt x="113" y="26"/>
                    <a:pt x="113" y="57"/>
                  </a:cubicBezTo>
                  <a:cubicBezTo>
                    <a:pt x="113" y="88"/>
                    <a:pt x="88" y="113"/>
                    <a:pt x="57" y="113"/>
                  </a:cubicBezTo>
                  <a:cubicBezTo>
                    <a:pt x="25" y="113"/>
                    <a:pt x="0" y="88"/>
                    <a:pt x="0" y="57"/>
                  </a:cubicBezTo>
                  <a:cubicBezTo>
                    <a:pt x="0" y="25"/>
                    <a:pt x="25" y="0"/>
                    <a:pt x="5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31" name="Freeform 66">
              <a:extLst>
                <a:ext uri="{FF2B5EF4-FFF2-40B4-BE49-F238E27FC236}">
                  <a16:creationId xmlns:a16="http://schemas.microsoft.com/office/drawing/2014/main" id="{1D388F5B-5738-D543-51C7-DA1878FBBDDF}"/>
                </a:ext>
              </a:extLst>
            </p:cNvPr>
            <p:cNvSpPr>
              <a:spLocks/>
            </p:cNvSpPr>
            <p:nvPr/>
          </p:nvSpPr>
          <p:spPr bwMode="auto">
            <a:xfrm>
              <a:off x="7562447" y="4693429"/>
              <a:ext cx="168339" cy="127112"/>
            </a:xfrm>
            <a:custGeom>
              <a:avLst/>
              <a:gdLst>
                <a:gd name="T0" fmla="*/ 69 w 135"/>
                <a:gd name="T1" fmla="*/ 96 h 101"/>
                <a:gd name="T2" fmla="*/ 18 w 135"/>
                <a:gd name="T3" fmla="*/ 96 h 101"/>
                <a:gd name="T4" fmla="*/ 7 w 135"/>
                <a:gd name="T5" fmla="*/ 91 h 101"/>
                <a:gd name="T6" fmla="*/ 34 w 135"/>
                <a:gd name="T7" fmla="*/ 16 h 101"/>
                <a:gd name="T8" fmla="*/ 96 w 135"/>
                <a:gd name="T9" fmla="*/ 11 h 101"/>
                <a:gd name="T10" fmla="*/ 131 w 135"/>
                <a:gd name="T11" fmla="*/ 69 h 101"/>
                <a:gd name="T12" fmla="*/ 105 w 135"/>
                <a:gd name="T13" fmla="*/ 96 h 101"/>
                <a:gd name="T14" fmla="*/ 69 w 135"/>
                <a:gd name="T15" fmla="*/ 96 h 1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101">
                  <a:moveTo>
                    <a:pt x="69" y="96"/>
                  </a:moveTo>
                  <a:cubicBezTo>
                    <a:pt x="52" y="96"/>
                    <a:pt x="35" y="96"/>
                    <a:pt x="18" y="96"/>
                  </a:cubicBezTo>
                  <a:cubicBezTo>
                    <a:pt x="14" y="95"/>
                    <a:pt x="9" y="97"/>
                    <a:pt x="7" y="91"/>
                  </a:cubicBezTo>
                  <a:cubicBezTo>
                    <a:pt x="0" y="65"/>
                    <a:pt x="12" y="31"/>
                    <a:pt x="34" y="16"/>
                  </a:cubicBezTo>
                  <a:cubicBezTo>
                    <a:pt x="54" y="2"/>
                    <a:pt x="75" y="0"/>
                    <a:pt x="96" y="11"/>
                  </a:cubicBezTo>
                  <a:cubicBezTo>
                    <a:pt x="119" y="23"/>
                    <a:pt x="131" y="43"/>
                    <a:pt x="131" y="69"/>
                  </a:cubicBezTo>
                  <a:cubicBezTo>
                    <a:pt x="132" y="101"/>
                    <a:pt x="135" y="95"/>
                    <a:pt x="105" y="96"/>
                  </a:cubicBezTo>
                  <a:cubicBezTo>
                    <a:pt x="93" y="96"/>
                    <a:pt x="81" y="96"/>
                    <a:pt x="69"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32" name="Freeform 67">
              <a:extLst>
                <a:ext uri="{FF2B5EF4-FFF2-40B4-BE49-F238E27FC236}">
                  <a16:creationId xmlns:a16="http://schemas.microsoft.com/office/drawing/2014/main" id="{D81AD732-04BE-CD6F-6CB6-2A820D80530C}"/>
                </a:ext>
              </a:extLst>
            </p:cNvPr>
            <p:cNvSpPr>
              <a:spLocks/>
            </p:cNvSpPr>
            <p:nvPr/>
          </p:nvSpPr>
          <p:spPr bwMode="auto">
            <a:xfrm>
              <a:off x="7419302" y="4567461"/>
              <a:ext cx="129403" cy="127112"/>
            </a:xfrm>
            <a:custGeom>
              <a:avLst/>
              <a:gdLst>
                <a:gd name="T0" fmla="*/ 51 w 103"/>
                <a:gd name="T1" fmla="*/ 0 h 101"/>
                <a:gd name="T2" fmla="*/ 102 w 103"/>
                <a:gd name="T3" fmla="*/ 51 h 101"/>
                <a:gd name="T4" fmla="*/ 52 w 103"/>
                <a:gd name="T5" fmla="*/ 101 h 101"/>
                <a:gd name="T6" fmla="*/ 1 w 103"/>
                <a:gd name="T7" fmla="*/ 51 h 101"/>
                <a:gd name="T8" fmla="*/ 51 w 103"/>
                <a:gd name="T9" fmla="*/ 0 h 101"/>
              </a:gdLst>
              <a:ahLst/>
              <a:cxnLst>
                <a:cxn ang="0">
                  <a:pos x="T0" y="T1"/>
                </a:cxn>
                <a:cxn ang="0">
                  <a:pos x="T2" y="T3"/>
                </a:cxn>
                <a:cxn ang="0">
                  <a:pos x="T4" y="T5"/>
                </a:cxn>
                <a:cxn ang="0">
                  <a:pos x="T6" y="T7"/>
                </a:cxn>
                <a:cxn ang="0">
                  <a:pos x="T8" y="T9"/>
                </a:cxn>
              </a:cxnLst>
              <a:rect l="0" t="0" r="r" b="b"/>
              <a:pathLst>
                <a:path w="103" h="101">
                  <a:moveTo>
                    <a:pt x="51" y="0"/>
                  </a:moveTo>
                  <a:cubicBezTo>
                    <a:pt x="80" y="0"/>
                    <a:pt x="102" y="22"/>
                    <a:pt x="102" y="51"/>
                  </a:cubicBezTo>
                  <a:cubicBezTo>
                    <a:pt x="103" y="79"/>
                    <a:pt x="80" y="101"/>
                    <a:pt x="52" y="101"/>
                  </a:cubicBezTo>
                  <a:cubicBezTo>
                    <a:pt x="24" y="101"/>
                    <a:pt x="1" y="79"/>
                    <a:pt x="1" y="51"/>
                  </a:cubicBezTo>
                  <a:cubicBezTo>
                    <a:pt x="0" y="23"/>
                    <a:pt x="23" y="0"/>
                    <a:pt x="5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33" name="Freeform 68">
              <a:extLst>
                <a:ext uri="{FF2B5EF4-FFF2-40B4-BE49-F238E27FC236}">
                  <a16:creationId xmlns:a16="http://schemas.microsoft.com/office/drawing/2014/main" id="{72E5E2BA-D6C9-1944-3492-E23DD0819D08}"/>
                </a:ext>
              </a:extLst>
            </p:cNvPr>
            <p:cNvSpPr>
              <a:spLocks/>
            </p:cNvSpPr>
            <p:nvPr/>
          </p:nvSpPr>
          <p:spPr bwMode="auto">
            <a:xfrm>
              <a:off x="7404415" y="4700300"/>
              <a:ext cx="153451" cy="114516"/>
            </a:xfrm>
            <a:custGeom>
              <a:avLst/>
              <a:gdLst>
                <a:gd name="T0" fmla="*/ 63 w 123"/>
                <a:gd name="T1" fmla="*/ 91 h 91"/>
                <a:gd name="T2" fmla="*/ 18 w 123"/>
                <a:gd name="T3" fmla="*/ 91 h 91"/>
                <a:gd name="T4" fmla="*/ 7 w 123"/>
                <a:gd name="T5" fmla="*/ 85 h 91"/>
                <a:gd name="T6" fmla="*/ 45 w 123"/>
                <a:gd name="T7" fmla="*/ 12 h 91"/>
                <a:gd name="T8" fmla="*/ 119 w 123"/>
                <a:gd name="T9" fmla="*/ 57 h 91"/>
                <a:gd name="T10" fmla="*/ 90 w 123"/>
                <a:gd name="T11" fmla="*/ 91 h 91"/>
                <a:gd name="T12" fmla="*/ 63 w 123"/>
                <a:gd name="T13" fmla="*/ 91 h 91"/>
              </a:gdLst>
              <a:ahLst/>
              <a:cxnLst>
                <a:cxn ang="0">
                  <a:pos x="T0" y="T1"/>
                </a:cxn>
                <a:cxn ang="0">
                  <a:pos x="T2" y="T3"/>
                </a:cxn>
                <a:cxn ang="0">
                  <a:pos x="T4" y="T5"/>
                </a:cxn>
                <a:cxn ang="0">
                  <a:pos x="T6" y="T7"/>
                </a:cxn>
                <a:cxn ang="0">
                  <a:pos x="T8" y="T9"/>
                </a:cxn>
                <a:cxn ang="0">
                  <a:pos x="T10" y="T11"/>
                </a:cxn>
                <a:cxn ang="0">
                  <a:pos x="T12" y="T13"/>
                </a:cxn>
              </a:cxnLst>
              <a:rect l="0" t="0" r="r" b="b"/>
              <a:pathLst>
                <a:path w="123" h="91">
                  <a:moveTo>
                    <a:pt x="63" y="91"/>
                  </a:moveTo>
                  <a:cubicBezTo>
                    <a:pt x="48" y="91"/>
                    <a:pt x="32" y="91"/>
                    <a:pt x="18" y="91"/>
                  </a:cubicBezTo>
                  <a:cubicBezTo>
                    <a:pt x="13" y="91"/>
                    <a:pt x="9" y="91"/>
                    <a:pt x="7" y="85"/>
                  </a:cubicBezTo>
                  <a:cubicBezTo>
                    <a:pt x="0" y="58"/>
                    <a:pt x="18" y="22"/>
                    <a:pt x="45" y="12"/>
                  </a:cubicBezTo>
                  <a:cubicBezTo>
                    <a:pt x="77" y="0"/>
                    <a:pt x="114" y="23"/>
                    <a:pt x="119" y="57"/>
                  </a:cubicBezTo>
                  <a:cubicBezTo>
                    <a:pt x="123" y="91"/>
                    <a:pt x="123" y="91"/>
                    <a:pt x="90" y="91"/>
                  </a:cubicBezTo>
                  <a:cubicBezTo>
                    <a:pt x="81" y="91"/>
                    <a:pt x="72" y="91"/>
                    <a:pt x="63" y="9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34" name="Freeform 69">
              <a:extLst>
                <a:ext uri="{FF2B5EF4-FFF2-40B4-BE49-F238E27FC236}">
                  <a16:creationId xmlns:a16="http://schemas.microsoft.com/office/drawing/2014/main" id="{E03B11F7-5FBF-71F2-8F9A-190E3AC6DBE1}"/>
                </a:ext>
              </a:extLst>
            </p:cNvPr>
            <p:cNvSpPr>
              <a:spLocks/>
            </p:cNvSpPr>
            <p:nvPr/>
          </p:nvSpPr>
          <p:spPr bwMode="auto">
            <a:xfrm>
              <a:off x="7277302" y="4591510"/>
              <a:ext cx="113371" cy="115661"/>
            </a:xfrm>
            <a:custGeom>
              <a:avLst/>
              <a:gdLst>
                <a:gd name="T0" fmla="*/ 91 w 91"/>
                <a:gd name="T1" fmla="*/ 46 h 92"/>
                <a:gd name="T2" fmla="*/ 46 w 91"/>
                <a:gd name="T3" fmla="*/ 92 h 92"/>
                <a:gd name="T4" fmla="*/ 0 w 91"/>
                <a:gd name="T5" fmla="*/ 46 h 92"/>
                <a:gd name="T6" fmla="*/ 46 w 91"/>
                <a:gd name="T7" fmla="*/ 1 h 92"/>
                <a:gd name="T8" fmla="*/ 91 w 91"/>
                <a:gd name="T9" fmla="*/ 46 h 92"/>
              </a:gdLst>
              <a:ahLst/>
              <a:cxnLst>
                <a:cxn ang="0">
                  <a:pos x="T0" y="T1"/>
                </a:cxn>
                <a:cxn ang="0">
                  <a:pos x="T2" y="T3"/>
                </a:cxn>
                <a:cxn ang="0">
                  <a:pos x="T4" y="T5"/>
                </a:cxn>
                <a:cxn ang="0">
                  <a:pos x="T6" y="T7"/>
                </a:cxn>
                <a:cxn ang="0">
                  <a:pos x="T8" y="T9"/>
                </a:cxn>
              </a:cxnLst>
              <a:rect l="0" t="0" r="r" b="b"/>
              <a:pathLst>
                <a:path w="91" h="92">
                  <a:moveTo>
                    <a:pt x="91" y="46"/>
                  </a:moveTo>
                  <a:cubicBezTo>
                    <a:pt x="91" y="72"/>
                    <a:pt x="71" y="92"/>
                    <a:pt x="46" y="92"/>
                  </a:cubicBezTo>
                  <a:cubicBezTo>
                    <a:pt x="20" y="92"/>
                    <a:pt x="0" y="71"/>
                    <a:pt x="0" y="46"/>
                  </a:cubicBezTo>
                  <a:cubicBezTo>
                    <a:pt x="0" y="21"/>
                    <a:pt x="21" y="1"/>
                    <a:pt x="46" y="1"/>
                  </a:cubicBezTo>
                  <a:cubicBezTo>
                    <a:pt x="71" y="0"/>
                    <a:pt x="91" y="21"/>
                    <a:pt x="91" y="4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35" name="Freeform 70">
              <a:extLst>
                <a:ext uri="{FF2B5EF4-FFF2-40B4-BE49-F238E27FC236}">
                  <a16:creationId xmlns:a16="http://schemas.microsoft.com/office/drawing/2014/main" id="{CD469596-416C-37E4-D48A-59C16F26A5DB}"/>
                </a:ext>
              </a:extLst>
            </p:cNvPr>
            <p:cNvSpPr>
              <a:spLocks/>
            </p:cNvSpPr>
            <p:nvPr/>
          </p:nvSpPr>
          <p:spPr bwMode="auto">
            <a:xfrm>
              <a:off x="7270431" y="4716332"/>
              <a:ext cx="131694" cy="98484"/>
            </a:xfrm>
            <a:custGeom>
              <a:avLst/>
              <a:gdLst>
                <a:gd name="T0" fmla="*/ 51 w 105"/>
                <a:gd name="T1" fmla="*/ 78 h 78"/>
                <a:gd name="T2" fmla="*/ 11 w 105"/>
                <a:gd name="T3" fmla="*/ 78 h 78"/>
                <a:gd name="T4" fmla="*/ 0 w 105"/>
                <a:gd name="T5" fmla="*/ 67 h 78"/>
                <a:gd name="T6" fmla="*/ 14 w 105"/>
                <a:gd name="T7" fmla="*/ 21 h 78"/>
                <a:gd name="T8" fmla="*/ 65 w 105"/>
                <a:gd name="T9" fmla="*/ 6 h 78"/>
                <a:gd name="T10" fmla="*/ 101 w 105"/>
                <a:gd name="T11" fmla="*/ 49 h 78"/>
                <a:gd name="T12" fmla="*/ 76 w 105"/>
                <a:gd name="T13" fmla="*/ 78 h 78"/>
                <a:gd name="T14" fmla="*/ 51 w 105"/>
                <a:gd name="T15" fmla="*/ 78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78">
                  <a:moveTo>
                    <a:pt x="51" y="78"/>
                  </a:moveTo>
                  <a:cubicBezTo>
                    <a:pt x="38" y="78"/>
                    <a:pt x="25" y="77"/>
                    <a:pt x="11" y="78"/>
                  </a:cubicBezTo>
                  <a:cubicBezTo>
                    <a:pt x="2" y="78"/>
                    <a:pt x="0" y="75"/>
                    <a:pt x="0" y="67"/>
                  </a:cubicBezTo>
                  <a:cubicBezTo>
                    <a:pt x="0" y="50"/>
                    <a:pt x="2" y="34"/>
                    <a:pt x="14" y="21"/>
                  </a:cubicBezTo>
                  <a:cubicBezTo>
                    <a:pt x="28" y="6"/>
                    <a:pt x="45" y="0"/>
                    <a:pt x="65" y="6"/>
                  </a:cubicBezTo>
                  <a:cubicBezTo>
                    <a:pt x="86" y="13"/>
                    <a:pt x="98" y="28"/>
                    <a:pt x="101" y="49"/>
                  </a:cubicBezTo>
                  <a:cubicBezTo>
                    <a:pt x="105" y="77"/>
                    <a:pt x="104" y="78"/>
                    <a:pt x="76" y="78"/>
                  </a:cubicBezTo>
                  <a:cubicBezTo>
                    <a:pt x="67" y="78"/>
                    <a:pt x="59" y="78"/>
                    <a:pt x="51" y="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grpSp>
      <p:grpSp>
        <p:nvGrpSpPr>
          <p:cNvPr id="36" name="Group 35">
            <a:extLst>
              <a:ext uri="{FF2B5EF4-FFF2-40B4-BE49-F238E27FC236}">
                <a16:creationId xmlns:a16="http://schemas.microsoft.com/office/drawing/2014/main" id="{C4661BCB-2335-76ED-3034-8C8CC5C26976}"/>
              </a:ext>
            </a:extLst>
          </p:cNvPr>
          <p:cNvGrpSpPr>
            <a:grpSpLocks noChangeAspect="1"/>
          </p:cNvGrpSpPr>
          <p:nvPr/>
        </p:nvGrpSpPr>
        <p:grpSpPr>
          <a:xfrm>
            <a:off x="5894958" y="1026137"/>
            <a:ext cx="681150" cy="685800"/>
            <a:chOff x="7541409" y="627563"/>
            <a:chExt cx="671063" cy="675644"/>
          </a:xfrm>
        </p:grpSpPr>
        <p:sp>
          <p:nvSpPr>
            <p:cNvPr id="37" name="Oval 64">
              <a:extLst>
                <a:ext uri="{FF2B5EF4-FFF2-40B4-BE49-F238E27FC236}">
                  <a16:creationId xmlns:a16="http://schemas.microsoft.com/office/drawing/2014/main" id="{6833E3B9-4233-7F12-A0CB-4DF782E7D0C8}"/>
                </a:ext>
              </a:extLst>
            </p:cNvPr>
            <p:cNvSpPr>
              <a:spLocks noChangeArrowheads="1"/>
            </p:cNvSpPr>
            <p:nvPr/>
          </p:nvSpPr>
          <p:spPr bwMode="auto">
            <a:xfrm>
              <a:off x="7541409" y="627563"/>
              <a:ext cx="671063" cy="675644"/>
            </a:xfrm>
            <a:prstGeom prst="ellipse">
              <a:avLst/>
            </a:prstGeom>
            <a:solidFill>
              <a:srgbClr val="FF339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38" name="Freeform 65">
              <a:extLst>
                <a:ext uri="{FF2B5EF4-FFF2-40B4-BE49-F238E27FC236}">
                  <a16:creationId xmlns:a16="http://schemas.microsoft.com/office/drawing/2014/main" id="{D8968EC8-CD1B-AEA5-89CD-05E963A818B5}"/>
                </a:ext>
              </a:extLst>
            </p:cNvPr>
            <p:cNvSpPr>
              <a:spLocks/>
            </p:cNvSpPr>
            <p:nvPr/>
          </p:nvSpPr>
          <p:spPr bwMode="auto">
            <a:xfrm>
              <a:off x="7955956" y="827965"/>
              <a:ext cx="140855" cy="142000"/>
            </a:xfrm>
            <a:custGeom>
              <a:avLst/>
              <a:gdLst>
                <a:gd name="T0" fmla="*/ 56 w 113"/>
                <a:gd name="T1" fmla="*/ 0 h 113"/>
                <a:gd name="T2" fmla="*/ 113 w 113"/>
                <a:gd name="T3" fmla="*/ 57 h 113"/>
                <a:gd name="T4" fmla="*/ 57 w 113"/>
                <a:gd name="T5" fmla="*/ 113 h 113"/>
                <a:gd name="T6" fmla="*/ 0 w 113"/>
                <a:gd name="T7" fmla="*/ 57 h 113"/>
                <a:gd name="T8" fmla="*/ 56 w 113"/>
                <a:gd name="T9" fmla="*/ 0 h 113"/>
              </a:gdLst>
              <a:ahLst/>
              <a:cxnLst>
                <a:cxn ang="0">
                  <a:pos x="T0" y="T1"/>
                </a:cxn>
                <a:cxn ang="0">
                  <a:pos x="T2" y="T3"/>
                </a:cxn>
                <a:cxn ang="0">
                  <a:pos x="T4" y="T5"/>
                </a:cxn>
                <a:cxn ang="0">
                  <a:pos x="T6" y="T7"/>
                </a:cxn>
                <a:cxn ang="0">
                  <a:pos x="T8" y="T9"/>
                </a:cxn>
              </a:cxnLst>
              <a:rect l="0" t="0" r="r" b="b"/>
              <a:pathLst>
                <a:path w="113" h="113">
                  <a:moveTo>
                    <a:pt x="56" y="0"/>
                  </a:moveTo>
                  <a:cubicBezTo>
                    <a:pt x="88" y="0"/>
                    <a:pt x="113" y="26"/>
                    <a:pt x="113" y="57"/>
                  </a:cubicBezTo>
                  <a:cubicBezTo>
                    <a:pt x="113" y="88"/>
                    <a:pt x="88" y="113"/>
                    <a:pt x="57" y="113"/>
                  </a:cubicBezTo>
                  <a:cubicBezTo>
                    <a:pt x="25" y="113"/>
                    <a:pt x="0" y="88"/>
                    <a:pt x="0" y="57"/>
                  </a:cubicBezTo>
                  <a:cubicBezTo>
                    <a:pt x="0" y="25"/>
                    <a:pt x="25" y="0"/>
                    <a:pt x="5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39" name="Freeform 66">
              <a:extLst>
                <a:ext uri="{FF2B5EF4-FFF2-40B4-BE49-F238E27FC236}">
                  <a16:creationId xmlns:a16="http://schemas.microsoft.com/office/drawing/2014/main" id="{922C9FAB-24F1-6D33-3DE5-D9DF97A97864}"/>
                </a:ext>
              </a:extLst>
            </p:cNvPr>
            <p:cNvSpPr>
              <a:spLocks/>
            </p:cNvSpPr>
            <p:nvPr/>
          </p:nvSpPr>
          <p:spPr bwMode="auto">
            <a:xfrm>
              <a:off x="7939924" y="981417"/>
              <a:ext cx="168339" cy="127112"/>
            </a:xfrm>
            <a:custGeom>
              <a:avLst/>
              <a:gdLst>
                <a:gd name="T0" fmla="*/ 69 w 135"/>
                <a:gd name="T1" fmla="*/ 96 h 101"/>
                <a:gd name="T2" fmla="*/ 18 w 135"/>
                <a:gd name="T3" fmla="*/ 96 h 101"/>
                <a:gd name="T4" fmla="*/ 7 w 135"/>
                <a:gd name="T5" fmla="*/ 91 h 101"/>
                <a:gd name="T6" fmla="*/ 34 w 135"/>
                <a:gd name="T7" fmla="*/ 16 h 101"/>
                <a:gd name="T8" fmla="*/ 96 w 135"/>
                <a:gd name="T9" fmla="*/ 11 h 101"/>
                <a:gd name="T10" fmla="*/ 131 w 135"/>
                <a:gd name="T11" fmla="*/ 69 h 101"/>
                <a:gd name="T12" fmla="*/ 105 w 135"/>
                <a:gd name="T13" fmla="*/ 96 h 101"/>
                <a:gd name="T14" fmla="*/ 69 w 135"/>
                <a:gd name="T15" fmla="*/ 96 h 1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101">
                  <a:moveTo>
                    <a:pt x="69" y="96"/>
                  </a:moveTo>
                  <a:cubicBezTo>
                    <a:pt x="52" y="96"/>
                    <a:pt x="35" y="96"/>
                    <a:pt x="18" y="96"/>
                  </a:cubicBezTo>
                  <a:cubicBezTo>
                    <a:pt x="14" y="95"/>
                    <a:pt x="9" y="97"/>
                    <a:pt x="7" y="91"/>
                  </a:cubicBezTo>
                  <a:cubicBezTo>
                    <a:pt x="0" y="65"/>
                    <a:pt x="12" y="31"/>
                    <a:pt x="34" y="16"/>
                  </a:cubicBezTo>
                  <a:cubicBezTo>
                    <a:pt x="54" y="2"/>
                    <a:pt x="75" y="0"/>
                    <a:pt x="96" y="11"/>
                  </a:cubicBezTo>
                  <a:cubicBezTo>
                    <a:pt x="119" y="23"/>
                    <a:pt x="131" y="43"/>
                    <a:pt x="131" y="69"/>
                  </a:cubicBezTo>
                  <a:cubicBezTo>
                    <a:pt x="132" y="101"/>
                    <a:pt x="135" y="95"/>
                    <a:pt x="105" y="96"/>
                  </a:cubicBezTo>
                  <a:cubicBezTo>
                    <a:pt x="93" y="96"/>
                    <a:pt x="81" y="96"/>
                    <a:pt x="69"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40" name="Freeform 67">
              <a:extLst>
                <a:ext uri="{FF2B5EF4-FFF2-40B4-BE49-F238E27FC236}">
                  <a16:creationId xmlns:a16="http://schemas.microsoft.com/office/drawing/2014/main" id="{70DA9E65-060B-8B3F-E6C7-6DF7B7CA89DD}"/>
                </a:ext>
              </a:extLst>
            </p:cNvPr>
            <p:cNvSpPr>
              <a:spLocks/>
            </p:cNvSpPr>
            <p:nvPr/>
          </p:nvSpPr>
          <p:spPr bwMode="auto">
            <a:xfrm>
              <a:off x="7796779" y="855449"/>
              <a:ext cx="129403" cy="127112"/>
            </a:xfrm>
            <a:custGeom>
              <a:avLst/>
              <a:gdLst>
                <a:gd name="T0" fmla="*/ 51 w 103"/>
                <a:gd name="T1" fmla="*/ 0 h 101"/>
                <a:gd name="T2" fmla="*/ 102 w 103"/>
                <a:gd name="T3" fmla="*/ 51 h 101"/>
                <a:gd name="T4" fmla="*/ 52 w 103"/>
                <a:gd name="T5" fmla="*/ 101 h 101"/>
                <a:gd name="T6" fmla="*/ 1 w 103"/>
                <a:gd name="T7" fmla="*/ 51 h 101"/>
                <a:gd name="T8" fmla="*/ 51 w 103"/>
                <a:gd name="T9" fmla="*/ 0 h 101"/>
              </a:gdLst>
              <a:ahLst/>
              <a:cxnLst>
                <a:cxn ang="0">
                  <a:pos x="T0" y="T1"/>
                </a:cxn>
                <a:cxn ang="0">
                  <a:pos x="T2" y="T3"/>
                </a:cxn>
                <a:cxn ang="0">
                  <a:pos x="T4" y="T5"/>
                </a:cxn>
                <a:cxn ang="0">
                  <a:pos x="T6" y="T7"/>
                </a:cxn>
                <a:cxn ang="0">
                  <a:pos x="T8" y="T9"/>
                </a:cxn>
              </a:cxnLst>
              <a:rect l="0" t="0" r="r" b="b"/>
              <a:pathLst>
                <a:path w="103" h="101">
                  <a:moveTo>
                    <a:pt x="51" y="0"/>
                  </a:moveTo>
                  <a:cubicBezTo>
                    <a:pt x="80" y="0"/>
                    <a:pt x="102" y="22"/>
                    <a:pt x="102" y="51"/>
                  </a:cubicBezTo>
                  <a:cubicBezTo>
                    <a:pt x="103" y="79"/>
                    <a:pt x="80" y="101"/>
                    <a:pt x="52" y="101"/>
                  </a:cubicBezTo>
                  <a:cubicBezTo>
                    <a:pt x="24" y="101"/>
                    <a:pt x="1" y="79"/>
                    <a:pt x="1" y="51"/>
                  </a:cubicBezTo>
                  <a:cubicBezTo>
                    <a:pt x="0" y="23"/>
                    <a:pt x="23" y="0"/>
                    <a:pt x="5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41" name="Freeform 68">
              <a:extLst>
                <a:ext uri="{FF2B5EF4-FFF2-40B4-BE49-F238E27FC236}">
                  <a16:creationId xmlns:a16="http://schemas.microsoft.com/office/drawing/2014/main" id="{8CCF2C75-37CC-71F1-4C2C-86D3CF1B6675}"/>
                </a:ext>
              </a:extLst>
            </p:cNvPr>
            <p:cNvSpPr>
              <a:spLocks/>
            </p:cNvSpPr>
            <p:nvPr/>
          </p:nvSpPr>
          <p:spPr bwMode="auto">
            <a:xfrm>
              <a:off x="7781892" y="988288"/>
              <a:ext cx="153451" cy="114516"/>
            </a:xfrm>
            <a:custGeom>
              <a:avLst/>
              <a:gdLst>
                <a:gd name="T0" fmla="*/ 63 w 123"/>
                <a:gd name="T1" fmla="*/ 91 h 91"/>
                <a:gd name="T2" fmla="*/ 18 w 123"/>
                <a:gd name="T3" fmla="*/ 91 h 91"/>
                <a:gd name="T4" fmla="*/ 7 w 123"/>
                <a:gd name="T5" fmla="*/ 85 h 91"/>
                <a:gd name="T6" fmla="*/ 45 w 123"/>
                <a:gd name="T7" fmla="*/ 12 h 91"/>
                <a:gd name="T8" fmla="*/ 119 w 123"/>
                <a:gd name="T9" fmla="*/ 57 h 91"/>
                <a:gd name="T10" fmla="*/ 90 w 123"/>
                <a:gd name="T11" fmla="*/ 91 h 91"/>
                <a:gd name="T12" fmla="*/ 63 w 123"/>
                <a:gd name="T13" fmla="*/ 91 h 91"/>
              </a:gdLst>
              <a:ahLst/>
              <a:cxnLst>
                <a:cxn ang="0">
                  <a:pos x="T0" y="T1"/>
                </a:cxn>
                <a:cxn ang="0">
                  <a:pos x="T2" y="T3"/>
                </a:cxn>
                <a:cxn ang="0">
                  <a:pos x="T4" y="T5"/>
                </a:cxn>
                <a:cxn ang="0">
                  <a:pos x="T6" y="T7"/>
                </a:cxn>
                <a:cxn ang="0">
                  <a:pos x="T8" y="T9"/>
                </a:cxn>
                <a:cxn ang="0">
                  <a:pos x="T10" y="T11"/>
                </a:cxn>
                <a:cxn ang="0">
                  <a:pos x="T12" y="T13"/>
                </a:cxn>
              </a:cxnLst>
              <a:rect l="0" t="0" r="r" b="b"/>
              <a:pathLst>
                <a:path w="123" h="91">
                  <a:moveTo>
                    <a:pt x="63" y="91"/>
                  </a:moveTo>
                  <a:cubicBezTo>
                    <a:pt x="48" y="91"/>
                    <a:pt x="32" y="91"/>
                    <a:pt x="18" y="91"/>
                  </a:cubicBezTo>
                  <a:cubicBezTo>
                    <a:pt x="13" y="91"/>
                    <a:pt x="9" y="91"/>
                    <a:pt x="7" y="85"/>
                  </a:cubicBezTo>
                  <a:cubicBezTo>
                    <a:pt x="0" y="58"/>
                    <a:pt x="18" y="22"/>
                    <a:pt x="45" y="12"/>
                  </a:cubicBezTo>
                  <a:cubicBezTo>
                    <a:pt x="77" y="0"/>
                    <a:pt x="114" y="23"/>
                    <a:pt x="119" y="57"/>
                  </a:cubicBezTo>
                  <a:cubicBezTo>
                    <a:pt x="123" y="91"/>
                    <a:pt x="123" y="91"/>
                    <a:pt x="90" y="91"/>
                  </a:cubicBezTo>
                  <a:cubicBezTo>
                    <a:pt x="81" y="91"/>
                    <a:pt x="72" y="91"/>
                    <a:pt x="63" y="9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42" name="Freeform 69">
              <a:extLst>
                <a:ext uri="{FF2B5EF4-FFF2-40B4-BE49-F238E27FC236}">
                  <a16:creationId xmlns:a16="http://schemas.microsoft.com/office/drawing/2014/main" id="{5E14FAAC-B73D-21F9-05CF-E3CF9738778F}"/>
                </a:ext>
              </a:extLst>
            </p:cNvPr>
            <p:cNvSpPr>
              <a:spLocks/>
            </p:cNvSpPr>
            <p:nvPr/>
          </p:nvSpPr>
          <p:spPr bwMode="auto">
            <a:xfrm>
              <a:off x="7654779" y="879498"/>
              <a:ext cx="113371" cy="115661"/>
            </a:xfrm>
            <a:custGeom>
              <a:avLst/>
              <a:gdLst>
                <a:gd name="T0" fmla="*/ 91 w 91"/>
                <a:gd name="T1" fmla="*/ 46 h 92"/>
                <a:gd name="T2" fmla="*/ 46 w 91"/>
                <a:gd name="T3" fmla="*/ 92 h 92"/>
                <a:gd name="T4" fmla="*/ 0 w 91"/>
                <a:gd name="T5" fmla="*/ 46 h 92"/>
                <a:gd name="T6" fmla="*/ 46 w 91"/>
                <a:gd name="T7" fmla="*/ 1 h 92"/>
                <a:gd name="T8" fmla="*/ 91 w 91"/>
                <a:gd name="T9" fmla="*/ 46 h 92"/>
              </a:gdLst>
              <a:ahLst/>
              <a:cxnLst>
                <a:cxn ang="0">
                  <a:pos x="T0" y="T1"/>
                </a:cxn>
                <a:cxn ang="0">
                  <a:pos x="T2" y="T3"/>
                </a:cxn>
                <a:cxn ang="0">
                  <a:pos x="T4" y="T5"/>
                </a:cxn>
                <a:cxn ang="0">
                  <a:pos x="T6" y="T7"/>
                </a:cxn>
                <a:cxn ang="0">
                  <a:pos x="T8" y="T9"/>
                </a:cxn>
              </a:cxnLst>
              <a:rect l="0" t="0" r="r" b="b"/>
              <a:pathLst>
                <a:path w="91" h="92">
                  <a:moveTo>
                    <a:pt x="91" y="46"/>
                  </a:moveTo>
                  <a:cubicBezTo>
                    <a:pt x="91" y="72"/>
                    <a:pt x="71" y="92"/>
                    <a:pt x="46" y="92"/>
                  </a:cubicBezTo>
                  <a:cubicBezTo>
                    <a:pt x="20" y="92"/>
                    <a:pt x="0" y="71"/>
                    <a:pt x="0" y="46"/>
                  </a:cubicBezTo>
                  <a:cubicBezTo>
                    <a:pt x="0" y="21"/>
                    <a:pt x="21" y="1"/>
                    <a:pt x="46" y="1"/>
                  </a:cubicBezTo>
                  <a:cubicBezTo>
                    <a:pt x="71" y="0"/>
                    <a:pt x="91" y="21"/>
                    <a:pt x="91" y="4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43" name="Freeform 70">
              <a:extLst>
                <a:ext uri="{FF2B5EF4-FFF2-40B4-BE49-F238E27FC236}">
                  <a16:creationId xmlns:a16="http://schemas.microsoft.com/office/drawing/2014/main" id="{3869D95C-3C89-89E7-5C10-759D73A9AF24}"/>
                </a:ext>
              </a:extLst>
            </p:cNvPr>
            <p:cNvSpPr>
              <a:spLocks/>
            </p:cNvSpPr>
            <p:nvPr/>
          </p:nvSpPr>
          <p:spPr bwMode="auto">
            <a:xfrm>
              <a:off x="7647908" y="1004320"/>
              <a:ext cx="131694" cy="98484"/>
            </a:xfrm>
            <a:custGeom>
              <a:avLst/>
              <a:gdLst>
                <a:gd name="T0" fmla="*/ 51 w 105"/>
                <a:gd name="T1" fmla="*/ 78 h 78"/>
                <a:gd name="T2" fmla="*/ 11 w 105"/>
                <a:gd name="T3" fmla="*/ 78 h 78"/>
                <a:gd name="T4" fmla="*/ 0 w 105"/>
                <a:gd name="T5" fmla="*/ 67 h 78"/>
                <a:gd name="T6" fmla="*/ 14 w 105"/>
                <a:gd name="T7" fmla="*/ 21 h 78"/>
                <a:gd name="T8" fmla="*/ 65 w 105"/>
                <a:gd name="T9" fmla="*/ 6 h 78"/>
                <a:gd name="T10" fmla="*/ 101 w 105"/>
                <a:gd name="T11" fmla="*/ 49 h 78"/>
                <a:gd name="T12" fmla="*/ 76 w 105"/>
                <a:gd name="T13" fmla="*/ 78 h 78"/>
                <a:gd name="T14" fmla="*/ 51 w 105"/>
                <a:gd name="T15" fmla="*/ 78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78">
                  <a:moveTo>
                    <a:pt x="51" y="78"/>
                  </a:moveTo>
                  <a:cubicBezTo>
                    <a:pt x="38" y="78"/>
                    <a:pt x="25" y="77"/>
                    <a:pt x="11" y="78"/>
                  </a:cubicBezTo>
                  <a:cubicBezTo>
                    <a:pt x="2" y="78"/>
                    <a:pt x="0" y="75"/>
                    <a:pt x="0" y="67"/>
                  </a:cubicBezTo>
                  <a:cubicBezTo>
                    <a:pt x="0" y="50"/>
                    <a:pt x="2" y="34"/>
                    <a:pt x="14" y="21"/>
                  </a:cubicBezTo>
                  <a:cubicBezTo>
                    <a:pt x="28" y="6"/>
                    <a:pt x="45" y="0"/>
                    <a:pt x="65" y="6"/>
                  </a:cubicBezTo>
                  <a:cubicBezTo>
                    <a:pt x="86" y="13"/>
                    <a:pt x="98" y="28"/>
                    <a:pt x="101" y="49"/>
                  </a:cubicBezTo>
                  <a:cubicBezTo>
                    <a:pt x="105" y="77"/>
                    <a:pt x="104" y="78"/>
                    <a:pt x="76" y="78"/>
                  </a:cubicBezTo>
                  <a:cubicBezTo>
                    <a:pt x="67" y="78"/>
                    <a:pt x="59" y="78"/>
                    <a:pt x="51" y="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grpSp>
      <p:grpSp>
        <p:nvGrpSpPr>
          <p:cNvPr id="44" name="Group 43">
            <a:extLst>
              <a:ext uri="{FF2B5EF4-FFF2-40B4-BE49-F238E27FC236}">
                <a16:creationId xmlns:a16="http://schemas.microsoft.com/office/drawing/2014/main" id="{DB7BDD30-2966-45C8-95D4-E0137F3F91E5}"/>
              </a:ext>
            </a:extLst>
          </p:cNvPr>
          <p:cNvGrpSpPr>
            <a:grpSpLocks noChangeAspect="1"/>
          </p:cNvGrpSpPr>
          <p:nvPr/>
        </p:nvGrpSpPr>
        <p:grpSpPr>
          <a:xfrm>
            <a:off x="7925820" y="3066214"/>
            <a:ext cx="681150" cy="685800"/>
            <a:chOff x="8335714" y="3501252"/>
            <a:chExt cx="671063" cy="675644"/>
          </a:xfrm>
        </p:grpSpPr>
        <p:sp>
          <p:nvSpPr>
            <p:cNvPr id="45" name="Oval 64">
              <a:extLst>
                <a:ext uri="{FF2B5EF4-FFF2-40B4-BE49-F238E27FC236}">
                  <a16:creationId xmlns:a16="http://schemas.microsoft.com/office/drawing/2014/main" id="{0C57F0BC-7000-8326-A3A8-F81DB813BDA5}"/>
                </a:ext>
              </a:extLst>
            </p:cNvPr>
            <p:cNvSpPr>
              <a:spLocks noChangeArrowheads="1"/>
            </p:cNvSpPr>
            <p:nvPr/>
          </p:nvSpPr>
          <p:spPr bwMode="auto">
            <a:xfrm>
              <a:off x="8335714" y="3501252"/>
              <a:ext cx="671063" cy="675644"/>
            </a:xfrm>
            <a:prstGeom prst="ellipse">
              <a:avLst/>
            </a:prstGeom>
            <a:solidFill>
              <a:srgbClr val="D0024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46" name="Freeform 65">
              <a:extLst>
                <a:ext uri="{FF2B5EF4-FFF2-40B4-BE49-F238E27FC236}">
                  <a16:creationId xmlns:a16="http://schemas.microsoft.com/office/drawing/2014/main" id="{D5956FCE-2FBE-6270-0ECB-AB1889505BF7}"/>
                </a:ext>
              </a:extLst>
            </p:cNvPr>
            <p:cNvSpPr>
              <a:spLocks/>
            </p:cNvSpPr>
            <p:nvPr/>
          </p:nvSpPr>
          <p:spPr bwMode="auto">
            <a:xfrm>
              <a:off x="8750261" y="3701654"/>
              <a:ext cx="140855" cy="142000"/>
            </a:xfrm>
            <a:custGeom>
              <a:avLst/>
              <a:gdLst>
                <a:gd name="T0" fmla="*/ 56 w 113"/>
                <a:gd name="T1" fmla="*/ 0 h 113"/>
                <a:gd name="T2" fmla="*/ 113 w 113"/>
                <a:gd name="T3" fmla="*/ 57 h 113"/>
                <a:gd name="T4" fmla="*/ 57 w 113"/>
                <a:gd name="T5" fmla="*/ 113 h 113"/>
                <a:gd name="T6" fmla="*/ 0 w 113"/>
                <a:gd name="T7" fmla="*/ 57 h 113"/>
                <a:gd name="T8" fmla="*/ 56 w 113"/>
                <a:gd name="T9" fmla="*/ 0 h 113"/>
              </a:gdLst>
              <a:ahLst/>
              <a:cxnLst>
                <a:cxn ang="0">
                  <a:pos x="T0" y="T1"/>
                </a:cxn>
                <a:cxn ang="0">
                  <a:pos x="T2" y="T3"/>
                </a:cxn>
                <a:cxn ang="0">
                  <a:pos x="T4" y="T5"/>
                </a:cxn>
                <a:cxn ang="0">
                  <a:pos x="T6" y="T7"/>
                </a:cxn>
                <a:cxn ang="0">
                  <a:pos x="T8" y="T9"/>
                </a:cxn>
              </a:cxnLst>
              <a:rect l="0" t="0" r="r" b="b"/>
              <a:pathLst>
                <a:path w="113" h="113">
                  <a:moveTo>
                    <a:pt x="56" y="0"/>
                  </a:moveTo>
                  <a:cubicBezTo>
                    <a:pt x="88" y="0"/>
                    <a:pt x="113" y="26"/>
                    <a:pt x="113" y="57"/>
                  </a:cubicBezTo>
                  <a:cubicBezTo>
                    <a:pt x="113" y="88"/>
                    <a:pt x="88" y="113"/>
                    <a:pt x="57" y="113"/>
                  </a:cubicBezTo>
                  <a:cubicBezTo>
                    <a:pt x="25" y="113"/>
                    <a:pt x="0" y="88"/>
                    <a:pt x="0" y="57"/>
                  </a:cubicBezTo>
                  <a:cubicBezTo>
                    <a:pt x="0" y="25"/>
                    <a:pt x="25" y="0"/>
                    <a:pt x="5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47" name="Freeform 66">
              <a:extLst>
                <a:ext uri="{FF2B5EF4-FFF2-40B4-BE49-F238E27FC236}">
                  <a16:creationId xmlns:a16="http://schemas.microsoft.com/office/drawing/2014/main" id="{BD1E0C35-3E5C-C1C3-94E1-0310E6DB8208}"/>
                </a:ext>
              </a:extLst>
            </p:cNvPr>
            <p:cNvSpPr>
              <a:spLocks/>
            </p:cNvSpPr>
            <p:nvPr/>
          </p:nvSpPr>
          <p:spPr bwMode="auto">
            <a:xfrm>
              <a:off x="8734229" y="3855106"/>
              <a:ext cx="168339" cy="127112"/>
            </a:xfrm>
            <a:custGeom>
              <a:avLst/>
              <a:gdLst>
                <a:gd name="T0" fmla="*/ 69 w 135"/>
                <a:gd name="T1" fmla="*/ 96 h 101"/>
                <a:gd name="T2" fmla="*/ 18 w 135"/>
                <a:gd name="T3" fmla="*/ 96 h 101"/>
                <a:gd name="T4" fmla="*/ 7 w 135"/>
                <a:gd name="T5" fmla="*/ 91 h 101"/>
                <a:gd name="T6" fmla="*/ 34 w 135"/>
                <a:gd name="T7" fmla="*/ 16 h 101"/>
                <a:gd name="T8" fmla="*/ 96 w 135"/>
                <a:gd name="T9" fmla="*/ 11 h 101"/>
                <a:gd name="T10" fmla="*/ 131 w 135"/>
                <a:gd name="T11" fmla="*/ 69 h 101"/>
                <a:gd name="T12" fmla="*/ 105 w 135"/>
                <a:gd name="T13" fmla="*/ 96 h 101"/>
                <a:gd name="T14" fmla="*/ 69 w 135"/>
                <a:gd name="T15" fmla="*/ 96 h 1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101">
                  <a:moveTo>
                    <a:pt x="69" y="96"/>
                  </a:moveTo>
                  <a:cubicBezTo>
                    <a:pt x="52" y="96"/>
                    <a:pt x="35" y="96"/>
                    <a:pt x="18" y="96"/>
                  </a:cubicBezTo>
                  <a:cubicBezTo>
                    <a:pt x="14" y="95"/>
                    <a:pt x="9" y="97"/>
                    <a:pt x="7" y="91"/>
                  </a:cubicBezTo>
                  <a:cubicBezTo>
                    <a:pt x="0" y="65"/>
                    <a:pt x="12" y="31"/>
                    <a:pt x="34" y="16"/>
                  </a:cubicBezTo>
                  <a:cubicBezTo>
                    <a:pt x="54" y="2"/>
                    <a:pt x="75" y="0"/>
                    <a:pt x="96" y="11"/>
                  </a:cubicBezTo>
                  <a:cubicBezTo>
                    <a:pt x="119" y="23"/>
                    <a:pt x="131" y="43"/>
                    <a:pt x="131" y="69"/>
                  </a:cubicBezTo>
                  <a:cubicBezTo>
                    <a:pt x="132" y="101"/>
                    <a:pt x="135" y="95"/>
                    <a:pt x="105" y="96"/>
                  </a:cubicBezTo>
                  <a:cubicBezTo>
                    <a:pt x="93" y="96"/>
                    <a:pt x="81" y="96"/>
                    <a:pt x="69"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48" name="Freeform 67">
              <a:extLst>
                <a:ext uri="{FF2B5EF4-FFF2-40B4-BE49-F238E27FC236}">
                  <a16:creationId xmlns:a16="http://schemas.microsoft.com/office/drawing/2014/main" id="{332F4595-2221-691F-2FE7-8082A760D42F}"/>
                </a:ext>
              </a:extLst>
            </p:cNvPr>
            <p:cNvSpPr>
              <a:spLocks/>
            </p:cNvSpPr>
            <p:nvPr/>
          </p:nvSpPr>
          <p:spPr bwMode="auto">
            <a:xfrm>
              <a:off x="8591084" y="3729138"/>
              <a:ext cx="129403" cy="127112"/>
            </a:xfrm>
            <a:custGeom>
              <a:avLst/>
              <a:gdLst>
                <a:gd name="T0" fmla="*/ 51 w 103"/>
                <a:gd name="T1" fmla="*/ 0 h 101"/>
                <a:gd name="T2" fmla="*/ 102 w 103"/>
                <a:gd name="T3" fmla="*/ 51 h 101"/>
                <a:gd name="T4" fmla="*/ 52 w 103"/>
                <a:gd name="T5" fmla="*/ 101 h 101"/>
                <a:gd name="T6" fmla="*/ 1 w 103"/>
                <a:gd name="T7" fmla="*/ 51 h 101"/>
                <a:gd name="T8" fmla="*/ 51 w 103"/>
                <a:gd name="T9" fmla="*/ 0 h 101"/>
              </a:gdLst>
              <a:ahLst/>
              <a:cxnLst>
                <a:cxn ang="0">
                  <a:pos x="T0" y="T1"/>
                </a:cxn>
                <a:cxn ang="0">
                  <a:pos x="T2" y="T3"/>
                </a:cxn>
                <a:cxn ang="0">
                  <a:pos x="T4" y="T5"/>
                </a:cxn>
                <a:cxn ang="0">
                  <a:pos x="T6" y="T7"/>
                </a:cxn>
                <a:cxn ang="0">
                  <a:pos x="T8" y="T9"/>
                </a:cxn>
              </a:cxnLst>
              <a:rect l="0" t="0" r="r" b="b"/>
              <a:pathLst>
                <a:path w="103" h="101">
                  <a:moveTo>
                    <a:pt x="51" y="0"/>
                  </a:moveTo>
                  <a:cubicBezTo>
                    <a:pt x="80" y="0"/>
                    <a:pt x="102" y="22"/>
                    <a:pt x="102" y="51"/>
                  </a:cubicBezTo>
                  <a:cubicBezTo>
                    <a:pt x="103" y="79"/>
                    <a:pt x="80" y="101"/>
                    <a:pt x="52" y="101"/>
                  </a:cubicBezTo>
                  <a:cubicBezTo>
                    <a:pt x="24" y="101"/>
                    <a:pt x="1" y="79"/>
                    <a:pt x="1" y="51"/>
                  </a:cubicBezTo>
                  <a:cubicBezTo>
                    <a:pt x="0" y="23"/>
                    <a:pt x="23" y="0"/>
                    <a:pt x="5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49" name="Freeform 68">
              <a:extLst>
                <a:ext uri="{FF2B5EF4-FFF2-40B4-BE49-F238E27FC236}">
                  <a16:creationId xmlns:a16="http://schemas.microsoft.com/office/drawing/2014/main" id="{21148095-5A39-F5C4-085E-17C47C964598}"/>
                </a:ext>
              </a:extLst>
            </p:cNvPr>
            <p:cNvSpPr>
              <a:spLocks/>
            </p:cNvSpPr>
            <p:nvPr/>
          </p:nvSpPr>
          <p:spPr bwMode="auto">
            <a:xfrm>
              <a:off x="8576197" y="3861977"/>
              <a:ext cx="153451" cy="114516"/>
            </a:xfrm>
            <a:custGeom>
              <a:avLst/>
              <a:gdLst>
                <a:gd name="T0" fmla="*/ 63 w 123"/>
                <a:gd name="T1" fmla="*/ 91 h 91"/>
                <a:gd name="T2" fmla="*/ 18 w 123"/>
                <a:gd name="T3" fmla="*/ 91 h 91"/>
                <a:gd name="T4" fmla="*/ 7 w 123"/>
                <a:gd name="T5" fmla="*/ 85 h 91"/>
                <a:gd name="T6" fmla="*/ 45 w 123"/>
                <a:gd name="T7" fmla="*/ 12 h 91"/>
                <a:gd name="T8" fmla="*/ 119 w 123"/>
                <a:gd name="T9" fmla="*/ 57 h 91"/>
                <a:gd name="T10" fmla="*/ 90 w 123"/>
                <a:gd name="T11" fmla="*/ 91 h 91"/>
                <a:gd name="T12" fmla="*/ 63 w 123"/>
                <a:gd name="T13" fmla="*/ 91 h 91"/>
              </a:gdLst>
              <a:ahLst/>
              <a:cxnLst>
                <a:cxn ang="0">
                  <a:pos x="T0" y="T1"/>
                </a:cxn>
                <a:cxn ang="0">
                  <a:pos x="T2" y="T3"/>
                </a:cxn>
                <a:cxn ang="0">
                  <a:pos x="T4" y="T5"/>
                </a:cxn>
                <a:cxn ang="0">
                  <a:pos x="T6" y="T7"/>
                </a:cxn>
                <a:cxn ang="0">
                  <a:pos x="T8" y="T9"/>
                </a:cxn>
                <a:cxn ang="0">
                  <a:pos x="T10" y="T11"/>
                </a:cxn>
                <a:cxn ang="0">
                  <a:pos x="T12" y="T13"/>
                </a:cxn>
              </a:cxnLst>
              <a:rect l="0" t="0" r="r" b="b"/>
              <a:pathLst>
                <a:path w="123" h="91">
                  <a:moveTo>
                    <a:pt x="63" y="91"/>
                  </a:moveTo>
                  <a:cubicBezTo>
                    <a:pt x="48" y="91"/>
                    <a:pt x="32" y="91"/>
                    <a:pt x="18" y="91"/>
                  </a:cubicBezTo>
                  <a:cubicBezTo>
                    <a:pt x="13" y="91"/>
                    <a:pt x="9" y="91"/>
                    <a:pt x="7" y="85"/>
                  </a:cubicBezTo>
                  <a:cubicBezTo>
                    <a:pt x="0" y="58"/>
                    <a:pt x="18" y="22"/>
                    <a:pt x="45" y="12"/>
                  </a:cubicBezTo>
                  <a:cubicBezTo>
                    <a:pt x="77" y="0"/>
                    <a:pt x="114" y="23"/>
                    <a:pt x="119" y="57"/>
                  </a:cubicBezTo>
                  <a:cubicBezTo>
                    <a:pt x="123" y="91"/>
                    <a:pt x="123" y="91"/>
                    <a:pt x="90" y="91"/>
                  </a:cubicBezTo>
                  <a:cubicBezTo>
                    <a:pt x="81" y="91"/>
                    <a:pt x="72" y="91"/>
                    <a:pt x="63" y="9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50" name="Freeform 69">
              <a:extLst>
                <a:ext uri="{FF2B5EF4-FFF2-40B4-BE49-F238E27FC236}">
                  <a16:creationId xmlns:a16="http://schemas.microsoft.com/office/drawing/2014/main" id="{4C146A55-465E-E559-6CE0-8D4F1A3021E2}"/>
                </a:ext>
              </a:extLst>
            </p:cNvPr>
            <p:cNvSpPr>
              <a:spLocks/>
            </p:cNvSpPr>
            <p:nvPr/>
          </p:nvSpPr>
          <p:spPr bwMode="auto">
            <a:xfrm>
              <a:off x="8449084" y="3753187"/>
              <a:ext cx="113371" cy="115661"/>
            </a:xfrm>
            <a:custGeom>
              <a:avLst/>
              <a:gdLst>
                <a:gd name="T0" fmla="*/ 91 w 91"/>
                <a:gd name="T1" fmla="*/ 46 h 92"/>
                <a:gd name="T2" fmla="*/ 46 w 91"/>
                <a:gd name="T3" fmla="*/ 92 h 92"/>
                <a:gd name="T4" fmla="*/ 0 w 91"/>
                <a:gd name="T5" fmla="*/ 46 h 92"/>
                <a:gd name="T6" fmla="*/ 46 w 91"/>
                <a:gd name="T7" fmla="*/ 1 h 92"/>
                <a:gd name="T8" fmla="*/ 91 w 91"/>
                <a:gd name="T9" fmla="*/ 46 h 92"/>
              </a:gdLst>
              <a:ahLst/>
              <a:cxnLst>
                <a:cxn ang="0">
                  <a:pos x="T0" y="T1"/>
                </a:cxn>
                <a:cxn ang="0">
                  <a:pos x="T2" y="T3"/>
                </a:cxn>
                <a:cxn ang="0">
                  <a:pos x="T4" y="T5"/>
                </a:cxn>
                <a:cxn ang="0">
                  <a:pos x="T6" y="T7"/>
                </a:cxn>
                <a:cxn ang="0">
                  <a:pos x="T8" y="T9"/>
                </a:cxn>
              </a:cxnLst>
              <a:rect l="0" t="0" r="r" b="b"/>
              <a:pathLst>
                <a:path w="91" h="92">
                  <a:moveTo>
                    <a:pt x="91" y="46"/>
                  </a:moveTo>
                  <a:cubicBezTo>
                    <a:pt x="91" y="72"/>
                    <a:pt x="71" y="92"/>
                    <a:pt x="46" y="92"/>
                  </a:cubicBezTo>
                  <a:cubicBezTo>
                    <a:pt x="20" y="92"/>
                    <a:pt x="0" y="71"/>
                    <a:pt x="0" y="46"/>
                  </a:cubicBezTo>
                  <a:cubicBezTo>
                    <a:pt x="0" y="21"/>
                    <a:pt x="21" y="1"/>
                    <a:pt x="46" y="1"/>
                  </a:cubicBezTo>
                  <a:cubicBezTo>
                    <a:pt x="71" y="0"/>
                    <a:pt x="91" y="21"/>
                    <a:pt x="91" y="4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51" name="Freeform 70">
              <a:extLst>
                <a:ext uri="{FF2B5EF4-FFF2-40B4-BE49-F238E27FC236}">
                  <a16:creationId xmlns:a16="http://schemas.microsoft.com/office/drawing/2014/main" id="{9BFBF11B-2297-0110-6237-A71FDE47C8B6}"/>
                </a:ext>
              </a:extLst>
            </p:cNvPr>
            <p:cNvSpPr>
              <a:spLocks/>
            </p:cNvSpPr>
            <p:nvPr/>
          </p:nvSpPr>
          <p:spPr bwMode="auto">
            <a:xfrm>
              <a:off x="8442213" y="3878009"/>
              <a:ext cx="131694" cy="98484"/>
            </a:xfrm>
            <a:custGeom>
              <a:avLst/>
              <a:gdLst>
                <a:gd name="T0" fmla="*/ 51 w 105"/>
                <a:gd name="T1" fmla="*/ 78 h 78"/>
                <a:gd name="T2" fmla="*/ 11 w 105"/>
                <a:gd name="T3" fmla="*/ 78 h 78"/>
                <a:gd name="T4" fmla="*/ 0 w 105"/>
                <a:gd name="T5" fmla="*/ 67 h 78"/>
                <a:gd name="T6" fmla="*/ 14 w 105"/>
                <a:gd name="T7" fmla="*/ 21 h 78"/>
                <a:gd name="T8" fmla="*/ 65 w 105"/>
                <a:gd name="T9" fmla="*/ 6 h 78"/>
                <a:gd name="T10" fmla="*/ 101 w 105"/>
                <a:gd name="T11" fmla="*/ 49 h 78"/>
                <a:gd name="T12" fmla="*/ 76 w 105"/>
                <a:gd name="T13" fmla="*/ 78 h 78"/>
                <a:gd name="T14" fmla="*/ 51 w 105"/>
                <a:gd name="T15" fmla="*/ 78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78">
                  <a:moveTo>
                    <a:pt x="51" y="78"/>
                  </a:moveTo>
                  <a:cubicBezTo>
                    <a:pt x="38" y="78"/>
                    <a:pt x="25" y="77"/>
                    <a:pt x="11" y="78"/>
                  </a:cubicBezTo>
                  <a:cubicBezTo>
                    <a:pt x="2" y="78"/>
                    <a:pt x="0" y="75"/>
                    <a:pt x="0" y="67"/>
                  </a:cubicBezTo>
                  <a:cubicBezTo>
                    <a:pt x="0" y="50"/>
                    <a:pt x="2" y="34"/>
                    <a:pt x="14" y="21"/>
                  </a:cubicBezTo>
                  <a:cubicBezTo>
                    <a:pt x="28" y="6"/>
                    <a:pt x="45" y="0"/>
                    <a:pt x="65" y="6"/>
                  </a:cubicBezTo>
                  <a:cubicBezTo>
                    <a:pt x="86" y="13"/>
                    <a:pt x="98" y="28"/>
                    <a:pt x="101" y="49"/>
                  </a:cubicBezTo>
                  <a:cubicBezTo>
                    <a:pt x="105" y="77"/>
                    <a:pt x="104" y="78"/>
                    <a:pt x="76" y="78"/>
                  </a:cubicBezTo>
                  <a:cubicBezTo>
                    <a:pt x="67" y="78"/>
                    <a:pt x="59" y="78"/>
                    <a:pt x="51" y="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grpSp>
      <p:grpSp>
        <p:nvGrpSpPr>
          <p:cNvPr id="64" name="Group 63">
            <a:extLst>
              <a:ext uri="{FF2B5EF4-FFF2-40B4-BE49-F238E27FC236}">
                <a16:creationId xmlns:a16="http://schemas.microsoft.com/office/drawing/2014/main" id="{5A245F30-D7BC-AFAC-5540-D6DA8AA011CA}"/>
              </a:ext>
            </a:extLst>
          </p:cNvPr>
          <p:cNvGrpSpPr>
            <a:grpSpLocks noChangeAspect="1"/>
          </p:cNvGrpSpPr>
          <p:nvPr/>
        </p:nvGrpSpPr>
        <p:grpSpPr>
          <a:xfrm>
            <a:off x="5106920" y="1593046"/>
            <a:ext cx="2692451" cy="2743200"/>
            <a:chOff x="4508785" y="916051"/>
            <a:chExt cx="3895671" cy="3969099"/>
          </a:xfrm>
        </p:grpSpPr>
        <p:sp>
          <p:nvSpPr>
            <p:cNvPr id="52" name="Block Arc 51">
              <a:extLst>
                <a:ext uri="{FF2B5EF4-FFF2-40B4-BE49-F238E27FC236}">
                  <a16:creationId xmlns:a16="http://schemas.microsoft.com/office/drawing/2014/main" id="{A95A9C0F-32B2-6229-28DC-4B1855B158CC}"/>
                </a:ext>
              </a:extLst>
            </p:cNvPr>
            <p:cNvSpPr/>
            <p:nvPr/>
          </p:nvSpPr>
          <p:spPr>
            <a:xfrm rot="1846659" flipH="1">
              <a:off x="6238309" y="2766752"/>
              <a:ext cx="2129859" cy="2118398"/>
            </a:xfrm>
            <a:prstGeom prst="blockArc">
              <a:avLst>
                <a:gd name="adj1" fmla="val 15950197"/>
                <a:gd name="adj2" fmla="val 20176543"/>
                <a:gd name="adj3" fmla="val 16626"/>
              </a:avLst>
            </a:prstGeom>
            <a:solidFill>
              <a:srgbClr val="FCB41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grpSp>
          <p:nvGrpSpPr>
            <p:cNvPr id="53" name="Group 52">
              <a:extLst>
                <a:ext uri="{FF2B5EF4-FFF2-40B4-BE49-F238E27FC236}">
                  <a16:creationId xmlns:a16="http://schemas.microsoft.com/office/drawing/2014/main" id="{51AA31CF-C647-0541-4877-84622C59DCE8}"/>
                </a:ext>
              </a:extLst>
            </p:cNvPr>
            <p:cNvGrpSpPr/>
            <p:nvPr/>
          </p:nvGrpSpPr>
          <p:grpSpPr>
            <a:xfrm rot="5400000">
              <a:off x="4043849" y="1509233"/>
              <a:ext cx="3840620" cy="2910748"/>
              <a:chOff x="2866313" y="2914393"/>
              <a:chExt cx="6348806" cy="4847925"/>
            </a:xfrm>
            <a:solidFill>
              <a:srgbClr val="FCB414"/>
            </a:solidFill>
          </p:grpSpPr>
          <p:grpSp>
            <p:nvGrpSpPr>
              <p:cNvPr id="54" name="Group 53">
                <a:extLst>
                  <a:ext uri="{FF2B5EF4-FFF2-40B4-BE49-F238E27FC236}">
                    <a16:creationId xmlns:a16="http://schemas.microsoft.com/office/drawing/2014/main" id="{3B6E7552-6301-6578-B94A-ACAD3199F472}"/>
                  </a:ext>
                </a:extLst>
              </p:cNvPr>
              <p:cNvGrpSpPr/>
              <p:nvPr/>
            </p:nvGrpSpPr>
            <p:grpSpPr>
              <a:xfrm>
                <a:off x="2866313" y="4079154"/>
                <a:ext cx="3591004" cy="3683164"/>
                <a:chOff x="2866313" y="3606714"/>
                <a:chExt cx="3591004" cy="3683164"/>
              </a:xfrm>
              <a:grpFill/>
            </p:grpSpPr>
            <p:sp>
              <p:nvSpPr>
                <p:cNvPr id="58" name="Block Arc 57">
                  <a:extLst>
                    <a:ext uri="{FF2B5EF4-FFF2-40B4-BE49-F238E27FC236}">
                      <a16:creationId xmlns:a16="http://schemas.microsoft.com/office/drawing/2014/main" id="{3F2FA17E-11FE-20E3-3621-E631ABBEEA8F}"/>
                    </a:ext>
                  </a:extLst>
                </p:cNvPr>
                <p:cNvSpPr/>
                <p:nvPr/>
              </p:nvSpPr>
              <p:spPr>
                <a:xfrm rot="20908643">
                  <a:off x="2866313" y="3698874"/>
                  <a:ext cx="3591004" cy="3591004"/>
                </a:xfrm>
                <a:prstGeom prst="blockArc">
                  <a:avLst>
                    <a:gd name="adj1" fmla="val 15950197"/>
                    <a:gd name="adj2" fmla="val 20176543"/>
                    <a:gd name="adj3" fmla="val 16626"/>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59" name="Arrow: Down 58">
                  <a:extLst>
                    <a:ext uri="{FF2B5EF4-FFF2-40B4-BE49-F238E27FC236}">
                      <a16:creationId xmlns:a16="http://schemas.microsoft.com/office/drawing/2014/main" id="{FFCA2D0C-7BF9-197D-28FC-28759AD793F8}"/>
                    </a:ext>
                  </a:extLst>
                </p:cNvPr>
                <p:cNvSpPr/>
                <p:nvPr/>
              </p:nvSpPr>
              <p:spPr>
                <a:xfrm rot="4536891">
                  <a:off x="3214355" y="3592554"/>
                  <a:ext cx="1134894" cy="1163213"/>
                </a:xfrm>
                <a:prstGeom prst="downArrow">
                  <a:avLst>
                    <a:gd name="adj1" fmla="val 52857"/>
                    <a:gd name="adj2" fmla="val 82725"/>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55" name="Group 54">
                <a:extLst>
                  <a:ext uri="{FF2B5EF4-FFF2-40B4-BE49-F238E27FC236}">
                    <a16:creationId xmlns:a16="http://schemas.microsoft.com/office/drawing/2014/main" id="{17C39992-A2B9-2277-B270-A8ED7ABD62EC}"/>
                  </a:ext>
                </a:extLst>
              </p:cNvPr>
              <p:cNvGrpSpPr/>
              <p:nvPr/>
            </p:nvGrpSpPr>
            <p:grpSpPr>
              <a:xfrm flipH="1">
                <a:off x="5639598" y="2914393"/>
                <a:ext cx="3575521" cy="3971928"/>
                <a:chOff x="2664999" y="2456995"/>
                <a:chExt cx="3591004" cy="3971928"/>
              </a:xfrm>
              <a:grpFill/>
            </p:grpSpPr>
            <p:sp>
              <p:nvSpPr>
                <p:cNvPr id="56" name="Block Arc 55">
                  <a:extLst>
                    <a:ext uri="{FF2B5EF4-FFF2-40B4-BE49-F238E27FC236}">
                      <a16:creationId xmlns:a16="http://schemas.microsoft.com/office/drawing/2014/main" id="{D43EC737-E292-A45A-2D2F-BDFCA2172305}"/>
                    </a:ext>
                  </a:extLst>
                </p:cNvPr>
                <p:cNvSpPr/>
                <p:nvPr/>
              </p:nvSpPr>
              <p:spPr>
                <a:xfrm rot="900000">
                  <a:off x="2664999" y="2837919"/>
                  <a:ext cx="3591004" cy="3591004"/>
                </a:xfrm>
                <a:prstGeom prst="blockArc">
                  <a:avLst>
                    <a:gd name="adj1" fmla="val 15950197"/>
                    <a:gd name="adj2" fmla="val 20176543"/>
                    <a:gd name="adj3" fmla="val 16626"/>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57" name="Arrow: Down 56">
                  <a:extLst>
                    <a:ext uri="{FF2B5EF4-FFF2-40B4-BE49-F238E27FC236}">
                      <a16:creationId xmlns:a16="http://schemas.microsoft.com/office/drawing/2014/main" id="{30F2275F-B34F-13A2-17D9-5A5F2E175BB5}"/>
                    </a:ext>
                  </a:extLst>
                </p:cNvPr>
                <p:cNvSpPr/>
                <p:nvPr/>
              </p:nvSpPr>
              <p:spPr>
                <a:xfrm rot="6300000">
                  <a:off x="3669274" y="2442835"/>
                  <a:ext cx="1134894" cy="1163213"/>
                </a:xfrm>
                <a:prstGeom prst="downArrow">
                  <a:avLst>
                    <a:gd name="adj1" fmla="val 52857"/>
                    <a:gd name="adj2" fmla="val 82725"/>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sp>
          <p:nvSpPr>
            <p:cNvPr id="60" name="Block Arc 59">
              <a:extLst>
                <a:ext uri="{FF2B5EF4-FFF2-40B4-BE49-F238E27FC236}">
                  <a16:creationId xmlns:a16="http://schemas.microsoft.com/office/drawing/2014/main" id="{6E1E3760-F8D4-061C-21D8-B8F2E420A1C1}"/>
                </a:ext>
              </a:extLst>
            </p:cNvPr>
            <p:cNvSpPr/>
            <p:nvPr/>
          </p:nvSpPr>
          <p:spPr>
            <a:xfrm rot="6300000">
              <a:off x="5608268" y="924175"/>
              <a:ext cx="2172327" cy="2156079"/>
            </a:xfrm>
            <a:prstGeom prst="blockArc">
              <a:avLst>
                <a:gd name="adj1" fmla="val 15950197"/>
                <a:gd name="adj2" fmla="val 20176543"/>
                <a:gd name="adj3" fmla="val 16626"/>
              </a:avLst>
            </a:prstGeom>
            <a:solidFill>
              <a:srgbClr val="FCB41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61" name="Arrow: Down 60">
              <a:extLst>
                <a:ext uri="{FF2B5EF4-FFF2-40B4-BE49-F238E27FC236}">
                  <a16:creationId xmlns:a16="http://schemas.microsoft.com/office/drawing/2014/main" id="{66B27E44-FACC-16B5-4019-D98923771920}"/>
                </a:ext>
              </a:extLst>
            </p:cNvPr>
            <p:cNvSpPr/>
            <p:nvPr/>
          </p:nvSpPr>
          <p:spPr>
            <a:xfrm rot="11700000">
              <a:off x="7320002" y="1503410"/>
              <a:ext cx="681403" cy="703669"/>
            </a:xfrm>
            <a:prstGeom prst="downArrow">
              <a:avLst>
                <a:gd name="adj1" fmla="val 52857"/>
                <a:gd name="adj2" fmla="val 82725"/>
              </a:avLst>
            </a:prstGeom>
            <a:solidFill>
              <a:srgbClr val="FCB41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2" name="Rectangle 61">
              <a:extLst>
                <a:ext uri="{FF2B5EF4-FFF2-40B4-BE49-F238E27FC236}">
                  <a16:creationId xmlns:a16="http://schemas.microsoft.com/office/drawing/2014/main" id="{8105E533-842B-A20E-1A35-C6F499260B53}"/>
                </a:ext>
              </a:extLst>
            </p:cNvPr>
            <p:cNvSpPr/>
            <p:nvPr/>
          </p:nvSpPr>
          <p:spPr>
            <a:xfrm>
              <a:off x="5962068" y="2676476"/>
              <a:ext cx="1524317" cy="417244"/>
            </a:xfrm>
            <a:prstGeom prst="rect">
              <a:avLst/>
            </a:prstGeom>
            <a:solidFill>
              <a:srgbClr val="FCB414"/>
            </a:solidFill>
            <a:ln w="12700" cap="flat" cmpd="sng" algn="ctr">
              <a:noFill/>
              <a:prstDash val="solid"/>
              <a:miter lim="800000"/>
            </a:ln>
            <a:effectLst/>
          </p:spPr>
          <p:txBody>
            <a:bodyPr rtlCol="0" anchor="ctr"/>
            <a:lstStyle/>
            <a:p>
              <a:pPr algn="ctr">
                <a:buClrTx/>
              </a:pPr>
              <a:endParaRPr lang="en-CA" sz="1800" kern="1200">
                <a:solidFill>
                  <a:srgbClr val="FFFFFF"/>
                </a:solidFill>
                <a:latin typeface="Calibri" panose="020F0502020204030204"/>
              </a:endParaRPr>
            </a:p>
          </p:txBody>
        </p:sp>
        <p:sp>
          <p:nvSpPr>
            <p:cNvPr id="63" name="Arrow: Down 62">
              <a:extLst>
                <a:ext uri="{FF2B5EF4-FFF2-40B4-BE49-F238E27FC236}">
                  <a16:creationId xmlns:a16="http://schemas.microsoft.com/office/drawing/2014/main" id="{5E5884D3-85A4-7BC0-0FFC-D6CFA7266A27}"/>
                </a:ext>
              </a:extLst>
            </p:cNvPr>
            <p:cNvSpPr/>
            <p:nvPr/>
          </p:nvSpPr>
          <p:spPr>
            <a:xfrm rot="18324580">
              <a:off x="7718222" y="2923108"/>
              <a:ext cx="668799" cy="703669"/>
            </a:xfrm>
            <a:prstGeom prst="downArrow">
              <a:avLst>
                <a:gd name="adj1" fmla="val 52857"/>
                <a:gd name="adj2" fmla="val 82725"/>
              </a:avLst>
            </a:prstGeom>
            <a:solidFill>
              <a:srgbClr val="FCB41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89" name="Oval 64">
            <a:extLst>
              <a:ext uri="{FF2B5EF4-FFF2-40B4-BE49-F238E27FC236}">
                <a16:creationId xmlns:a16="http://schemas.microsoft.com/office/drawing/2014/main" id="{6A34B950-8764-3503-95A5-C3E4028750EA}"/>
              </a:ext>
            </a:extLst>
          </p:cNvPr>
          <p:cNvSpPr>
            <a:spLocks noChangeArrowheads="1"/>
          </p:cNvSpPr>
          <p:nvPr/>
        </p:nvSpPr>
        <p:spPr bwMode="auto">
          <a:xfrm>
            <a:off x="695276" y="1065021"/>
            <a:ext cx="671063" cy="675644"/>
          </a:xfrm>
          <a:prstGeom prst="ellipse">
            <a:avLst/>
          </a:prstGeom>
          <a:solidFill>
            <a:schemeClr val="accent6">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90" name="Freeform 65">
            <a:extLst>
              <a:ext uri="{FF2B5EF4-FFF2-40B4-BE49-F238E27FC236}">
                <a16:creationId xmlns:a16="http://schemas.microsoft.com/office/drawing/2014/main" id="{929157CD-2D30-79DF-874B-0EB677F27A3D}"/>
              </a:ext>
            </a:extLst>
          </p:cNvPr>
          <p:cNvSpPr>
            <a:spLocks/>
          </p:cNvSpPr>
          <p:nvPr/>
        </p:nvSpPr>
        <p:spPr bwMode="auto">
          <a:xfrm>
            <a:off x="1109823" y="1265423"/>
            <a:ext cx="140855" cy="142000"/>
          </a:xfrm>
          <a:custGeom>
            <a:avLst/>
            <a:gdLst>
              <a:gd name="T0" fmla="*/ 56 w 113"/>
              <a:gd name="T1" fmla="*/ 0 h 113"/>
              <a:gd name="T2" fmla="*/ 113 w 113"/>
              <a:gd name="T3" fmla="*/ 57 h 113"/>
              <a:gd name="T4" fmla="*/ 57 w 113"/>
              <a:gd name="T5" fmla="*/ 113 h 113"/>
              <a:gd name="T6" fmla="*/ 0 w 113"/>
              <a:gd name="T7" fmla="*/ 57 h 113"/>
              <a:gd name="T8" fmla="*/ 56 w 113"/>
              <a:gd name="T9" fmla="*/ 0 h 113"/>
            </a:gdLst>
            <a:ahLst/>
            <a:cxnLst>
              <a:cxn ang="0">
                <a:pos x="T0" y="T1"/>
              </a:cxn>
              <a:cxn ang="0">
                <a:pos x="T2" y="T3"/>
              </a:cxn>
              <a:cxn ang="0">
                <a:pos x="T4" y="T5"/>
              </a:cxn>
              <a:cxn ang="0">
                <a:pos x="T6" y="T7"/>
              </a:cxn>
              <a:cxn ang="0">
                <a:pos x="T8" y="T9"/>
              </a:cxn>
            </a:cxnLst>
            <a:rect l="0" t="0" r="r" b="b"/>
            <a:pathLst>
              <a:path w="113" h="113">
                <a:moveTo>
                  <a:pt x="56" y="0"/>
                </a:moveTo>
                <a:cubicBezTo>
                  <a:pt x="88" y="0"/>
                  <a:pt x="113" y="26"/>
                  <a:pt x="113" y="57"/>
                </a:cubicBezTo>
                <a:cubicBezTo>
                  <a:pt x="113" y="88"/>
                  <a:pt x="88" y="113"/>
                  <a:pt x="57" y="113"/>
                </a:cubicBezTo>
                <a:cubicBezTo>
                  <a:pt x="25" y="113"/>
                  <a:pt x="0" y="88"/>
                  <a:pt x="0" y="57"/>
                </a:cubicBezTo>
                <a:cubicBezTo>
                  <a:pt x="0" y="25"/>
                  <a:pt x="25" y="0"/>
                  <a:pt x="5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91" name="Freeform 66">
            <a:extLst>
              <a:ext uri="{FF2B5EF4-FFF2-40B4-BE49-F238E27FC236}">
                <a16:creationId xmlns:a16="http://schemas.microsoft.com/office/drawing/2014/main" id="{DC21C8AF-605D-743B-0215-EB9CDD06F7A4}"/>
              </a:ext>
            </a:extLst>
          </p:cNvPr>
          <p:cNvSpPr>
            <a:spLocks/>
          </p:cNvSpPr>
          <p:nvPr/>
        </p:nvSpPr>
        <p:spPr bwMode="auto">
          <a:xfrm>
            <a:off x="1093791" y="1418875"/>
            <a:ext cx="168339" cy="127112"/>
          </a:xfrm>
          <a:custGeom>
            <a:avLst/>
            <a:gdLst>
              <a:gd name="T0" fmla="*/ 69 w 135"/>
              <a:gd name="T1" fmla="*/ 96 h 101"/>
              <a:gd name="T2" fmla="*/ 18 w 135"/>
              <a:gd name="T3" fmla="*/ 96 h 101"/>
              <a:gd name="T4" fmla="*/ 7 w 135"/>
              <a:gd name="T5" fmla="*/ 91 h 101"/>
              <a:gd name="T6" fmla="*/ 34 w 135"/>
              <a:gd name="T7" fmla="*/ 16 h 101"/>
              <a:gd name="T8" fmla="*/ 96 w 135"/>
              <a:gd name="T9" fmla="*/ 11 h 101"/>
              <a:gd name="T10" fmla="*/ 131 w 135"/>
              <a:gd name="T11" fmla="*/ 69 h 101"/>
              <a:gd name="T12" fmla="*/ 105 w 135"/>
              <a:gd name="T13" fmla="*/ 96 h 101"/>
              <a:gd name="T14" fmla="*/ 69 w 135"/>
              <a:gd name="T15" fmla="*/ 96 h 1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101">
                <a:moveTo>
                  <a:pt x="69" y="96"/>
                </a:moveTo>
                <a:cubicBezTo>
                  <a:pt x="52" y="96"/>
                  <a:pt x="35" y="96"/>
                  <a:pt x="18" y="96"/>
                </a:cubicBezTo>
                <a:cubicBezTo>
                  <a:pt x="14" y="95"/>
                  <a:pt x="9" y="97"/>
                  <a:pt x="7" y="91"/>
                </a:cubicBezTo>
                <a:cubicBezTo>
                  <a:pt x="0" y="65"/>
                  <a:pt x="12" y="31"/>
                  <a:pt x="34" y="16"/>
                </a:cubicBezTo>
                <a:cubicBezTo>
                  <a:pt x="54" y="2"/>
                  <a:pt x="75" y="0"/>
                  <a:pt x="96" y="11"/>
                </a:cubicBezTo>
                <a:cubicBezTo>
                  <a:pt x="119" y="23"/>
                  <a:pt x="131" y="43"/>
                  <a:pt x="131" y="69"/>
                </a:cubicBezTo>
                <a:cubicBezTo>
                  <a:pt x="132" y="101"/>
                  <a:pt x="135" y="95"/>
                  <a:pt x="105" y="96"/>
                </a:cubicBezTo>
                <a:cubicBezTo>
                  <a:pt x="93" y="96"/>
                  <a:pt x="81" y="96"/>
                  <a:pt x="69"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92" name="Freeform 67">
            <a:extLst>
              <a:ext uri="{FF2B5EF4-FFF2-40B4-BE49-F238E27FC236}">
                <a16:creationId xmlns:a16="http://schemas.microsoft.com/office/drawing/2014/main" id="{E49AAD18-1775-50DC-CF4A-EE2327B392A2}"/>
              </a:ext>
            </a:extLst>
          </p:cNvPr>
          <p:cNvSpPr>
            <a:spLocks/>
          </p:cNvSpPr>
          <p:nvPr/>
        </p:nvSpPr>
        <p:spPr bwMode="auto">
          <a:xfrm>
            <a:off x="950646" y="1292907"/>
            <a:ext cx="129403" cy="127112"/>
          </a:xfrm>
          <a:custGeom>
            <a:avLst/>
            <a:gdLst>
              <a:gd name="T0" fmla="*/ 51 w 103"/>
              <a:gd name="T1" fmla="*/ 0 h 101"/>
              <a:gd name="T2" fmla="*/ 102 w 103"/>
              <a:gd name="T3" fmla="*/ 51 h 101"/>
              <a:gd name="T4" fmla="*/ 52 w 103"/>
              <a:gd name="T5" fmla="*/ 101 h 101"/>
              <a:gd name="T6" fmla="*/ 1 w 103"/>
              <a:gd name="T7" fmla="*/ 51 h 101"/>
              <a:gd name="T8" fmla="*/ 51 w 103"/>
              <a:gd name="T9" fmla="*/ 0 h 101"/>
            </a:gdLst>
            <a:ahLst/>
            <a:cxnLst>
              <a:cxn ang="0">
                <a:pos x="T0" y="T1"/>
              </a:cxn>
              <a:cxn ang="0">
                <a:pos x="T2" y="T3"/>
              </a:cxn>
              <a:cxn ang="0">
                <a:pos x="T4" y="T5"/>
              </a:cxn>
              <a:cxn ang="0">
                <a:pos x="T6" y="T7"/>
              </a:cxn>
              <a:cxn ang="0">
                <a:pos x="T8" y="T9"/>
              </a:cxn>
            </a:cxnLst>
            <a:rect l="0" t="0" r="r" b="b"/>
            <a:pathLst>
              <a:path w="103" h="101">
                <a:moveTo>
                  <a:pt x="51" y="0"/>
                </a:moveTo>
                <a:cubicBezTo>
                  <a:pt x="80" y="0"/>
                  <a:pt x="102" y="22"/>
                  <a:pt x="102" y="51"/>
                </a:cubicBezTo>
                <a:cubicBezTo>
                  <a:pt x="103" y="79"/>
                  <a:pt x="80" y="101"/>
                  <a:pt x="52" y="101"/>
                </a:cubicBezTo>
                <a:cubicBezTo>
                  <a:pt x="24" y="101"/>
                  <a:pt x="1" y="79"/>
                  <a:pt x="1" y="51"/>
                </a:cubicBezTo>
                <a:cubicBezTo>
                  <a:pt x="0" y="23"/>
                  <a:pt x="23" y="0"/>
                  <a:pt x="5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93" name="Freeform 68">
            <a:extLst>
              <a:ext uri="{FF2B5EF4-FFF2-40B4-BE49-F238E27FC236}">
                <a16:creationId xmlns:a16="http://schemas.microsoft.com/office/drawing/2014/main" id="{F4C8E5ED-A369-401A-1BFA-547C95A37A4E}"/>
              </a:ext>
            </a:extLst>
          </p:cNvPr>
          <p:cNvSpPr>
            <a:spLocks/>
          </p:cNvSpPr>
          <p:nvPr/>
        </p:nvSpPr>
        <p:spPr bwMode="auto">
          <a:xfrm>
            <a:off x="935759" y="1425746"/>
            <a:ext cx="153451" cy="114516"/>
          </a:xfrm>
          <a:custGeom>
            <a:avLst/>
            <a:gdLst>
              <a:gd name="T0" fmla="*/ 63 w 123"/>
              <a:gd name="T1" fmla="*/ 91 h 91"/>
              <a:gd name="T2" fmla="*/ 18 w 123"/>
              <a:gd name="T3" fmla="*/ 91 h 91"/>
              <a:gd name="T4" fmla="*/ 7 w 123"/>
              <a:gd name="T5" fmla="*/ 85 h 91"/>
              <a:gd name="T6" fmla="*/ 45 w 123"/>
              <a:gd name="T7" fmla="*/ 12 h 91"/>
              <a:gd name="T8" fmla="*/ 119 w 123"/>
              <a:gd name="T9" fmla="*/ 57 h 91"/>
              <a:gd name="T10" fmla="*/ 90 w 123"/>
              <a:gd name="T11" fmla="*/ 91 h 91"/>
              <a:gd name="T12" fmla="*/ 63 w 123"/>
              <a:gd name="T13" fmla="*/ 91 h 91"/>
            </a:gdLst>
            <a:ahLst/>
            <a:cxnLst>
              <a:cxn ang="0">
                <a:pos x="T0" y="T1"/>
              </a:cxn>
              <a:cxn ang="0">
                <a:pos x="T2" y="T3"/>
              </a:cxn>
              <a:cxn ang="0">
                <a:pos x="T4" y="T5"/>
              </a:cxn>
              <a:cxn ang="0">
                <a:pos x="T6" y="T7"/>
              </a:cxn>
              <a:cxn ang="0">
                <a:pos x="T8" y="T9"/>
              </a:cxn>
              <a:cxn ang="0">
                <a:pos x="T10" y="T11"/>
              </a:cxn>
              <a:cxn ang="0">
                <a:pos x="T12" y="T13"/>
              </a:cxn>
            </a:cxnLst>
            <a:rect l="0" t="0" r="r" b="b"/>
            <a:pathLst>
              <a:path w="123" h="91">
                <a:moveTo>
                  <a:pt x="63" y="91"/>
                </a:moveTo>
                <a:cubicBezTo>
                  <a:pt x="48" y="91"/>
                  <a:pt x="32" y="91"/>
                  <a:pt x="18" y="91"/>
                </a:cubicBezTo>
                <a:cubicBezTo>
                  <a:pt x="13" y="91"/>
                  <a:pt x="9" y="91"/>
                  <a:pt x="7" y="85"/>
                </a:cubicBezTo>
                <a:cubicBezTo>
                  <a:pt x="0" y="58"/>
                  <a:pt x="18" y="22"/>
                  <a:pt x="45" y="12"/>
                </a:cubicBezTo>
                <a:cubicBezTo>
                  <a:pt x="77" y="0"/>
                  <a:pt x="114" y="23"/>
                  <a:pt x="119" y="57"/>
                </a:cubicBezTo>
                <a:cubicBezTo>
                  <a:pt x="123" y="91"/>
                  <a:pt x="123" y="91"/>
                  <a:pt x="90" y="91"/>
                </a:cubicBezTo>
                <a:cubicBezTo>
                  <a:pt x="81" y="91"/>
                  <a:pt x="72" y="91"/>
                  <a:pt x="63" y="9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94" name="Freeform 69">
            <a:extLst>
              <a:ext uri="{FF2B5EF4-FFF2-40B4-BE49-F238E27FC236}">
                <a16:creationId xmlns:a16="http://schemas.microsoft.com/office/drawing/2014/main" id="{2A43EECE-279D-6EF7-D13C-6DB3414EA56D}"/>
              </a:ext>
            </a:extLst>
          </p:cNvPr>
          <p:cNvSpPr>
            <a:spLocks/>
          </p:cNvSpPr>
          <p:nvPr/>
        </p:nvSpPr>
        <p:spPr bwMode="auto">
          <a:xfrm>
            <a:off x="808646" y="1316956"/>
            <a:ext cx="113371" cy="115661"/>
          </a:xfrm>
          <a:custGeom>
            <a:avLst/>
            <a:gdLst>
              <a:gd name="T0" fmla="*/ 91 w 91"/>
              <a:gd name="T1" fmla="*/ 46 h 92"/>
              <a:gd name="T2" fmla="*/ 46 w 91"/>
              <a:gd name="T3" fmla="*/ 92 h 92"/>
              <a:gd name="T4" fmla="*/ 0 w 91"/>
              <a:gd name="T5" fmla="*/ 46 h 92"/>
              <a:gd name="T6" fmla="*/ 46 w 91"/>
              <a:gd name="T7" fmla="*/ 1 h 92"/>
              <a:gd name="T8" fmla="*/ 91 w 91"/>
              <a:gd name="T9" fmla="*/ 46 h 92"/>
            </a:gdLst>
            <a:ahLst/>
            <a:cxnLst>
              <a:cxn ang="0">
                <a:pos x="T0" y="T1"/>
              </a:cxn>
              <a:cxn ang="0">
                <a:pos x="T2" y="T3"/>
              </a:cxn>
              <a:cxn ang="0">
                <a:pos x="T4" y="T5"/>
              </a:cxn>
              <a:cxn ang="0">
                <a:pos x="T6" y="T7"/>
              </a:cxn>
              <a:cxn ang="0">
                <a:pos x="T8" y="T9"/>
              </a:cxn>
            </a:cxnLst>
            <a:rect l="0" t="0" r="r" b="b"/>
            <a:pathLst>
              <a:path w="91" h="92">
                <a:moveTo>
                  <a:pt x="91" y="46"/>
                </a:moveTo>
                <a:cubicBezTo>
                  <a:pt x="91" y="72"/>
                  <a:pt x="71" y="92"/>
                  <a:pt x="46" y="92"/>
                </a:cubicBezTo>
                <a:cubicBezTo>
                  <a:pt x="20" y="92"/>
                  <a:pt x="0" y="71"/>
                  <a:pt x="0" y="46"/>
                </a:cubicBezTo>
                <a:cubicBezTo>
                  <a:pt x="0" y="21"/>
                  <a:pt x="21" y="1"/>
                  <a:pt x="46" y="1"/>
                </a:cubicBezTo>
                <a:cubicBezTo>
                  <a:pt x="71" y="0"/>
                  <a:pt x="91" y="21"/>
                  <a:pt x="91" y="4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95" name="Freeform 70">
            <a:extLst>
              <a:ext uri="{FF2B5EF4-FFF2-40B4-BE49-F238E27FC236}">
                <a16:creationId xmlns:a16="http://schemas.microsoft.com/office/drawing/2014/main" id="{066C796D-547E-47D5-14AF-9C280BCA8C30}"/>
              </a:ext>
            </a:extLst>
          </p:cNvPr>
          <p:cNvSpPr>
            <a:spLocks/>
          </p:cNvSpPr>
          <p:nvPr/>
        </p:nvSpPr>
        <p:spPr bwMode="auto">
          <a:xfrm>
            <a:off x="801775" y="1441778"/>
            <a:ext cx="131694" cy="98484"/>
          </a:xfrm>
          <a:custGeom>
            <a:avLst/>
            <a:gdLst>
              <a:gd name="T0" fmla="*/ 51 w 105"/>
              <a:gd name="T1" fmla="*/ 78 h 78"/>
              <a:gd name="T2" fmla="*/ 11 w 105"/>
              <a:gd name="T3" fmla="*/ 78 h 78"/>
              <a:gd name="T4" fmla="*/ 0 w 105"/>
              <a:gd name="T5" fmla="*/ 67 h 78"/>
              <a:gd name="T6" fmla="*/ 14 w 105"/>
              <a:gd name="T7" fmla="*/ 21 h 78"/>
              <a:gd name="T8" fmla="*/ 65 w 105"/>
              <a:gd name="T9" fmla="*/ 6 h 78"/>
              <a:gd name="T10" fmla="*/ 101 w 105"/>
              <a:gd name="T11" fmla="*/ 49 h 78"/>
              <a:gd name="T12" fmla="*/ 76 w 105"/>
              <a:gd name="T13" fmla="*/ 78 h 78"/>
              <a:gd name="T14" fmla="*/ 51 w 105"/>
              <a:gd name="T15" fmla="*/ 78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78">
                <a:moveTo>
                  <a:pt x="51" y="78"/>
                </a:moveTo>
                <a:cubicBezTo>
                  <a:pt x="38" y="78"/>
                  <a:pt x="25" y="77"/>
                  <a:pt x="11" y="78"/>
                </a:cubicBezTo>
                <a:cubicBezTo>
                  <a:pt x="2" y="78"/>
                  <a:pt x="0" y="75"/>
                  <a:pt x="0" y="67"/>
                </a:cubicBezTo>
                <a:cubicBezTo>
                  <a:pt x="0" y="50"/>
                  <a:pt x="2" y="34"/>
                  <a:pt x="14" y="21"/>
                </a:cubicBezTo>
                <a:cubicBezTo>
                  <a:pt x="28" y="6"/>
                  <a:pt x="45" y="0"/>
                  <a:pt x="65" y="6"/>
                </a:cubicBezTo>
                <a:cubicBezTo>
                  <a:pt x="86" y="13"/>
                  <a:pt x="98" y="28"/>
                  <a:pt x="101" y="49"/>
                </a:cubicBezTo>
                <a:cubicBezTo>
                  <a:pt x="105" y="77"/>
                  <a:pt x="104" y="78"/>
                  <a:pt x="76" y="78"/>
                </a:cubicBezTo>
                <a:cubicBezTo>
                  <a:pt x="67" y="78"/>
                  <a:pt x="59" y="78"/>
                  <a:pt x="51" y="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81" name="Freeform 6">
            <a:extLst>
              <a:ext uri="{FF2B5EF4-FFF2-40B4-BE49-F238E27FC236}">
                <a16:creationId xmlns:a16="http://schemas.microsoft.com/office/drawing/2014/main" id="{0ECF21AA-CF04-6C0E-620B-849319F45EC1}"/>
              </a:ext>
            </a:extLst>
          </p:cNvPr>
          <p:cNvSpPr>
            <a:spLocks noEditPoints="1"/>
          </p:cNvSpPr>
          <p:nvPr/>
        </p:nvSpPr>
        <p:spPr bwMode="auto">
          <a:xfrm>
            <a:off x="521957" y="1555768"/>
            <a:ext cx="173319" cy="184897"/>
          </a:xfrm>
          <a:custGeom>
            <a:avLst/>
            <a:gdLst>
              <a:gd name="T0" fmla="*/ 53 w 107"/>
              <a:gd name="T1" fmla="*/ 0 h 107"/>
              <a:gd name="T2" fmla="*/ 0 w 107"/>
              <a:gd name="T3" fmla="*/ 54 h 107"/>
              <a:gd name="T4" fmla="*/ 53 w 107"/>
              <a:gd name="T5" fmla="*/ 107 h 107"/>
              <a:gd name="T6" fmla="*/ 107 w 107"/>
              <a:gd name="T7" fmla="*/ 54 h 107"/>
              <a:gd name="T8" fmla="*/ 53 w 107"/>
              <a:gd name="T9" fmla="*/ 0 h 107"/>
              <a:gd name="T10" fmla="*/ 53 w 107"/>
              <a:gd name="T11" fmla="*/ 75 h 107"/>
              <a:gd name="T12" fmla="*/ 32 w 107"/>
              <a:gd name="T13" fmla="*/ 54 h 107"/>
              <a:gd name="T14" fmla="*/ 53 w 107"/>
              <a:gd name="T15" fmla="*/ 33 h 107"/>
              <a:gd name="T16" fmla="*/ 74 w 107"/>
              <a:gd name="T17" fmla="*/ 54 h 107"/>
              <a:gd name="T18" fmla="*/ 53 w 107"/>
              <a:gd name="T19" fmla="*/ 75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7">
                <a:moveTo>
                  <a:pt x="53" y="0"/>
                </a:moveTo>
                <a:cubicBezTo>
                  <a:pt x="24" y="0"/>
                  <a:pt x="0" y="24"/>
                  <a:pt x="0" y="54"/>
                </a:cubicBezTo>
                <a:cubicBezTo>
                  <a:pt x="0" y="83"/>
                  <a:pt x="24" y="107"/>
                  <a:pt x="53" y="107"/>
                </a:cubicBezTo>
                <a:cubicBezTo>
                  <a:pt x="83" y="107"/>
                  <a:pt x="107" y="83"/>
                  <a:pt x="107" y="54"/>
                </a:cubicBezTo>
                <a:cubicBezTo>
                  <a:pt x="107" y="24"/>
                  <a:pt x="83" y="0"/>
                  <a:pt x="53" y="0"/>
                </a:cubicBezTo>
                <a:close/>
                <a:moveTo>
                  <a:pt x="53" y="75"/>
                </a:moveTo>
                <a:cubicBezTo>
                  <a:pt x="42" y="75"/>
                  <a:pt x="32" y="65"/>
                  <a:pt x="32" y="54"/>
                </a:cubicBezTo>
                <a:cubicBezTo>
                  <a:pt x="32" y="42"/>
                  <a:pt x="42" y="33"/>
                  <a:pt x="53" y="33"/>
                </a:cubicBezTo>
                <a:cubicBezTo>
                  <a:pt x="65" y="33"/>
                  <a:pt x="74" y="42"/>
                  <a:pt x="74" y="54"/>
                </a:cubicBezTo>
                <a:cubicBezTo>
                  <a:pt x="74" y="65"/>
                  <a:pt x="65" y="75"/>
                  <a:pt x="53" y="75"/>
                </a:cubicBezTo>
                <a:close/>
              </a:path>
            </a:pathLst>
          </a:custGeom>
          <a:solidFill>
            <a:srgbClr val="00B0F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82" name="Freeform 7">
            <a:extLst>
              <a:ext uri="{FF2B5EF4-FFF2-40B4-BE49-F238E27FC236}">
                <a16:creationId xmlns:a16="http://schemas.microsoft.com/office/drawing/2014/main" id="{DF4F3E70-1215-B187-AB55-4FB50DF6DBB6}"/>
              </a:ext>
            </a:extLst>
          </p:cNvPr>
          <p:cNvSpPr>
            <a:spLocks noEditPoints="1"/>
          </p:cNvSpPr>
          <p:nvPr/>
        </p:nvSpPr>
        <p:spPr bwMode="auto">
          <a:xfrm>
            <a:off x="369972" y="1279132"/>
            <a:ext cx="224530" cy="211791"/>
          </a:xfrm>
          <a:custGeom>
            <a:avLst/>
            <a:gdLst>
              <a:gd name="T0" fmla="*/ 53 w 107"/>
              <a:gd name="T1" fmla="*/ 0 h 107"/>
              <a:gd name="T2" fmla="*/ 0 w 107"/>
              <a:gd name="T3" fmla="*/ 54 h 107"/>
              <a:gd name="T4" fmla="*/ 53 w 107"/>
              <a:gd name="T5" fmla="*/ 107 h 107"/>
              <a:gd name="T6" fmla="*/ 107 w 107"/>
              <a:gd name="T7" fmla="*/ 54 h 107"/>
              <a:gd name="T8" fmla="*/ 53 w 107"/>
              <a:gd name="T9" fmla="*/ 0 h 107"/>
              <a:gd name="T10" fmla="*/ 53 w 107"/>
              <a:gd name="T11" fmla="*/ 75 h 107"/>
              <a:gd name="T12" fmla="*/ 32 w 107"/>
              <a:gd name="T13" fmla="*/ 54 h 107"/>
              <a:gd name="T14" fmla="*/ 53 w 107"/>
              <a:gd name="T15" fmla="*/ 33 h 107"/>
              <a:gd name="T16" fmla="*/ 74 w 107"/>
              <a:gd name="T17" fmla="*/ 54 h 107"/>
              <a:gd name="T18" fmla="*/ 53 w 107"/>
              <a:gd name="T19" fmla="*/ 75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7">
                <a:moveTo>
                  <a:pt x="53" y="0"/>
                </a:moveTo>
                <a:cubicBezTo>
                  <a:pt x="24" y="0"/>
                  <a:pt x="0" y="24"/>
                  <a:pt x="0" y="54"/>
                </a:cubicBezTo>
                <a:cubicBezTo>
                  <a:pt x="0" y="83"/>
                  <a:pt x="24" y="107"/>
                  <a:pt x="53" y="107"/>
                </a:cubicBezTo>
                <a:cubicBezTo>
                  <a:pt x="83" y="107"/>
                  <a:pt x="107" y="83"/>
                  <a:pt x="107" y="54"/>
                </a:cubicBezTo>
                <a:cubicBezTo>
                  <a:pt x="107" y="24"/>
                  <a:pt x="83" y="0"/>
                  <a:pt x="53" y="0"/>
                </a:cubicBezTo>
                <a:close/>
                <a:moveTo>
                  <a:pt x="53" y="75"/>
                </a:moveTo>
                <a:cubicBezTo>
                  <a:pt x="42" y="75"/>
                  <a:pt x="32" y="65"/>
                  <a:pt x="32" y="54"/>
                </a:cubicBezTo>
                <a:cubicBezTo>
                  <a:pt x="32" y="42"/>
                  <a:pt x="42" y="33"/>
                  <a:pt x="53" y="33"/>
                </a:cubicBezTo>
                <a:cubicBezTo>
                  <a:pt x="65" y="33"/>
                  <a:pt x="74" y="42"/>
                  <a:pt x="74" y="54"/>
                </a:cubicBezTo>
                <a:cubicBezTo>
                  <a:pt x="74" y="65"/>
                  <a:pt x="65" y="75"/>
                  <a:pt x="53" y="75"/>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83" name="Freeform 8">
            <a:extLst>
              <a:ext uri="{FF2B5EF4-FFF2-40B4-BE49-F238E27FC236}">
                <a16:creationId xmlns:a16="http://schemas.microsoft.com/office/drawing/2014/main" id="{2FB3525A-7EFF-702D-87F9-126A773C7B21}"/>
              </a:ext>
            </a:extLst>
          </p:cNvPr>
          <p:cNvSpPr>
            <a:spLocks noEditPoints="1"/>
          </p:cNvSpPr>
          <p:nvPr/>
        </p:nvSpPr>
        <p:spPr bwMode="auto">
          <a:xfrm>
            <a:off x="183202" y="1036044"/>
            <a:ext cx="230790" cy="218515"/>
          </a:xfrm>
          <a:custGeom>
            <a:avLst/>
            <a:gdLst>
              <a:gd name="T0" fmla="*/ 53 w 107"/>
              <a:gd name="T1" fmla="*/ 0 h 107"/>
              <a:gd name="T2" fmla="*/ 0 w 107"/>
              <a:gd name="T3" fmla="*/ 54 h 107"/>
              <a:gd name="T4" fmla="*/ 53 w 107"/>
              <a:gd name="T5" fmla="*/ 107 h 107"/>
              <a:gd name="T6" fmla="*/ 107 w 107"/>
              <a:gd name="T7" fmla="*/ 54 h 107"/>
              <a:gd name="T8" fmla="*/ 53 w 107"/>
              <a:gd name="T9" fmla="*/ 0 h 107"/>
              <a:gd name="T10" fmla="*/ 53 w 107"/>
              <a:gd name="T11" fmla="*/ 75 h 107"/>
              <a:gd name="T12" fmla="*/ 32 w 107"/>
              <a:gd name="T13" fmla="*/ 54 h 107"/>
              <a:gd name="T14" fmla="*/ 53 w 107"/>
              <a:gd name="T15" fmla="*/ 33 h 107"/>
              <a:gd name="T16" fmla="*/ 74 w 107"/>
              <a:gd name="T17" fmla="*/ 54 h 107"/>
              <a:gd name="T18" fmla="*/ 53 w 107"/>
              <a:gd name="T19" fmla="*/ 75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7">
                <a:moveTo>
                  <a:pt x="53" y="0"/>
                </a:moveTo>
                <a:cubicBezTo>
                  <a:pt x="24" y="0"/>
                  <a:pt x="0" y="24"/>
                  <a:pt x="0" y="54"/>
                </a:cubicBezTo>
                <a:cubicBezTo>
                  <a:pt x="0" y="83"/>
                  <a:pt x="24" y="107"/>
                  <a:pt x="53" y="107"/>
                </a:cubicBezTo>
                <a:cubicBezTo>
                  <a:pt x="83" y="107"/>
                  <a:pt x="107" y="83"/>
                  <a:pt x="107" y="54"/>
                </a:cubicBezTo>
                <a:cubicBezTo>
                  <a:pt x="107" y="24"/>
                  <a:pt x="83" y="0"/>
                  <a:pt x="53" y="0"/>
                </a:cubicBezTo>
                <a:close/>
                <a:moveTo>
                  <a:pt x="53" y="75"/>
                </a:moveTo>
                <a:cubicBezTo>
                  <a:pt x="42" y="75"/>
                  <a:pt x="32" y="65"/>
                  <a:pt x="32" y="54"/>
                </a:cubicBezTo>
                <a:cubicBezTo>
                  <a:pt x="32" y="42"/>
                  <a:pt x="42" y="33"/>
                  <a:pt x="53" y="33"/>
                </a:cubicBezTo>
                <a:cubicBezTo>
                  <a:pt x="65" y="33"/>
                  <a:pt x="74" y="42"/>
                  <a:pt x="74" y="54"/>
                </a:cubicBezTo>
                <a:cubicBezTo>
                  <a:pt x="74" y="65"/>
                  <a:pt x="65" y="75"/>
                  <a:pt x="53" y="75"/>
                </a:cubicBezTo>
                <a:close/>
              </a:path>
            </a:pathLst>
          </a:custGeom>
          <a:solidFill>
            <a:srgbClr val="FF339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84" name="Freeform 6">
            <a:extLst>
              <a:ext uri="{FF2B5EF4-FFF2-40B4-BE49-F238E27FC236}">
                <a16:creationId xmlns:a16="http://schemas.microsoft.com/office/drawing/2014/main" id="{24E80D96-0ACA-7EB6-BF69-7A1A475B2575}"/>
              </a:ext>
            </a:extLst>
          </p:cNvPr>
          <p:cNvSpPr>
            <a:spLocks noEditPoints="1"/>
          </p:cNvSpPr>
          <p:nvPr/>
        </p:nvSpPr>
        <p:spPr bwMode="auto">
          <a:xfrm>
            <a:off x="538962" y="1036044"/>
            <a:ext cx="173319" cy="184897"/>
          </a:xfrm>
          <a:custGeom>
            <a:avLst/>
            <a:gdLst>
              <a:gd name="T0" fmla="*/ 53 w 107"/>
              <a:gd name="T1" fmla="*/ 0 h 107"/>
              <a:gd name="T2" fmla="*/ 0 w 107"/>
              <a:gd name="T3" fmla="*/ 54 h 107"/>
              <a:gd name="T4" fmla="*/ 53 w 107"/>
              <a:gd name="T5" fmla="*/ 107 h 107"/>
              <a:gd name="T6" fmla="*/ 107 w 107"/>
              <a:gd name="T7" fmla="*/ 54 h 107"/>
              <a:gd name="T8" fmla="*/ 53 w 107"/>
              <a:gd name="T9" fmla="*/ 0 h 107"/>
              <a:gd name="T10" fmla="*/ 53 w 107"/>
              <a:gd name="T11" fmla="*/ 75 h 107"/>
              <a:gd name="T12" fmla="*/ 32 w 107"/>
              <a:gd name="T13" fmla="*/ 54 h 107"/>
              <a:gd name="T14" fmla="*/ 53 w 107"/>
              <a:gd name="T15" fmla="*/ 33 h 107"/>
              <a:gd name="T16" fmla="*/ 74 w 107"/>
              <a:gd name="T17" fmla="*/ 54 h 107"/>
              <a:gd name="T18" fmla="*/ 53 w 107"/>
              <a:gd name="T19" fmla="*/ 75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7">
                <a:moveTo>
                  <a:pt x="53" y="0"/>
                </a:moveTo>
                <a:cubicBezTo>
                  <a:pt x="24" y="0"/>
                  <a:pt x="0" y="24"/>
                  <a:pt x="0" y="54"/>
                </a:cubicBezTo>
                <a:cubicBezTo>
                  <a:pt x="0" y="83"/>
                  <a:pt x="24" y="107"/>
                  <a:pt x="53" y="107"/>
                </a:cubicBezTo>
                <a:cubicBezTo>
                  <a:pt x="83" y="107"/>
                  <a:pt x="107" y="83"/>
                  <a:pt x="107" y="54"/>
                </a:cubicBezTo>
                <a:cubicBezTo>
                  <a:pt x="107" y="24"/>
                  <a:pt x="83" y="0"/>
                  <a:pt x="53" y="0"/>
                </a:cubicBezTo>
                <a:close/>
                <a:moveTo>
                  <a:pt x="53" y="75"/>
                </a:moveTo>
                <a:cubicBezTo>
                  <a:pt x="42" y="75"/>
                  <a:pt x="32" y="65"/>
                  <a:pt x="32" y="54"/>
                </a:cubicBezTo>
                <a:cubicBezTo>
                  <a:pt x="32" y="42"/>
                  <a:pt x="42" y="33"/>
                  <a:pt x="53" y="33"/>
                </a:cubicBezTo>
                <a:cubicBezTo>
                  <a:pt x="65" y="33"/>
                  <a:pt x="74" y="42"/>
                  <a:pt x="74" y="54"/>
                </a:cubicBezTo>
                <a:cubicBezTo>
                  <a:pt x="74" y="65"/>
                  <a:pt x="65" y="75"/>
                  <a:pt x="53" y="75"/>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85" name="Freeform 6">
            <a:extLst>
              <a:ext uri="{FF2B5EF4-FFF2-40B4-BE49-F238E27FC236}">
                <a16:creationId xmlns:a16="http://schemas.microsoft.com/office/drawing/2014/main" id="{60F28FCE-28B8-B647-21C1-986DA9181279}"/>
              </a:ext>
            </a:extLst>
          </p:cNvPr>
          <p:cNvSpPr>
            <a:spLocks noEditPoints="1"/>
          </p:cNvSpPr>
          <p:nvPr/>
        </p:nvSpPr>
        <p:spPr bwMode="auto">
          <a:xfrm>
            <a:off x="1380453" y="1562594"/>
            <a:ext cx="173319" cy="184897"/>
          </a:xfrm>
          <a:custGeom>
            <a:avLst/>
            <a:gdLst>
              <a:gd name="T0" fmla="*/ 53 w 107"/>
              <a:gd name="T1" fmla="*/ 0 h 107"/>
              <a:gd name="T2" fmla="*/ 0 w 107"/>
              <a:gd name="T3" fmla="*/ 54 h 107"/>
              <a:gd name="T4" fmla="*/ 53 w 107"/>
              <a:gd name="T5" fmla="*/ 107 h 107"/>
              <a:gd name="T6" fmla="*/ 107 w 107"/>
              <a:gd name="T7" fmla="*/ 54 h 107"/>
              <a:gd name="T8" fmla="*/ 53 w 107"/>
              <a:gd name="T9" fmla="*/ 0 h 107"/>
              <a:gd name="T10" fmla="*/ 53 w 107"/>
              <a:gd name="T11" fmla="*/ 75 h 107"/>
              <a:gd name="T12" fmla="*/ 32 w 107"/>
              <a:gd name="T13" fmla="*/ 54 h 107"/>
              <a:gd name="T14" fmla="*/ 53 w 107"/>
              <a:gd name="T15" fmla="*/ 33 h 107"/>
              <a:gd name="T16" fmla="*/ 74 w 107"/>
              <a:gd name="T17" fmla="*/ 54 h 107"/>
              <a:gd name="T18" fmla="*/ 53 w 107"/>
              <a:gd name="T19" fmla="*/ 75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7">
                <a:moveTo>
                  <a:pt x="53" y="0"/>
                </a:moveTo>
                <a:cubicBezTo>
                  <a:pt x="24" y="0"/>
                  <a:pt x="0" y="24"/>
                  <a:pt x="0" y="54"/>
                </a:cubicBezTo>
                <a:cubicBezTo>
                  <a:pt x="0" y="83"/>
                  <a:pt x="24" y="107"/>
                  <a:pt x="53" y="107"/>
                </a:cubicBezTo>
                <a:cubicBezTo>
                  <a:pt x="83" y="107"/>
                  <a:pt x="107" y="83"/>
                  <a:pt x="107" y="54"/>
                </a:cubicBezTo>
                <a:cubicBezTo>
                  <a:pt x="107" y="24"/>
                  <a:pt x="83" y="0"/>
                  <a:pt x="53" y="0"/>
                </a:cubicBezTo>
                <a:close/>
                <a:moveTo>
                  <a:pt x="53" y="75"/>
                </a:moveTo>
                <a:cubicBezTo>
                  <a:pt x="42" y="75"/>
                  <a:pt x="32" y="65"/>
                  <a:pt x="32" y="54"/>
                </a:cubicBezTo>
                <a:cubicBezTo>
                  <a:pt x="32" y="42"/>
                  <a:pt x="42" y="33"/>
                  <a:pt x="53" y="33"/>
                </a:cubicBezTo>
                <a:cubicBezTo>
                  <a:pt x="65" y="33"/>
                  <a:pt x="74" y="42"/>
                  <a:pt x="74" y="54"/>
                </a:cubicBezTo>
                <a:cubicBezTo>
                  <a:pt x="74" y="65"/>
                  <a:pt x="65" y="75"/>
                  <a:pt x="53" y="75"/>
                </a:cubicBezTo>
                <a:close/>
              </a:path>
            </a:pathLst>
          </a:custGeom>
          <a:solidFill>
            <a:srgbClr val="00B0F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86" name="Freeform 7">
            <a:extLst>
              <a:ext uri="{FF2B5EF4-FFF2-40B4-BE49-F238E27FC236}">
                <a16:creationId xmlns:a16="http://schemas.microsoft.com/office/drawing/2014/main" id="{21DEA027-5932-2D63-2590-EDBA206A12AA}"/>
              </a:ext>
            </a:extLst>
          </p:cNvPr>
          <p:cNvSpPr>
            <a:spLocks noEditPoints="1"/>
          </p:cNvSpPr>
          <p:nvPr/>
        </p:nvSpPr>
        <p:spPr bwMode="auto">
          <a:xfrm>
            <a:off x="1538113" y="1276669"/>
            <a:ext cx="224530" cy="211791"/>
          </a:xfrm>
          <a:custGeom>
            <a:avLst/>
            <a:gdLst>
              <a:gd name="T0" fmla="*/ 53 w 107"/>
              <a:gd name="T1" fmla="*/ 0 h 107"/>
              <a:gd name="T2" fmla="*/ 0 w 107"/>
              <a:gd name="T3" fmla="*/ 54 h 107"/>
              <a:gd name="T4" fmla="*/ 53 w 107"/>
              <a:gd name="T5" fmla="*/ 107 h 107"/>
              <a:gd name="T6" fmla="*/ 107 w 107"/>
              <a:gd name="T7" fmla="*/ 54 h 107"/>
              <a:gd name="T8" fmla="*/ 53 w 107"/>
              <a:gd name="T9" fmla="*/ 0 h 107"/>
              <a:gd name="T10" fmla="*/ 53 w 107"/>
              <a:gd name="T11" fmla="*/ 75 h 107"/>
              <a:gd name="T12" fmla="*/ 32 w 107"/>
              <a:gd name="T13" fmla="*/ 54 h 107"/>
              <a:gd name="T14" fmla="*/ 53 w 107"/>
              <a:gd name="T15" fmla="*/ 33 h 107"/>
              <a:gd name="T16" fmla="*/ 74 w 107"/>
              <a:gd name="T17" fmla="*/ 54 h 107"/>
              <a:gd name="T18" fmla="*/ 53 w 107"/>
              <a:gd name="T19" fmla="*/ 75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7">
                <a:moveTo>
                  <a:pt x="53" y="0"/>
                </a:moveTo>
                <a:cubicBezTo>
                  <a:pt x="24" y="0"/>
                  <a:pt x="0" y="24"/>
                  <a:pt x="0" y="54"/>
                </a:cubicBezTo>
                <a:cubicBezTo>
                  <a:pt x="0" y="83"/>
                  <a:pt x="24" y="107"/>
                  <a:pt x="53" y="107"/>
                </a:cubicBezTo>
                <a:cubicBezTo>
                  <a:pt x="83" y="107"/>
                  <a:pt x="107" y="83"/>
                  <a:pt x="107" y="54"/>
                </a:cubicBezTo>
                <a:cubicBezTo>
                  <a:pt x="107" y="24"/>
                  <a:pt x="83" y="0"/>
                  <a:pt x="53" y="0"/>
                </a:cubicBezTo>
                <a:close/>
                <a:moveTo>
                  <a:pt x="53" y="75"/>
                </a:moveTo>
                <a:cubicBezTo>
                  <a:pt x="42" y="75"/>
                  <a:pt x="32" y="65"/>
                  <a:pt x="32" y="54"/>
                </a:cubicBezTo>
                <a:cubicBezTo>
                  <a:pt x="32" y="42"/>
                  <a:pt x="42" y="33"/>
                  <a:pt x="53" y="33"/>
                </a:cubicBezTo>
                <a:cubicBezTo>
                  <a:pt x="65" y="33"/>
                  <a:pt x="74" y="42"/>
                  <a:pt x="74" y="54"/>
                </a:cubicBezTo>
                <a:cubicBezTo>
                  <a:pt x="74" y="65"/>
                  <a:pt x="65" y="75"/>
                  <a:pt x="53" y="75"/>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87" name="Freeform 8">
            <a:extLst>
              <a:ext uri="{FF2B5EF4-FFF2-40B4-BE49-F238E27FC236}">
                <a16:creationId xmlns:a16="http://schemas.microsoft.com/office/drawing/2014/main" id="{7675BE53-3609-3859-D6D8-4BC7848FC909}"/>
              </a:ext>
            </a:extLst>
          </p:cNvPr>
          <p:cNvSpPr>
            <a:spLocks noEditPoints="1"/>
          </p:cNvSpPr>
          <p:nvPr/>
        </p:nvSpPr>
        <p:spPr bwMode="auto">
          <a:xfrm>
            <a:off x="1644258" y="1028650"/>
            <a:ext cx="230790" cy="218515"/>
          </a:xfrm>
          <a:custGeom>
            <a:avLst/>
            <a:gdLst>
              <a:gd name="T0" fmla="*/ 53 w 107"/>
              <a:gd name="T1" fmla="*/ 0 h 107"/>
              <a:gd name="T2" fmla="*/ 0 w 107"/>
              <a:gd name="T3" fmla="*/ 54 h 107"/>
              <a:gd name="T4" fmla="*/ 53 w 107"/>
              <a:gd name="T5" fmla="*/ 107 h 107"/>
              <a:gd name="T6" fmla="*/ 107 w 107"/>
              <a:gd name="T7" fmla="*/ 54 h 107"/>
              <a:gd name="T8" fmla="*/ 53 w 107"/>
              <a:gd name="T9" fmla="*/ 0 h 107"/>
              <a:gd name="T10" fmla="*/ 53 w 107"/>
              <a:gd name="T11" fmla="*/ 75 h 107"/>
              <a:gd name="T12" fmla="*/ 32 w 107"/>
              <a:gd name="T13" fmla="*/ 54 h 107"/>
              <a:gd name="T14" fmla="*/ 53 w 107"/>
              <a:gd name="T15" fmla="*/ 33 h 107"/>
              <a:gd name="T16" fmla="*/ 74 w 107"/>
              <a:gd name="T17" fmla="*/ 54 h 107"/>
              <a:gd name="T18" fmla="*/ 53 w 107"/>
              <a:gd name="T19" fmla="*/ 75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7">
                <a:moveTo>
                  <a:pt x="53" y="0"/>
                </a:moveTo>
                <a:cubicBezTo>
                  <a:pt x="24" y="0"/>
                  <a:pt x="0" y="24"/>
                  <a:pt x="0" y="54"/>
                </a:cubicBezTo>
                <a:cubicBezTo>
                  <a:pt x="0" y="83"/>
                  <a:pt x="24" y="107"/>
                  <a:pt x="53" y="107"/>
                </a:cubicBezTo>
                <a:cubicBezTo>
                  <a:pt x="83" y="107"/>
                  <a:pt x="107" y="83"/>
                  <a:pt x="107" y="54"/>
                </a:cubicBezTo>
                <a:cubicBezTo>
                  <a:pt x="107" y="24"/>
                  <a:pt x="83" y="0"/>
                  <a:pt x="53" y="0"/>
                </a:cubicBezTo>
                <a:close/>
                <a:moveTo>
                  <a:pt x="53" y="75"/>
                </a:moveTo>
                <a:cubicBezTo>
                  <a:pt x="42" y="75"/>
                  <a:pt x="32" y="65"/>
                  <a:pt x="32" y="54"/>
                </a:cubicBezTo>
                <a:cubicBezTo>
                  <a:pt x="32" y="42"/>
                  <a:pt x="42" y="33"/>
                  <a:pt x="53" y="33"/>
                </a:cubicBezTo>
                <a:cubicBezTo>
                  <a:pt x="65" y="33"/>
                  <a:pt x="74" y="42"/>
                  <a:pt x="74" y="54"/>
                </a:cubicBezTo>
                <a:cubicBezTo>
                  <a:pt x="74" y="65"/>
                  <a:pt x="65" y="75"/>
                  <a:pt x="53" y="75"/>
                </a:cubicBezTo>
                <a:close/>
              </a:path>
            </a:pathLst>
          </a:custGeom>
          <a:solidFill>
            <a:srgbClr val="FF339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88" name="Freeform 6">
            <a:extLst>
              <a:ext uri="{FF2B5EF4-FFF2-40B4-BE49-F238E27FC236}">
                <a16:creationId xmlns:a16="http://schemas.microsoft.com/office/drawing/2014/main" id="{3FF79F40-4629-3B56-6FAA-340D0930A974}"/>
              </a:ext>
            </a:extLst>
          </p:cNvPr>
          <p:cNvSpPr>
            <a:spLocks noEditPoints="1"/>
          </p:cNvSpPr>
          <p:nvPr/>
        </p:nvSpPr>
        <p:spPr bwMode="auto">
          <a:xfrm>
            <a:off x="1375548" y="1050179"/>
            <a:ext cx="173319" cy="184897"/>
          </a:xfrm>
          <a:custGeom>
            <a:avLst/>
            <a:gdLst>
              <a:gd name="T0" fmla="*/ 53 w 107"/>
              <a:gd name="T1" fmla="*/ 0 h 107"/>
              <a:gd name="T2" fmla="*/ 0 w 107"/>
              <a:gd name="T3" fmla="*/ 54 h 107"/>
              <a:gd name="T4" fmla="*/ 53 w 107"/>
              <a:gd name="T5" fmla="*/ 107 h 107"/>
              <a:gd name="T6" fmla="*/ 107 w 107"/>
              <a:gd name="T7" fmla="*/ 54 h 107"/>
              <a:gd name="T8" fmla="*/ 53 w 107"/>
              <a:gd name="T9" fmla="*/ 0 h 107"/>
              <a:gd name="T10" fmla="*/ 53 w 107"/>
              <a:gd name="T11" fmla="*/ 75 h 107"/>
              <a:gd name="T12" fmla="*/ 32 w 107"/>
              <a:gd name="T13" fmla="*/ 54 h 107"/>
              <a:gd name="T14" fmla="*/ 53 w 107"/>
              <a:gd name="T15" fmla="*/ 33 h 107"/>
              <a:gd name="T16" fmla="*/ 74 w 107"/>
              <a:gd name="T17" fmla="*/ 54 h 107"/>
              <a:gd name="T18" fmla="*/ 53 w 107"/>
              <a:gd name="T19" fmla="*/ 75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7">
                <a:moveTo>
                  <a:pt x="53" y="0"/>
                </a:moveTo>
                <a:cubicBezTo>
                  <a:pt x="24" y="0"/>
                  <a:pt x="0" y="24"/>
                  <a:pt x="0" y="54"/>
                </a:cubicBezTo>
                <a:cubicBezTo>
                  <a:pt x="0" y="83"/>
                  <a:pt x="24" y="107"/>
                  <a:pt x="53" y="107"/>
                </a:cubicBezTo>
                <a:cubicBezTo>
                  <a:pt x="83" y="107"/>
                  <a:pt x="107" y="83"/>
                  <a:pt x="107" y="54"/>
                </a:cubicBezTo>
                <a:cubicBezTo>
                  <a:pt x="107" y="24"/>
                  <a:pt x="83" y="0"/>
                  <a:pt x="53" y="0"/>
                </a:cubicBezTo>
                <a:close/>
                <a:moveTo>
                  <a:pt x="53" y="75"/>
                </a:moveTo>
                <a:cubicBezTo>
                  <a:pt x="42" y="75"/>
                  <a:pt x="32" y="65"/>
                  <a:pt x="32" y="54"/>
                </a:cubicBezTo>
                <a:cubicBezTo>
                  <a:pt x="32" y="42"/>
                  <a:pt x="42" y="33"/>
                  <a:pt x="53" y="33"/>
                </a:cubicBezTo>
                <a:cubicBezTo>
                  <a:pt x="65" y="33"/>
                  <a:pt x="74" y="42"/>
                  <a:pt x="74" y="54"/>
                </a:cubicBezTo>
                <a:cubicBezTo>
                  <a:pt x="74" y="65"/>
                  <a:pt x="65" y="75"/>
                  <a:pt x="53" y="75"/>
                </a:cubicBez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96" name="TextBox 95">
            <a:extLst>
              <a:ext uri="{FF2B5EF4-FFF2-40B4-BE49-F238E27FC236}">
                <a16:creationId xmlns:a16="http://schemas.microsoft.com/office/drawing/2014/main" id="{35654062-B8CC-AEC3-3455-3A27D197595B}"/>
              </a:ext>
            </a:extLst>
          </p:cNvPr>
          <p:cNvSpPr txBox="1"/>
          <p:nvPr/>
        </p:nvSpPr>
        <p:spPr>
          <a:xfrm>
            <a:off x="642698" y="2004386"/>
            <a:ext cx="795640" cy="584775"/>
          </a:xfrm>
          <a:prstGeom prst="rect">
            <a:avLst/>
          </a:prstGeom>
          <a:noFill/>
        </p:spPr>
        <p:txBody>
          <a:bodyPr wrap="square" rtlCol="0">
            <a:spAutoFit/>
          </a:bodyPr>
          <a:lstStyle>
            <a:defPPr marR="0" lvl="0" algn="l" rtl="0">
              <a:lnSpc>
                <a:spcPct val="100000"/>
              </a:lnSpc>
              <a:spcBef>
                <a:spcPts val="0"/>
              </a:spcBef>
              <a:spcAft>
                <a:spcPts val="0"/>
              </a:spcAft>
            </a:defPPr>
            <a:lvl1pPr algn="ctr">
              <a:defRPr>
                <a:solidFill>
                  <a:schemeClr val="bg1"/>
                </a:solidFill>
                <a:latin typeface="Hammersmith One" panose="02010703030501060504" pitchFamily="2" charset="0"/>
              </a:defRPr>
            </a:lvl1pPr>
          </a:lstStyle>
          <a:p>
            <a:r>
              <a:rPr lang="en-US" sz="1600">
                <a:solidFill>
                  <a:schemeClr val="tx1">
                    <a:lumMod val="10000"/>
                  </a:schemeClr>
                </a:solidFill>
              </a:rPr>
              <a:t>Web Traffic</a:t>
            </a:r>
            <a:endParaRPr lang="en-CA" sz="1600">
              <a:solidFill>
                <a:schemeClr val="tx1">
                  <a:lumMod val="10000"/>
                </a:schemeClr>
              </a:solidFill>
            </a:endParaRPr>
          </a:p>
        </p:txBody>
      </p:sp>
      <p:sp>
        <p:nvSpPr>
          <p:cNvPr id="4" name="TextBox 3">
            <a:extLst>
              <a:ext uri="{FF2B5EF4-FFF2-40B4-BE49-F238E27FC236}">
                <a16:creationId xmlns:a16="http://schemas.microsoft.com/office/drawing/2014/main" id="{08F766ED-D940-8F69-9310-6CEEC7AC98EC}"/>
              </a:ext>
            </a:extLst>
          </p:cNvPr>
          <p:cNvSpPr txBox="1"/>
          <p:nvPr/>
        </p:nvSpPr>
        <p:spPr>
          <a:xfrm>
            <a:off x="2306195" y="3482686"/>
            <a:ext cx="1863976" cy="646331"/>
          </a:xfrm>
          <a:prstGeom prst="rect">
            <a:avLst/>
          </a:prstGeom>
          <a:noFill/>
        </p:spPr>
        <p:txBody>
          <a:bodyPr wrap="square" rtlCol="0">
            <a:spAutoFit/>
          </a:bodyPr>
          <a:lstStyle/>
          <a:p>
            <a:r>
              <a:rPr lang="en-US">
                <a:latin typeface="Hammersmith One" panose="02010703030501060504" pitchFamily="2" charset="0"/>
              </a:rPr>
              <a:t>Predictive Engine</a:t>
            </a:r>
            <a:endParaRPr lang="en-CA">
              <a:latin typeface="Hammersmith One" panose="02010703030501060504" pitchFamily="2" charset="0"/>
            </a:endParaRPr>
          </a:p>
        </p:txBody>
      </p:sp>
      <p:sp>
        <p:nvSpPr>
          <p:cNvPr id="65" name="TextBox 64">
            <a:extLst>
              <a:ext uri="{FF2B5EF4-FFF2-40B4-BE49-F238E27FC236}">
                <a16:creationId xmlns:a16="http://schemas.microsoft.com/office/drawing/2014/main" id="{6E8AA7AC-F405-023A-DE4B-CB267CCE45C8}"/>
              </a:ext>
            </a:extLst>
          </p:cNvPr>
          <p:cNvSpPr txBox="1"/>
          <p:nvPr/>
        </p:nvSpPr>
        <p:spPr>
          <a:xfrm>
            <a:off x="4351845" y="3941665"/>
            <a:ext cx="1802321" cy="646331"/>
          </a:xfrm>
          <a:prstGeom prst="rect">
            <a:avLst/>
          </a:prstGeom>
          <a:noFill/>
        </p:spPr>
        <p:txBody>
          <a:bodyPr wrap="square" rtlCol="0">
            <a:spAutoFit/>
          </a:bodyPr>
          <a:lstStyle/>
          <a:p>
            <a:pPr algn="ctr"/>
            <a:r>
              <a:rPr lang="en-US">
                <a:latin typeface="Hammersmith One" panose="02010703030501060504" pitchFamily="2" charset="0"/>
              </a:rPr>
              <a:t>Customer Segmentation</a:t>
            </a:r>
            <a:endParaRPr lang="en-CA">
              <a:latin typeface="Hammersmith One" panose="02010703030501060504" pitchFamily="2" charset="0"/>
            </a:endParaRPr>
          </a:p>
        </p:txBody>
      </p:sp>
      <p:sp>
        <p:nvSpPr>
          <p:cNvPr id="66" name="TextBox 65">
            <a:extLst>
              <a:ext uri="{FF2B5EF4-FFF2-40B4-BE49-F238E27FC236}">
                <a16:creationId xmlns:a16="http://schemas.microsoft.com/office/drawing/2014/main" id="{B7FE9937-5A95-CC7A-D986-229265ED73CC}"/>
              </a:ext>
            </a:extLst>
          </p:cNvPr>
          <p:cNvSpPr txBox="1"/>
          <p:nvPr/>
        </p:nvSpPr>
        <p:spPr>
          <a:xfrm>
            <a:off x="4652805" y="1190167"/>
            <a:ext cx="1301357" cy="923330"/>
          </a:xfrm>
          <a:prstGeom prst="rect">
            <a:avLst/>
          </a:prstGeom>
          <a:noFill/>
        </p:spPr>
        <p:txBody>
          <a:bodyPr wrap="square" rtlCol="0">
            <a:spAutoFit/>
          </a:bodyPr>
          <a:lstStyle/>
          <a:p>
            <a:r>
              <a:rPr lang="en-US">
                <a:latin typeface="Hammersmith One" panose="02010703030501060504" pitchFamily="2" charset="0"/>
              </a:rPr>
              <a:t>Confused Customers</a:t>
            </a:r>
            <a:endParaRPr lang="en-CA">
              <a:latin typeface="Hammersmith One" panose="02010703030501060504" pitchFamily="2" charset="0"/>
            </a:endParaRPr>
          </a:p>
        </p:txBody>
      </p:sp>
      <p:sp>
        <p:nvSpPr>
          <p:cNvPr id="69" name="TextBox 68">
            <a:extLst>
              <a:ext uri="{FF2B5EF4-FFF2-40B4-BE49-F238E27FC236}">
                <a16:creationId xmlns:a16="http://schemas.microsoft.com/office/drawing/2014/main" id="{A4E04ECB-205E-17ED-91C0-787285317A82}"/>
              </a:ext>
            </a:extLst>
          </p:cNvPr>
          <p:cNvSpPr txBox="1"/>
          <p:nvPr/>
        </p:nvSpPr>
        <p:spPr>
          <a:xfrm>
            <a:off x="7826847" y="1313930"/>
            <a:ext cx="1308683" cy="369332"/>
          </a:xfrm>
          <a:prstGeom prst="rect">
            <a:avLst/>
          </a:prstGeom>
          <a:noFill/>
        </p:spPr>
        <p:txBody>
          <a:bodyPr wrap="square" rtlCol="0">
            <a:spAutoFit/>
          </a:bodyPr>
          <a:lstStyle/>
          <a:p>
            <a:r>
              <a:rPr lang="en-US">
                <a:latin typeface="Hammersmith One" panose="02010703030501060504" pitchFamily="2" charset="0"/>
              </a:rPr>
              <a:t>Bouncers</a:t>
            </a:r>
            <a:endParaRPr lang="en-CA">
              <a:latin typeface="Hammersmith One" panose="02010703030501060504" pitchFamily="2" charset="0"/>
            </a:endParaRPr>
          </a:p>
        </p:txBody>
      </p:sp>
      <p:sp>
        <p:nvSpPr>
          <p:cNvPr id="70" name="TextBox 69">
            <a:extLst>
              <a:ext uri="{FF2B5EF4-FFF2-40B4-BE49-F238E27FC236}">
                <a16:creationId xmlns:a16="http://schemas.microsoft.com/office/drawing/2014/main" id="{E0A68FD1-8D56-20F0-50D1-4299EA9C32D2}"/>
              </a:ext>
            </a:extLst>
          </p:cNvPr>
          <p:cNvSpPr txBox="1"/>
          <p:nvPr/>
        </p:nvSpPr>
        <p:spPr>
          <a:xfrm>
            <a:off x="7682125" y="3901632"/>
            <a:ext cx="1481347" cy="646331"/>
          </a:xfrm>
          <a:prstGeom prst="rect">
            <a:avLst/>
          </a:prstGeom>
          <a:noFill/>
        </p:spPr>
        <p:txBody>
          <a:bodyPr wrap="square" rtlCol="0">
            <a:spAutoFit/>
          </a:bodyPr>
          <a:lstStyle/>
          <a:p>
            <a:r>
              <a:rPr lang="en-US">
                <a:latin typeface="Hammersmith One" panose="02010703030501060504" pitchFamily="2" charset="0"/>
              </a:rPr>
              <a:t>Deal Seekers</a:t>
            </a:r>
            <a:endParaRPr lang="en-CA">
              <a:latin typeface="Hammersmith One" panose="02010703030501060504" pitchFamily="2" charset="0"/>
            </a:endParaRPr>
          </a:p>
        </p:txBody>
      </p:sp>
      <p:sp>
        <p:nvSpPr>
          <p:cNvPr id="71" name="TextBox 70">
            <a:extLst>
              <a:ext uri="{FF2B5EF4-FFF2-40B4-BE49-F238E27FC236}">
                <a16:creationId xmlns:a16="http://schemas.microsoft.com/office/drawing/2014/main" id="{06658C3A-3AD2-5CEA-E765-C92AAE0B140A}"/>
              </a:ext>
            </a:extLst>
          </p:cNvPr>
          <p:cNvSpPr txBox="1"/>
          <p:nvPr/>
        </p:nvSpPr>
        <p:spPr>
          <a:xfrm>
            <a:off x="7232677" y="4549649"/>
            <a:ext cx="1481347" cy="646331"/>
          </a:xfrm>
          <a:prstGeom prst="rect">
            <a:avLst/>
          </a:prstGeom>
          <a:noFill/>
        </p:spPr>
        <p:txBody>
          <a:bodyPr wrap="square" rtlCol="0">
            <a:spAutoFit/>
          </a:bodyPr>
          <a:lstStyle/>
          <a:p>
            <a:r>
              <a:rPr lang="en-US">
                <a:latin typeface="Hammersmith One" panose="02010703030501060504" pitchFamily="2" charset="0"/>
              </a:rPr>
              <a:t>Loyal Customers</a:t>
            </a:r>
            <a:endParaRPr lang="en-CA">
              <a:latin typeface="Hammersmith One" panose="02010703030501060504" pitchFamily="2" charset="0"/>
            </a:endParaRPr>
          </a:p>
        </p:txBody>
      </p:sp>
    </p:spTree>
    <p:extLst>
      <p:ext uri="{BB962C8B-B14F-4D97-AF65-F5344CB8AC3E}">
        <p14:creationId xmlns:p14="http://schemas.microsoft.com/office/powerpoint/2010/main" val="9747771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erson in a suit and tie&#10;&#10;Description automatically generated">
            <a:extLst>
              <a:ext uri="{FF2B5EF4-FFF2-40B4-BE49-F238E27FC236}">
                <a16:creationId xmlns:a16="http://schemas.microsoft.com/office/drawing/2014/main" id="{F7226169-E47F-91F8-DCAD-123E0B7DBF66}"/>
              </a:ext>
            </a:extLst>
          </p:cNvPr>
          <p:cNvPicPr>
            <a:picLocks noChangeAspect="1"/>
          </p:cNvPicPr>
          <p:nvPr/>
        </p:nvPicPr>
        <p:blipFill>
          <a:blip r:embed="rId3"/>
          <a:stretch>
            <a:fillRect/>
          </a:stretch>
        </p:blipFill>
        <p:spPr>
          <a:xfrm>
            <a:off x="349790" y="1953283"/>
            <a:ext cx="1407371" cy="1245427"/>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8" name="Picture 7" descr="A person in a suit and tie&#10;&#10;Description automatically generated">
            <a:extLst>
              <a:ext uri="{FF2B5EF4-FFF2-40B4-BE49-F238E27FC236}">
                <a16:creationId xmlns:a16="http://schemas.microsoft.com/office/drawing/2014/main" id="{EA909519-E072-C600-9A94-AD09BFD634B6}"/>
              </a:ext>
            </a:extLst>
          </p:cNvPr>
          <p:cNvPicPr>
            <a:picLocks noChangeAspect="1"/>
          </p:cNvPicPr>
          <p:nvPr/>
        </p:nvPicPr>
        <p:blipFill>
          <a:blip r:embed="rId3"/>
          <a:stretch>
            <a:fillRect/>
          </a:stretch>
        </p:blipFill>
        <p:spPr>
          <a:xfrm>
            <a:off x="323713" y="1875938"/>
            <a:ext cx="1476007" cy="1347538"/>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2050" name="Picture 2" descr="profile image">
            <a:extLst>
              <a:ext uri="{FF2B5EF4-FFF2-40B4-BE49-F238E27FC236}">
                <a16:creationId xmlns:a16="http://schemas.microsoft.com/office/drawing/2014/main" id="{5B6C0D73-1EA3-EDD6-E732-0D0C6BB43DB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89730" y="1946817"/>
            <a:ext cx="1257335" cy="1247647"/>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a:extLst>
              <a:ext uri="{FF2B5EF4-FFF2-40B4-BE49-F238E27FC236}">
                <a16:creationId xmlns:a16="http://schemas.microsoft.com/office/drawing/2014/main" id="{21298E7F-2C1F-04FD-FEC0-9B5C0D649251}"/>
              </a:ext>
            </a:extLst>
          </p:cNvPr>
          <p:cNvGrpSpPr>
            <a:grpSpLocks noChangeAspect="1"/>
          </p:cNvGrpSpPr>
          <p:nvPr/>
        </p:nvGrpSpPr>
        <p:grpSpPr>
          <a:xfrm>
            <a:off x="5571003" y="1808793"/>
            <a:ext cx="1525919" cy="1525913"/>
            <a:chOff x="0" y="0"/>
            <a:chExt cx="6350000" cy="6349975"/>
          </a:xfrm>
        </p:grpSpPr>
        <p:sp>
          <p:nvSpPr>
            <p:cNvPr id="4" name="Freeform 14">
              <a:extLst>
                <a:ext uri="{FF2B5EF4-FFF2-40B4-BE49-F238E27FC236}">
                  <a16:creationId xmlns:a16="http://schemas.microsoft.com/office/drawing/2014/main" id="{844FDB29-778F-A087-024A-D1953063A357}"/>
                </a:ext>
              </a:extLst>
            </p:cNvPr>
            <p:cNvSpPr/>
            <p:nvPr/>
          </p:nvSpPr>
          <p:spPr>
            <a:xfrm>
              <a:off x="0" y="0"/>
              <a:ext cx="6350000" cy="6349975"/>
            </a:xfrm>
            <a:custGeom>
              <a:avLst/>
              <a:gdLst/>
              <a:ahLst/>
              <a:cxnLst/>
              <a:rect l="l" t="t" r="r" b="b"/>
              <a:pathLst>
                <a:path w="6350000" h="6349974">
                  <a:moveTo>
                    <a:pt x="6350000" y="3175025"/>
                  </a:moveTo>
                  <a:cubicBezTo>
                    <a:pt x="6350000" y="4928451"/>
                    <a:pt x="4928476" y="6349974"/>
                    <a:pt x="3175000" y="6349974"/>
                  </a:cubicBezTo>
                  <a:cubicBezTo>
                    <a:pt x="1421498" y="6349974"/>
                    <a:pt x="0" y="4928451"/>
                    <a:pt x="0" y="3175025"/>
                  </a:cubicBezTo>
                  <a:cubicBezTo>
                    <a:pt x="0" y="1421511"/>
                    <a:pt x="1421498" y="0"/>
                    <a:pt x="3175000" y="0"/>
                  </a:cubicBezTo>
                  <a:cubicBezTo>
                    <a:pt x="4928501" y="0"/>
                    <a:pt x="6350000" y="1421511"/>
                    <a:pt x="6350000" y="3175025"/>
                  </a:cubicBezTo>
                  <a:close/>
                </a:path>
              </a:pathLst>
            </a:custGeom>
            <a:blipFill>
              <a:blip r:embed="rId5"/>
              <a:stretch>
                <a:fillRect t="-5710" b="-5710"/>
              </a:stretch>
            </a:blipFill>
            <a:ln>
              <a:noFill/>
            </a:ln>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endParaRPr lang="en-CA"/>
            </a:p>
          </p:txBody>
        </p:sp>
      </p:grpSp>
      <p:graphicFrame>
        <p:nvGraphicFramePr>
          <p:cNvPr id="9" name="think-cell data - do not delete" hidden="1">
            <a:extLst>
              <a:ext uri="{FF2B5EF4-FFF2-40B4-BE49-F238E27FC236}">
                <a16:creationId xmlns:a16="http://schemas.microsoft.com/office/drawing/2014/main" id="{7309E796-6C87-A751-F1CC-11E78B05F779}"/>
              </a:ext>
            </a:extLst>
          </p:cNvPr>
          <p:cNvGraphicFramePr>
            <a:graphicFrameLocks noChangeAspect="1"/>
          </p:cNvGraphicFramePr>
          <p:nvPr>
            <p:custDataLst>
              <p:tags r:id="rId1"/>
            </p:custDataLst>
            <p:extLst>
              <p:ext uri="{D42A27DB-BD31-4B8C-83A1-F6EECF244321}">
                <p14:modId xmlns:p14="http://schemas.microsoft.com/office/powerpoint/2010/main" val="9567551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6" imgW="425" imgH="424" progId="TCLayout.ActiveDocument.1">
                  <p:embed/>
                </p:oleObj>
              </mc:Choice>
              <mc:Fallback>
                <p:oleObj name="Diapositiva think-cell" r:id="rId6" imgW="425" imgH="424" progId="TCLayout.ActiveDocument.1">
                  <p:embed/>
                  <p:pic>
                    <p:nvPicPr>
                      <p:cNvPr id="9" name="think-cell data - do not delete" hidden="1">
                        <a:extLst>
                          <a:ext uri="{FF2B5EF4-FFF2-40B4-BE49-F238E27FC236}">
                            <a16:creationId xmlns:a16="http://schemas.microsoft.com/office/drawing/2014/main" id="{7309E796-6C87-A751-F1CC-11E78B05F77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1" name="Subtitle 12">
            <a:extLst>
              <a:ext uri="{FF2B5EF4-FFF2-40B4-BE49-F238E27FC236}">
                <a16:creationId xmlns:a16="http://schemas.microsoft.com/office/drawing/2014/main" id="{82F87154-040F-5C86-86A9-A7BDC3A79D15}"/>
              </a:ext>
            </a:extLst>
          </p:cNvPr>
          <p:cNvSpPr>
            <a:spLocks noGrp="1"/>
          </p:cNvSpPr>
          <p:nvPr>
            <p:ph type="subTitle" idx="1"/>
          </p:nvPr>
        </p:nvSpPr>
        <p:spPr>
          <a:xfrm>
            <a:off x="186317" y="3310286"/>
            <a:ext cx="1750800" cy="701400"/>
          </a:xfrm>
        </p:spPr>
        <p:txBody>
          <a:bodyPr/>
          <a:lstStyle/>
          <a:p>
            <a:r>
              <a:rPr lang="en-US" sz="1400">
                <a:effectLst/>
                <a:latin typeface="Source Sans Pro" panose="020B0503030403020204" pitchFamily="34" charset="0"/>
                <a:ea typeface="Source Sans Pro" panose="020B0503030403020204" pitchFamily="34" charset="0"/>
              </a:rPr>
              <a:t>Tirth </a:t>
            </a:r>
            <a:r>
              <a:rPr lang="en-US" sz="1400" err="1">
                <a:effectLst/>
                <a:latin typeface="Source Sans Pro" panose="020B0503030403020204" pitchFamily="34" charset="0"/>
                <a:ea typeface="Source Sans Pro" panose="020B0503030403020204" pitchFamily="34" charset="0"/>
              </a:rPr>
              <a:t>Raval</a:t>
            </a:r>
            <a:endParaRPr lang="en-US" sz="1400">
              <a:effectLst/>
              <a:latin typeface="Source Sans Pro" panose="020B0503030403020204" pitchFamily="34" charset="0"/>
              <a:ea typeface="Source Sans Pro" panose="020B0503030403020204" pitchFamily="34" charset="0"/>
            </a:endParaRPr>
          </a:p>
        </p:txBody>
      </p:sp>
      <p:sp>
        <p:nvSpPr>
          <p:cNvPr id="22" name="Title 19">
            <a:extLst>
              <a:ext uri="{FF2B5EF4-FFF2-40B4-BE49-F238E27FC236}">
                <a16:creationId xmlns:a16="http://schemas.microsoft.com/office/drawing/2014/main" id="{E702AA30-5DED-46DD-BF3F-0EBB50E90B4A}"/>
              </a:ext>
            </a:extLst>
          </p:cNvPr>
          <p:cNvSpPr>
            <a:spLocks noGrp="1"/>
          </p:cNvSpPr>
          <p:nvPr>
            <p:ph type="title"/>
          </p:nvPr>
        </p:nvSpPr>
        <p:spPr>
          <a:xfrm>
            <a:off x="1448823" y="447453"/>
            <a:ext cx="6095742" cy="522677"/>
          </a:xfrm>
        </p:spPr>
        <p:txBody>
          <a:bodyPr vert="horz"/>
          <a:lstStyle/>
          <a:p>
            <a:r>
              <a:rPr lang="en-US" sz="3000">
                <a:solidFill>
                  <a:schemeClr val="tx1"/>
                </a:solidFill>
              </a:rPr>
              <a:t>Consultant Team</a:t>
            </a:r>
          </a:p>
        </p:txBody>
      </p:sp>
      <p:grpSp>
        <p:nvGrpSpPr>
          <p:cNvPr id="44" name="Group 43">
            <a:extLst>
              <a:ext uri="{FF2B5EF4-FFF2-40B4-BE49-F238E27FC236}">
                <a16:creationId xmlns:a16="http://schemas.microsoft.com/office/drawing/2014/main" id="{80AFFD77-7AAE-C8DC-4072-05E2BFF29604}"/>
              </a:ext>
            </a:extLst>
          </p:cNvPr>
          <p:cNvGrpSpPr/>
          <p:nvPr/>
        </p:nvGrpSpPr>
        <p:grpSpPr>
          <a:xfrm>
            <a:off x="161908" y="1670797"/>
            <a:ext cx="9420707" cy="1838120"/>
            <a:chOff x="161908" y="1670797"/>
            <a:chExt cx="9796623" cy="1967304"/>
          </a:xfrm>
        </p:grpSpPr>
        <p:grpSp>
          <p:nvGrpSpPr>
            <p:cNvPr id="24" name="Google Shape;2198;p56">
              <a:extLst>
                <a:ext uri="{FF2B5EF4-FFF2-40B4-BE49-F238E27FC236}">
                  <a16:creationId xmlns:a16="http://schemas.microsoft.com/office/drawing/2014/main" id="{0626A79A-51AF-D034-A2FA-B152E8DB7779}"/>
                </a:ext>
              </a:extLst>
            </p:cNvPr>
            <p:cNvGrpSpPr/>
            <p:nvPr/>
          </p:nvGrpSpPr>
          <p:grpSpPr>
            <a:xfrm>
              <a:off x="161908" y="1670797"/>
              <a:ext cx="2518309" cy="1922769"/>
              <a:chOff x="410492" y="1925030"/>
              <a:chExt cx="1085472" cy="816048"/>
            </a:xfrm>
          </p:grpSpPr>
          <p:grpSp>
            <p:nvGrpSpPr>
              <p:cNvPr id="25" name="Google Shape;2199;p56">
                <a:extLst>
                  <a:ext uri="{FF2B5EF4-FFF2-40B4-BE49-F238E27FC236}">
                    <a16:creationId xmlns:a16="http://schemas.microsoft.com/office/drawing/2014/main" id="{A9AE0038-5BEC-92B5-7DF3-93EDB7738E4E}"/>
                  </a:ext>
                </a:extLst>
              </p:cNvPr>
              <p:cNvGrpSpPr/>
              <p:nvPr/>
            </p:nvGrpSpPr>
            <p:grpSpPr>
              <a:xfrm>
                <a:off x="1036615" y="2139668"/>
                <a:ext cx="459349" cy="451684"/>
                <a:chOff x="3314750" y="3817357"/>
                <a:chExt cx="362921" cy="356865"/>
              </a:xfrm>
            </p:grpSpPr>
            <p:sp>
              <p:nvSpPr>
                <p:cNvPr id="27" name="Google Shape;2200;p56">
                  <a:extLst>
                    <a:ext uri="{FF2B5EF4-FFF2-40B4-BE49-F238E27FC236}">
                      <a16:creationId xmlns:a16="http://schemas.microsoft.com/office/drawing/2014/main" id="{51A544FF-CA59-9BCA-9284-B3DD5DDBED95}"/>
                    </a:ext>
                  </a:extLst>
                </p:cNvPr>
                <p:cNvSpPr/>
                <p:nvPr/>
              </p:nvSpPr>
              <p:spPr>
                <a:xfrm>
                  <a:off x="3314750" y="3817357"/>
                  <a:ext cx="356865" cy="356498"/>
                </a:xfrm>
                <a:custGeom>
                  <a:avLst/>
                  <a:gdLst/>
                  <a:ahLst/>
                  <a:cxnLst/>
                  <a:rect l="l" t="t" r="r" b="b"/>
                  <a:pathLst>
                    <a:path w="13613" h="13599" extrusionOk="0">
                      <a:moveTo>
                        <a:pt x="6814" y="0"/>
                      </a:moveTo>
                      <a:cubicBezTo>
                        <a:pt x="3046" y="0"/>
                        <a:pt x="0" y="3046"/>
                        <a:pt x="0" y="6799"/>
                      </a:cubicBezTo>
                      <a:cubicBezTo>
                        <a:pt x="0" y="10552"/>
                        <a:pt x="3046" y="13598"/>
                        <a:pt x="6814" y="13598"/>
                      </a:cubicBezTo>
                      <a:cubicBezTo>
                        <a:pt x="10567" y="13598"/>
                        <a:pt x="13613" y="10552"/>
                        <a:pt x="13613" y="6799"/>
                      </a:cubicBezTo>
                      <a:cubicBezTo>
                        <a:pt x="13613" y="3046"/>
                        <a:pt x="10567" y="0"/>
                        <a:pt x="6814" y="0"/>
                      </a:cubicBezTo>
                      <a:close/>
                    </a:path>
                  </a:pathLst>
                </a:cu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2201;p56">
                  <a:extLst>
                    <a:ext uri="{FF2B5EF4-FFF2-40B4-BE49-F238E27FC236}">
                      <a16:creationId xmlns:a16="http://schemas.microsoft.com/office/drawing/2014/main" id="{1DC16410-7B9F-CFDB-B8AA-B1901A36F669}"/>
                    </a:ext>
                  </a:extLst>
                </p:cNvPr>
                <p:cNvSpPr/>
                <p:nvPr/>
              </p:nvSpPr>
              <p:spPr>
                <a:xfrm>
                  <a:off x="3469891" y="3817357"/>
                  <a:ext cx="207780" cy="356865"/>
                </a:xfrm>
                <a:custGeom>
                  <a:avLst/>
                  <a:gdLst/>
                  <a:ahLst/>
                  <a:cxnLst/>
                  <a:rect l="l" t="t" r="r" b="b"/>
                  <a:pathLst>
                    <a:path w="7926" h="13613" extrusionOk="0">
                      <a:moveTo>
                        <a:pt x="881" y="0"/>
                      </a:moveTo>
                      <a:cubicBezTo>
                        <a:pt x="884" y="0"/>
                        <a:pt x="886" y="0"/>
                        <a:pt x="888" y="0"/>
                      </a:cubicBezTo>
                      <a:lnTo>
                        <a:pt x="888" y="0"/>
                      </a:lnTo>
                      <a:cubicBezTo>
                        <a:pt x="891" y="0"/>
                        <a:pt x="893" y="0"/>
                        <a:pt x="896" y="0"/>
                      </a:cubicBezTo>
                      <a:close/>
                      <a:moveTo>
                        <a:pt x="888" y="0"/>
                      </a:moveTo>
                      <a:lnTo>
                        <a:pt x="888" y="0"/>
                      </a:lnTo>
                      <a:cubicBezTo>
                        <a:pt x="588" y="0"/>
                        <a:pt x="301" y="15"/>
                        <a:pt x="1" y="58"/>
                      </a:cubicBezTo>
                      <a:cubicBezTo>
                        <a:pt x="3393" y="491"/>
                        <a:pt x="5934" y="3378"/>
                        <a:pt x="5934" y="6799"/>
                      </a:cubicBezTo>
                      <a:cubicBezTo>
                        <a:pt x="5934" y="10220"/>
                        <a:pt x="3393" y="13107"/>
                        <a:pt x="1" y="13555"/>
                      </a:cubicBezTo>
                      <a:cubicBezTo>
                        <a:pt x="299" y="13594"/>
                        <a:pt x="595" y="13612"/>
                        <a:pt x="887" y="13612"/>
                      </a:cubicBezTo>
                      <a:cubicBezTo>
                        <a:pt x="4418" y="13612"/>
                        <a:pt x="7441" y="10873"/>
                        <a:pt x="7680" y="7247"/>
                      </a:cubicBezTo>
                      <a:cubicBezTo>
                        <a:pt x="7926" y="3323"/>
                        <a:pt x="4826" y="4"/>
                        <a:pt x="888" y="0"/>
                      </a:cubicBezTo>
                      <a:close/>
                    </a:path>
                  </a:pathLst>
                </a:cu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 name="Google Shape;2205;p56">
                <a:extLst>
                  <a:ext uri="{FF2B5EF4-FFF2-40B4-BE49-F238E27FC236}">
                    <a16:creationId xmlns:a16="http://schemas.microsoft.com/office/drawing/2014/main" id="{A93BD5B0-E30E-77C4-317D-6C7B900B36FC}"/>
                  </a:ext>
                </a:extLst>
              </p:cNvPr>
              <p:cNvSpPr/>
              <p:nvPr/>
            </p:nvSpPr>
            <p:spPr>
              <a:xfrm rot="10159057" flipH="1">
                <a:off x="410492" y="1925030"/>
                <a:ext cx="810723" cy="816048"/>
              </a:xfrm>
              <a:custGeom>
                <a:avLst/>
                <a:gdLst/>
                <a:ahLst/>
                <a:cxnLst/>
                <a:rect l="l" t="t" r="r" b="b"/>
                <a:pathLst>
                  <a:path w="45300" h="45267" extrusionOk="0">
                    <a:moveTo>
                      <a:pt x="22629" y="6872"/>
                    </a:moveTo>
                    <a:cubicBezTo>
                      <a:pt x="26731" y="6872"/>
                      <a:pt x="30760" y="8466"/>
                      <a:pt x="33792" y="11476"/>
                    </a:cubicBezTo>
                    <a:cubicBezTo>
                      <a:pt x="38295" y="16012"/>
                      <a:pt x="39629" y="22784"/>
                      <a:pt x="37194" y="28688"/>
                    </a:cubicBezTo>
                    <a:cubicBezTo>
                      <a:pt x="34759" y="34559"/>
                      <a:pt x="29021" y="38428"/>
                      <a:pt x="22617" y="38428"/>
                    </a:cubicBezTo>
                    <a:lnTo>
                      <a:pt x="22617" y="38395"/>
                    </a:lnTo>
                    <a:cubicBezTo>
                      <a:pt x="13911" y="38395"/>
                      <a:pt x="6872" y="31356"/>
                      <a:pt x="6872" y="22650"/>
                    </a:cubicBezTo>
                    <a:cubicBezTo>
                      <a:pt x="6839" y="16279"/>
                      <a:pt x="10708" y="10508"/>
                      <a:pt x="16579" y="8073"/>
                    </a:cubicBezTo>
                    <a:cubicBezTo>
                      <a:pt x="18538" y="7265"/>
                      <a:pt x="20592" y="6872"/>
                      <a:pt x="22629" y="6872"/>
                    </a:cubicBezTo>
                    <a:close/>
                    <a:moveTo>
                      <a:pt x="20916" y="1"/>
                    </a:moveTo>
                    <a:lnTo>
                      <a:pt x="20315" y="2102"/>
                    </a:lnTo>
                    <a:cubicBezTo>
                      <a:pt x="19148" y="2236"/>
                      <a:pt x="18014" y="2469"/>
                      <a:pt x="16913" y="2769"/>
                    </a:cubicBezTo>
                    <a:lnTo>
                      <a:pt x="15545" y="1068"/>
                    </a:lnTo>
                    <a:lnTo>
                      <a:pt x="12376" y="2369"/>
                    </a:lnTo>
                    <a:lnTo>
                      <a:pt x="12643" y="4571"/>
                    </a:lnTo>
                    <a:cubicBezTo>
                      <a:pt x="11609" y="5104"/>
                      <a:pt x="10642" y="5771"/>
                      <a:pt x="9741" y="6472"/>
                    </a:cubicBezTo>
                    <a:lnTo>
                      <a:pt x="7806" y="5405"/>
                    </a:lnTo>
                    <a:lnTo>
                      <a:pt x="5405" y="7840"/>
                    </a:lnTo>
                    <a:lnTo>
                      <a:pt x="6472" y="9774"/>
                    </a:lnTo>
                    <a:cubicBezTo>
                      <a:pt x="5772" y="10675"/>
                      <a:pt x="5104" y="11642"/>
                      <a:pt x="4537" y="12643"/>
                    </a:cubicBezTo>
                    <a:lnTo>
                      <a:pt x="2369" y="12410"/>
                    </a:lnTo>
                    <a:lnTo>
                      <a:pt x="1068" y="15545"/>
                    </a:lnTo>
                    <a:lnTo>
                      <a:pt x="2769" y="16913"/>
                    </a:lnTo>
                    <a:cubicBezTo>
                      <a:pt x="2436" y="18047"/>
                      <a:pt x="2236" y="19181"/>
                      <a:pt x="2102" y="20315"/>
                    </a:cubicBezTo>
                    <a:lnTo>
                      <a:pt x="1" y="20916"/>
                    </a:lnTo>
                    <a:lnTo>
                      <a:pt x="1" y="24351"/>
                    </a:lnTo>
                    <a:lnTo>
                      <a:pt x="2102" y="24952"/>
                    </a:lnTo>
                    <a:cubicBezTo>
                      <a:pt x="2236" y="26086"/>
                      <a:pt x="2469" y="27220"/>
                      <a:pt x="2769" y="28354"/>
                    </a:cubicBezTo>
                    <a:lnTo>
                      <a:pt x="1068" y="29722"/>
                    </a:lnTo>
                    <a:lnTo>
                      <a:pt x="2369" y="32857"/>
                    </a:lnTo>
                    <a:lnTo>
                      <a:pt x="4537" y="32624"/>
                    </a:lnTo>
                    <a:cubicBezTo>
                      <a:pt x="5104" y="33625"/>
                      <a:pt x="5772" y="34592"/>
                      <a:pt x="6472" y="35493"/>
                    </a:cubicBezTo>
                    <a:lnTo>
                      <a:pt x="5405" y="37427"/>
                    </a:lnTo>
                    <a:lnTo>
                      <a:pt x="7840" y="39863"/>
                    </a:lnTo>
                    <a:lnTo>
                      <a:pt x="9774" y="38795"/>
                    </a:lnTo>
                    <a:cubicBezTo>
                      <a:pt x="10675" y="39496"/>
                      <a:pt x="11642" y="40163"/>
                      <a:pt x="12643" y="40730"/>
                    </a:cubicBezTo>
                    <a:lnTo>
                      <a:pt x="12410" y="42898"/>
                    </a:lnTo>
                    <a:lnTo>
                      <a:pt x="15545" y="44199"/>
                    </a:lnTo>
                    <a:lnTo>
                      <a:pt x="16913" y="42498"/>
                    </a:lnTo>
                    <a:cubicBezTo>
                      <a:pt x="18047" y="42798"/>
                      <a:pt x="19181" y="43031"/>
                      <a:pt x="20349" y="43165"/>
                    </a:cubicBezTo>
                    <a:lnTo>
                      <a:pt x="20916" y="45266"/>
                    </a:lnTo>
                    <a:lnTo>
                      <a:pt x="24318" y="45266"/>
                    </a:lnTo>
                    <a:lnTo>
                      <a:pt x="24952" y="43165"/>
                    </a:lnTo>
                    <a:cubicBezTo>
                      <a:pt x="26086" y="43031"/>
                      <a:pt x="27220" y="42798"/>
                      <a:pt x="28354" y="42498"/>
                    </a:cubicBezTo>
                    <a:lnTo>
                      <a:pt x="29722" y="44199"/>
                    </a:lnTo>
                    <a:lnTo>
                      <a:pt x="32858" y="42898"/>
                    </a:lnTo>
                    <a:lnTo>
                      <a:pt x="32624" y="40730"/>
                    </a:lnTo>
                    <a:cubicBezTo>
                      <a:pt x="33625" y="40163"/>
                      <a:pt x="34592" y="39496"/>
                      <a:pt x="35493" y="38795"/>
                    </a:cubicBezTo>
                    <a:lnTo>
                      <a:pt x="37427" y="39863"/>
                    </a:lnTo>
                    <a:lnTo>
                      <a:pt x="39863" y="37461"/>
                    </a:lnTo>
                    <a:lnTo>
                      <a:pt x="38795" y="35526"/>
                    </a:lnTo>
                    <a:cubicBezTo>
                      <a:pt x="39496" y="34625"/>
                      <a:pt x="40163" y="33658"/>
                      <a:pt x="40730" y="32657"/>
                    </a:cubicBezTo>
                    <a:lnTo>
                      <a:pt x="42898" y="32891"/>
                    </a:lnTo>
                    <a:lnTo>
                      <a:pt x="44199" y="29722"/>
                    </a:lnTo>
                    <a:lnTo>
                      <a:pt x="42498" y="28354"/>
                    </a:lnTo>
                    <a:cubicBezTo>
                      <a:pt x="42798" y="27253"/>
                      <a:pt x="43031" y="26119"/>
                      <a:pt x="43165" y="24952"/>
                    </a:cubicBezTo>
                    <a:lnTo>
                      <a:pt x="45300" y="24351"/>
                    </a:lnTo>
                    <a:lnTo>
                      <a:pt x="45300" y="20916"/>
                    </a:lnTo>
                    <a:lnTo>
                      <a:pt x="43165" y="20315"/>
                    </a:lnTo>
                    <a:cubicBezTo>
                      <a:pt x="43031" y="19181"/>
                      <a:pt x="42798" y="18047"/>
                      <a:pt x="42498" y="16913"/>
                    </a:cubicBezTo>
                    <a:lnTo>
                      <a:pt x="44199" y="15545"/>
                    </a:lnTo>
                    <a:lnTo>
                      <a:pt x="42898" y="12376"/>
                    </a:lnTo>
                    <a:lnTo>
                      <a:pt x="40730" y="12643"/>
                    </a:lnTo>
                    <a:cubicBezTo>
                      <a:pt x="40163" y="11642"/>
                      <a:pt x="39496" y="10675"/>
                      <a:pt x="38795" y="9774"/>
                    </a:cubicBezTo>
                    <a:lnTo>
                      <a:pt x="39863" y="7840"/>
                    </a:lnTo>
                    <a:lnTo>
                      <a:pt x="37427" y="5405"/>
                    </a:lnTo>
                    <a:lnTo>
                      <a:pt x="35493" y="6472"/>
                    </a:lnTo>
                    <a:cubicBezTo>
                      <a:pt x="34592" y="5771"/>
                      <a:pt x="33658" y="5104"/>
                      <a:pt x="32624" y="4571"/>
                    </a:cubicBezTo>
                    <a:lnTo>
                      <a:pt x="32891" y="2369"/>
                    </a:lnTo>
                    <a:lnTo>
                      <a:pt x="29722" y="1068"/>
                    </a:lnTo>
                    <a:lnTo>
                      <a:pt x="28354" y="2769"/>
                    </a:lnTo>
                    <a:cubicBezTo>
                      <a:pt x="27220" y="2469"/>
                      <a:pt x="26086" y="2236"/>
                      <a:pt x="24952" y="2102"/>
                    </a:cubicBezTo>
                    <a:lnTo>
                      <a:pt x="24318" y="1"/>
                    </a:lnTo>
                    <a:close/>
                  </a:path>
                </a:pathLst>
              </a:custGeom>
              <a:solidFill>
                <a:schemeClr val="bg2">
                  <a:lumMod val="40000"/>
                  <a:lumOff val="6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2" name="Google Shape;2205;p56">
              <a:extLst>
                <a:ext uri="{FF2B5EF4-FFF2-40B4-BE49-F238E27FC236}">
                  <a16:creationId xmlns:a16="http://schemas.microsoft.com/office/drawing/2014/main" id="{4D4C434D-DAC3-CA3A-07FF-F70D226480BC}"/>
                </a:ext>
              </a:extLst>
            </p:cNvPr>
            <p:cNvSpPr/>
            <p:nvPr/>
          </p:nvSpPr>
          <p:spPr>
            <a:xfrm rot="10800000" flipH="1">
              <a:off x="1986990" y="1678230"/>
              <a:ext cx="1880888" cy="1922769"/>
            </a:xfrm>
            <a:custGeom>
              <a:avLst/>
              <a:gdLst/>
              <a:ahLst/>
              <a:cxnLst/>
              <a:rect l="l" t="t" r="r" b="b"/>
              <a:pathLst>
                <a:path w="45300" h="45267" extrusionOk="0">
                  <a:moveTo>
                    <a:pt x="22629" y="6872"/>
                  </a:moveTo>
                  <a:cubicBezTo>
                    <a:pt x="26731" y="6872"/>
                    <a:pt x="30760" y="8466"/>
                    <a:pt x="33792" y="11476"/>
                  </a:cubicBezTo>
                  <a:cubicBezTo>
                    <a:pt x="38295" y="16012"/>
                    <a:pt x="39629" y="22784"/>
                    <a:pt x="37194" y="28688"/>
                  </a:cubicBezTo>
                  <a:cubicBezTo>
                    <a:pt x="34759" y="34559"/>
                    <a:pt x="29021" y="38428"/>
                    <a:pt x="22617" y="38428"/>
                  </a:cubicBezTo>
                  <a:lnTo>
                    <a:pt x="22617" y="38395"/>
                  </a:lnTo>
                  <a:cubicBezTo>
                    <a:pt x="13911" y="38395"/>
                    <a:pt x="6872" y="31356"/>
                    <a:pt x="6872" y="22650"/>
                  </a:cubicBezTo>
                  <a:cubicBezTo>
                    <a:pt x="6839" y="16279"/>
                    <a:pt x="10708" y="10508"/>
                    <a:pt x="16579" y="8073"/>
                  </a:cubicBezTo>
                  <a:cubicBezTo>
                    <a:pt x="18538" y="7265"/>
                    <a:pt x="20592" y="6872"/>
                    <a:pt x="22629" y="6872"/>
                  </a:cubicBezTo>
                  <a:close/>
                  <a:moveTo>
                    <a:pt x="20916" y="1"/>
                  </a:moveTo>
                  <a:lnTo>
                    <a:pt x="20315" y="2102"/>
                  </a:lnTo>
                  <a:cubicBezTo>
                    <a:pt x="19148" y="2236"/>
                    <a:pt x="18014" y="2469"/>
                    <a:pt x="16913" y="2769"/>
                  </a:cubicBezTo>
                  <a:lnTo>
                    <a:pt x="15545" y="1068"/>
                  </a:lnTo>
                  <a:lnTo>
                    <a:pt x="12376" y="2369"/>
                  </a:lnTo>
                  <a:lnTo>
                    <a:pt x="12643" y="4571"/>
                  </a:lnTo>
                  <a:cubicBezTo>
                    <a:pt x="11609" y="5104"/>
                    <a:pt x="10642" y="5771"/>
                    <a:pt x="9741" y="6472"/>
                  </a:cubicBezTo>
                  <a:lnTo>
                    <a:pt x="7806" y="5405"/>
                  </a:lnTo>
                  <a:lnTo>
                    <a:pt x="5405" y="7840"/>
                  </a:lnTo>
                  <a:lnTo>
                    <a:pt x="6472" y="9774"/>
                  </a:lnTo>
                  <a:cubicBezTo>
                    <a:pt x="5772" y="10675"/>
                    <a:pt x="5104" y="11642"/>
                    <a:pt x="4537" y="12643"/>
                  </a:cubicBezTo>
                  <a:lnTo>
                    <a:pt x="2369" y="12410"/>
                  </a:lnTo>
                  <a:lnTo>
                    <a:pt x="1068" y="15545"/>
                  </a:lnTo>
                  <a:lnTo>
                    <a:pt x="2769" y="16913"/>
                  </a:lnTo>
                  <a:cubicBezTo>
                    <a:pt x="2436" y="18047"/>
                    <a:pt x="2236" y="19181"/>
                    <a:pt x="2102" y="20315"/>
                  </a:cubicBezTo>
                  <a:lnTo>
                    <a:pt x="1" y="20916"/>
                  </a:lnTo>
                  <a:lnTo>
                    <a:pt x="1" y="24351"/>
                  </a:lnTo>
                  <a:lnTo>
                    <a:pt x="2102" y="24952"/>
                  </a:lnTo>
                  <a:cubicBezTo>
                    <a:pt x="2236" y="26086"/>
                    <a:pt x="2469" y="27220"/>
                    <a:pt x="2769" y="28354"/>
                  </a:cubicBezTo>
                  <a:lnTo>
                    <a:pt x="1068" y="29722"/>
                  </a:lnTo>
                  <a:lnTo>
                    <a:pt x="2369" y="32857"/>
                  </a:lnTo>
                  <a:lnTo>
                    <a:pt x="4537" y="32624"/>
                  </a:lnTo>
                  <a:cubicBezTo>
                    <a:pt x="5104" y="33625"/>
                    <a:pt x="5772" y="34592"/>
                    <a:pt x="6472" y="35493"/>
                  </a:cubicBezTo>
                  <a:lnTo>
                    <a:pt x="5405" y="37427"/>
                  </a:lnTo>
                  <a:lnTo>
                    <a:pt x="7840" y="39863"/>
                  </a:lnTo>
                  <a:lnTo>
                    <a:pt x="9774" y="38795"/>
                  </a:lnTo>
                  <a:cubicBezTo>
                    <a:pt x="10675" y="39496"/>
                    <a:pt x="11642" y="40163"/>
                    <a:pt x="12643" y="40730"/>
                  </a:cubicBezTo>
                  <a:lnTo>
                    <a:pt x="12410" y="42898"/>
                  </a:lnTo>
                  <a:lnTo>
                    <a:pt x="15545" y="44199"/>
                  </a:lnTo>
                  <a:lnTo>
                    <a:pt x="16913" y="42498"/>
                  </a:lnTo>
                  <a:cubicBezTo>
                    <a:pt x="18047" y="42798"/>
                    <a:pt x="19181" y="43031"/>
                    <a:pt x="20349" y="43165"/>
                  </a:cubicBezTo>
                  <a:lnTo>
                    <a:pt x="20916" y="45266"/>
                  </a:lnTo>
                  <a:lnTo>
                    <a:pt x="24318" y="45266"/>
                  </a:lnTo>
                  <a:lnTo>
                    <a:pt x="24952" y="43165"/>
                  </a:lnTo>
                  <a:cubicBezTo>
                    <a:pt x="26086" y="43031"/>
                    <a:pt x="27220" y="42798"/>
                    <a:pt x="28354" y="42498"/>
                  </a:cubicBezTo>
                  <a:lnTo>
                    <a:pt x="29722" y="44199"/>
                  </a:lnTo>
                  <a:lnTo>
                    <a:pt x="32858" y="42898"/>
                  </a:lnTo>
                  <a:lnTo>
                    <a:pt x="32624" y="40730"/>
                  </a:lnTo>
                  <a:cubicBezTo>
                    <a:pt x="33625" y="40163"/>
                    <a:pt x="34592" y="39496"/>
                    <a:pt x="35493" y="38795"/>
                  </a:cubicBezTo>
                  <a:lnTo>
                    <a:pt x="37427" y="39863"/>
                  </a:lnTo>
                  <a:lnTo>
                    <a:pt x="39863" y="37461"/>
                  </a:lnTo>
                  <a:lnTo>
                    <a:pt x="38795" y="35526"/>
                  </a:lnTo>
                  <a:cubicBezTo>
                    <a:pt x="39496" y="34625"/>
                    <a:pt x="40163" y="33658"/>
                    <a:pt x="40730" y="32657"/>
                  </a:cubicBezTo>
                  <a:lnTo>
                    <a:pt x="42898" y="32891"/>
                  </a:lnTo>
                  <a:lnTo>
                    <a:pt x="44199" y="29722"/>
                  </a:lnTo>
                  <a:lnTo>
                    <a:pt x="42498" y="28354"/>
                  </a:lnTo>
                  <a:cubicBezTo>
                    <a:pt x="42798" y="27253"/>
                    <a:pt x="43031" y="26119"/>
                    <a:pt x="43165" y="24952"/>
                  </a:cubicBezTo>
                  <a:lnTo>
                    <a:pt x="45300" y="24351"/>
                  </a:lnTo>
                  <a:lnTo>
                    <a:pt x="45300" y="20916"/>
                  </a:lnTo>
                  <a:lnTo>
                    <a:pt x="43165" y="20315"/>
                  </a:lnTo>
                  <a:cubicBezTo>
                    <a:pt x="43031" y="19181"/>
                    <a:pt x="42798" y="18047"/>
                    <a:pt x="42498" y="16913"/>
                  </a:cubicBezTo>
                  <a:lnTo>
                    <a:pt x="44199" y="15545"/>
                  </a:lnTo>
                  <a:lnTo>
                    <a:pt x="42898" y="12376"/>
                  </a:lnTo>
                  <a:lnTo>
                    <a:pt x="40730" y="12643"/>
                  </a:lnTo>
                  <a:cubicBezTo>
                    <a:pt x="40163" y="11642"/>
                    <a:pt x="39496" y="10675"/>
                    <a:pt x="38795" y="9774"/>
                  </a:cubicBezTo>
                  <a:lnTo>
                    <a:pt x="39863" y="7840"/>
                  </a:lnTo>
                  <a:lnTo>
                    <a:pt x="37427" y="5405"/>
                  </a:lnTo>
                  <a:lnTo>
                    <a:pt x="35493" y="6472"/>
                  </a:lnTo>
                  <a:cubicBezTo>
                    <a:pt x="34592" y="5771"/>
                    <a:pt x="33658" y="5104"/>
                    <a:pt x="32624" y="4571"/>
                  </a:cubicBezTo>
                  <a:lnTo>
                    <a:pt x="32891" y="2369"/>
                  </a:lnTo>
                  <a:lnTo>
                    <a:pt x="29722" y="1068"/>
                  </a:lnTo>
                  <a:lnTo>
                    <a:pt x="28354" y="2769"/>
                  </a:lnTo>
                  <a:cubicBezTo>
                    <a:pt x="27220" y="2469"/>
                    <a:pt x="26086" y="2236"/>
                    <a:pt x="24952" y="2102"/>
                  </a:cubicBezTo>
                  <a:lnTo>
                    <a:pt x="24318" y="1"/>
                  </a:lnTo>
                  <a:close/>
                </a:path>
              </a:pathLst>
            </a:custGeom>
            <a:solidFill>
              <a:schemeClr val="bg2">
                <a:lumMod val="60000"/>
                <a:lumOff val="4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3" name="Google Shape;2198;p56">
              <a:extLst>
                <a:ext uri="{FF2B5EF4-FFF2-40B4-BE49-F238E27FC236}">
                  <a16:creationId xmlns:a16="http://schemas.microsoft.com/office/drawing/2014/main" id="{B216E3A9-5248-0F12-001D-34CA184443B3}"/>
                </a:ext>
              </a:extLst>
            </p:cNvPr>
            <p:cNvGrpSpPr/>
            <p:nvPr/>
          </p:nvGrpSpPr>
          <p:grpSpPr>
            <a:xfrm>
              <a:off x="3793773" y="1697592"/>
              <a:ext cx="2518309" cy="1922769"/>
              <a:chOff x="410492" y="1925030"/>
              <a:chExt cx="1085472" cy="816048"/>
            </a:xfrm>
          </p:grpSpPr>
          <p:grpSp>
            <p:nvGrpSpPr>
              <p:cNvPr id="34" name="Google Shape;2199;p56">
                <a:extLst>
                  <a:ext uri="{FF2B5EF4-FFF2-40B4-BE49-F238E27FC236}">
                    <a16:creationId xmlns:a16="http://schemas.microsoft.com/office/drawing/2014/main" id="{7F795CD7-96E5-3987-F50C-77751BCEB726}"/>
                  </a:ext>
                </a:extLst>
              </p:cNvPr>
              <p:cNvGrpSpPr/>
              <p:nvPr/>
            </p:nvGrpSpPr>
            <p:grpSpPr>
              <a:xfrm>
                <a:off x="1036615" y="2139668"/>
                <a:ext cx="459349" cy="451684"/>
                <a:chOff x="3314750" y="3817357"/>
                <a:chExt cx="362921" cy="356865"/>
              </a:xfrm>
            </p:grpSpPr>
            <p:sp>
              <p:nvSpPr>
                <p:cNvPr id="36" name="Google Shape;2200;p56">
                  <a:extLst>
                    <a:ext uri="{FF2B5EF4-FFF2-40B4-BE49-F238E27FC236}">
                      <a16:creationId xmlns:a16="http://schemas.microsoft.com/office/drawing/2014/main" id="{93EDEDD7-FC95-9A89-96AA-E420EE31886D}"/>
                    </a:ext>
                  </a:extLst>
                </p:cNvPr>
                <p:cNvSpPr/>
                <p:nvPr/>
              </p:nvSpPr>
              <p:spPr>
                <a:xfrm>
                  <a:off x="3314750" y="3817357"/>
                  <a:ext cx="356865" cy="356498"/>
                </a:xfrm>
                <a:custGeom>
                  <a:avLst/>
                  <a:gdLst/>
                  <a:ahLst/>
                  <a:cxnLst/>
                  <a:rect l="l" t="t" r="r" b="b"/>
                  <a:pathLst>
                    <a:path w="13613" h="13599" extrusionOk="0">
                      <a:moveTo>
                        <a:pt x="6814" y="0"/>
                      </a:moveTo>
                      <a:cubicBezTo>
                        <a:pt x="3046" y="0"/>
                        <a:pt x="0" y="3046"/>
                        <a:pt x="0" y="6799"/>
                      </a:cubicBezTo>
                      <a:cubicBezTo>
                        <a:pt x="0" y="10552"/>
                        <a:pt x="3046" y="13598"/>
                        <a:pt x="6814" y="13598"/>
                      </a:cubicBezTo>
                      <a:cubicBezTo>
                        <a:pt x="10567" y="13598"/>
                        <a:pt x="13613" y="10552"/>
                        <a:pt x="13613" y="6799"/>
                      </a:cubicBezTo>
                      <a:cubicBezTo>
                        <a:pt x="13613" y="3046"/>
                        <a:pt x="10567" y="0"/>
                        <a:pt x="6814" y="0"/>
                      </a:cubicBezTo>
                      <a:close/>
                    </a:path>
                  </a:pathLst>
                </a:cu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201;p56">
                  <a:extLst>
                    <a:ext uri="{FF2B5EF4-FFF2-40B4-BE49-F238E27FC236}">
                      <a16:creationId xmlns:a16="http://schemas.microsoft.com/office/drawing/2014/main" id="{2C2B5C79-6853-3120-957D-0339ED0A457C}"/>
                    </a:ext>
                  </a:extLst>
                </p:cNvPr>
                <p:cNvSpPr/>
                <p:nvPr/>
              </p:nvSpPr>
              <p:spPr>
                <a:xfrm>
                  <a:off x="3469891" y="3817357"/>
                  <a:ext cx="207780" cy="356865"/>
                </a:xfrm>
                <a:custGeom>
                  <a:avLst/>
                  <a:gdLst/>
                  <a:ahLst/>
                  <a:cxnLst/>
                  <a:rect l="l" t="t" r="r" b="b"/>
                  <a:pathLst>
                    <a:path w="7926" h="13613" extrusionOk="0">
                      <a:moveTo>
                        <a:pt x="881" y="0"/>
                      </a:moveTo>
                      <a:cubicBezTo>
                        <a:pt x="884" y="0"/>
                        <a:pt x="886" y="0"/>
                        <a:pt x="888" y="0"/>
                      </a:cubicBezTo>
                      <a:lnTo>
                        <a:pt x="888" y="0"/>
                      </a:lnTo>
                      <a:cubicBezTo>
                        <a:pt x="891" y="0"/>
                        <a:pt x="893" y="0"/>
                        <a:pt x="896" y="0"/>
                      </a:cubicBezTo>
                      <a:close/>
                      <a:moveTo>
                        <a:pt x="888" y="0"/>
                      </a:moveTo>
                      <a:lnTo>
                        <a:pt x="888" y="0"/>
                      </a:lnTo>
                      <a:cubicBezTo>
                        <a:pt x="588" y="0"/>
                        <a:pt x="301" y="15"/>
                        <a:pt x="1" y="58"/>
                      </a:cubicBezTo>
                      <a:cubicBezTo>
                        <a:pt x="3393" y="491"/>
                        <a:pt x="5934" y="3378"/>
                        <a:pt x="5934" y="6799"/>
                      </a:cubicBezTo>
                      <a:cubicBezTo>
                        <a:pt x="5934" y="10220"/>
                        <a:pt x="3393" y="13107"/>
                        <a:pt x="1" y="13555"/>
                      </a:cubicBezTo>
                      <a:cubicBezTo>
                        <a:pt x="299" y="13594"/>
                        <a:pt x="595" y="13612"/>
                        <a:pt x="887" y="13612"/>
                      </a:cubicBezTo>
                      <a:cubicBezTo>
                        <a:pt x="4418" y="13612"/>
                        <a:pt x="7441" y="10873"/>
                        <a:pt x="7680" y="7247"/>
                      </a:cubicBezTo>
                      <a:cubicBezTo>
                        <a:pt x="7926" y="3323"/>
                        <a:pt x="4826" y="4"/>
                        <a:pt x="888" y="0"/>
                      </a:cubicBezTo>
                      <a:close/>
                    </a:path>
                  </a:pathLst>
                </a:cu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5" name="Google Shape;2205;p56">
                <a:extLst>
                  <a:ext uri="{FF2B5EF4-FFF2-40B4-BE49-F238E27FC236}">
                    <a16:creationId xmlns:a16="http://schemas.microsoft.com/office/drawing/2014/main" id="{E66DF14D-763A-0AA7-AA93-A43DB770F322}"/>
                  </a:ext>
                </a:extLst>
              </p:cNvPr>
              <p:cNvSpPr/>
              <p:nvPr/>
            </p:nvSpPr>
            <p:spPr>
              <a:xfrm rot="10159057" flipH="1">
                <a:off x="410492" y="1925030"/>
                <a:ext cx="810723" cy="816048"/>
              </a:xfrm>
              <a:custGeom>
                <a:avLst/>
                <a:gdLst/>
                <a:ahLst/>
                <a:cxnLst/>
                <a:rect l="l" t="t" r="r" b="b"/>
                <a:pathLst>
                  <a:path w="45300" h="45267" extrusionOk="0">
                    <a:moveTo>
                      <a:pt x="22629" y="6872"/>
                    </a:moveTo>
                    <a:cubicBezTo>
                      <a:pt x="26731" y="6872"/>
                      <a:pt x="30760" y="8466"/>
                      <a:pt x="33792" y="11476"/>
                    </a:cubicBezTo>
                    <a:cubicBezTo>
                      <a:pt x="38295" y="16012"/>
                      <a:pt x="39629" y="22784"/>
                      <a:pt x="37194" y="28688"/>
                    </a:cubicBezTo>
                    <a:cubicBezTo>
                      <a:pt x="34759" y="34559"/>
                      <a:pt x="29021" y="38428"/>
                      <a:pt x="22617" y="38428"/>
                    </a:cubicBezTo>
                    <a:lnTo>
                      <a:pt x="22617" y="38395"/>
                    </a:lnTo>
                    <a:cubicBezTo>
                      <a:pt x="13911" y="38395"/>
                      <a:pt x="6872" y="31356"/>
                      <a:pt x="6872" y="22650"/>
                    </a:cubicBezTo>
                    <a:cubicBezTo>
                      <a:pt x="6839" y="16279"/>
                      <a:pt x="10708" y="10508"/>
                      <a:pt x="16579" y="8073"/>
                    </a:cubicBezTo>
                    <a:cubicBezTo>
                      <a:pt x="18538" y="7265"/>
                      <a:pt x="20592" y="6872"/>
                      <a:pt x="22629" y="6872"/>
                    </a:cubicBezTo>
                    <a:close/>
                    <a:moveTo>
                      <a:pt x="20916" y="1"/>
                    </a:moveTo>
                    <a:lnTo>
                      <a:pt x="20315" y="2102"/>
                    </a:lnTo>
                    <a:cubicBezTo>
                      <a:pt x="19148" y="2236"/>
                      <a:pt x="18014" y="2469"/>
                      <a:pt x="16913" y="2769"/>
                    </a:cubicBezTo>
                    <a:lnTo>
                      <a:pt x="15545" y="1068"/>
                    </a:lnTo>
                    <a:lnTo>
                      <a:pt x="12376" y="2369"/>
                    </a:lnTo>
                    <a:lnTo>
                      <a:pt x="12643" y="4571"/>
                    </a:lnTo>
                    <a:cubicBezTo>
                      <a:pt x="11609" y="5104"/>
                      <a:pt x="10642" y="5771"/>
                      <a:pt x="9741" y="6472"/>
                    </a:cubicBezTo>
                    <a:lnTo>
                      <a:pt x="7806" y="5405"/>
                    </a:lnTo>
                    <a:lnTo>
                      <a:pt x="5405" y="7840"/>
                    </a:lnTo>
                    <a:lnTo>
                      <a:pt x="6472" y="9774"/>
                    </a:lnTo>
                    <a:cubicBezTo>
                      <a:pt x="5772" y="10675"/>
                      <a:pt x="5104" y="11642"/>
                      <a:pt x="4537" y="12643"/>
                    </a:cubicBezTo>
                    <a:lnTo>
                      <a:pt x="2369" y="12410"/>
                    </a:lnTo>
                    <a:lnTo>
                      <a:pt x="1068" y="15545"/>
                    </a:lnTo>
                    <a:lnTo>
                      <a:pt x="2769" y="16913"/>
                    </a:lnTo>
                    <a:cubicBezTo>
                      <a:pt x="2436" y="18047"/>
                      <a:pt x="2236" y="19181"/>
                      <a:pt x="2102" y="20315"/>
                    </a:cubicBezTo>
                    <a:lnTo>
                      <a:pt x="1" y="20916"/>
                    </a:lnTo>
                    <a:lnTo>
                      <a:pt x="1" y="24351"/>
                    </a:lnTo>
                    <a:lnTo>
                      <a:pt x="2102" y="24952"/>
                    </a:lnTo>
                    <a:cubicBezTo>
                      <a:pt x="2236" y="26086"/>
                      <a:pt x="2469" y="27220"/>
                      <a:pt x="2769" y="28354"/>
                    </a:cubicBezTo>
                    <a:lnTo>
                      <a:pt x="1068" y="29722"/>
                    </a:lnTo>
                    <a:lnTo>
                      <a:pt x="2369" y="32857"/>
                    </a:lnTo>
                    <a:lnTo>
                      <a:pt x="4537" y="32624"/>
                    </a:lnTo>
                    <a:cubicBezTo>
                      <a:pt x="5104" y="33625"/>
                      <a:pt x="5772" y="34592"/>
                      <a:pt x="6472" y="35493"/>
                    </a:cubicBezTo>
                    <a:lnTo>
                      <a:pt x="5405" y="37427"/>
                    </a:lnTo>
                    <a:lnTo>
                      <a:pt x="7840" y="39863"/>
                    </a:lnTo>
                    <a:lnTo>
                      <a:pt x="9774" y="38795"/>
                    </a:lnTo>
                    <a:cubicBezTo>
                      <a:pt x="10675" y="39496"/>
                      <a:pt x="11642" y="40163"/>
                      <a:pt x="12643" y="40730"/>
                    </a:cubicBezTo>
                    <a:lnTo>
                      <a:pt x="12410" y="42898"/>
                    </a:lnTo>
                    <a:lnTo>
                      <a:pt x="15545" y="44199"/>
                    </a:lnTo>
                    <a:lnTo>
                      <a:pt x="16913" y="42498"/>
                    </a:lnTo>
                    <a:cubicBezTo>
                      <a:pt x="18047" y="42798"/>
                      <a:pt x="19181" y="43031"/>
                      <a:pt x="20349" y="43165"/>
                    </a:cubicBezTo>
                    <a:lnTo>
                      <a:pt x="20916" y="45266"/>
                    </a:lnTo>
                    <a:lnTo>
                      <a:pt x="24318" y="45266"/>
                    </a:lnTo>
                    <a:lnTo>
                      <a:pt x="24952" y="43165"/>
                    </a:lnTo>
                    <a:cubicBezTo>
                      <a:pt x="26086" y="43031"/>
                      <a:pt x="27220" y="42798"/>
                      <a:pt x="28354" y="42498"/>
                    </a:cubicBezTo>
                    <a:lnTo>
                      <a:pt x="29722" y="44199"/>
                    </a:lnTo>
                    <a:lnTo>
                      <a:pt x="32858" y="42898"/>
                    </a:lnTo>
                    <a:lnTo>
                      <a:pt x="32624" y="40730"/>
                    </a:lnTo>
                    <a:cubicBezTo>
                      <a:pt x="33625" y="40163"/>
                      <a:pt x="34592" y="39496"/>
                      <a:pt x="35493" y="38795"/>
                    </a:cubicBezTo>
                    <a:lnTo>
                      <a:pt x="37427" y="39863"/>
                    </a:lnTo>
                    <a:lnTo>
                      <a:pt x="39863" y="37461"/>
                    </a:lnTo>
                    <a:lnTo>
                      <a:pt x="38795" y="35526"/>
                    </a:lnTo>
                    <a:cubicBezTo>
                      <a:pt x="39496" y="34625"/>
                      <a:pt x="40163" y="33658"/>
                      <a:pt x="40730" y="32657"/>
                    </a:cubicBezTo>
                    <a:lnTo>
                      <a:pt x="42898" y="32891"/>
                    </a:lnTo>
                    <a:lnTo>
                      <a:pt x="44199" y="29722"/>
                    </a:lnTo>
                    <a:lnTo>
                      <a:pt x="42498" y="28354"/>
                    </a:lnTo>
                    <a:cubicBezTo>
                      <a:pt x="42798" y="27253"/>
                      <a:pt x="43031" y="26119"/>
                      <a:pt x="43165" y="24952"/>
                    </a:cubicBezTo>
                    <a:lnTo>
                      <a:pt x="45300" y="24351"/>
                    </a:lnTo>
                    <a:lnTo>
                      <a:pt x="45300" y="20916"/>
                    </a:lnTo>
                    <a:lnTo>
                      <a:pt x="43165" y="20315"/>
                    </a:lnTo>
                    <a:cubicBezTo>
                      <a:pt x="43031" y="19181"/>
                      <a:pt x="42798" y="18047"/>
                      <a:pt x="42498" y="16913"/>
                    </a:cubicBezTo>
                    <a:lnTo>
                      <a:pt x="44199" y="15545"/>
                    </a:lnTo>
                    <a:lnTo>
                      <a:pt x="42898" y="12376"/>
                    </a:lnTo>
                    <a:lnTo>
                      <a:pt x="40730" y="12643"/>
                    </a:lnTo>
                    <a:cubicBezTo>
                      <a:pt x="40163" y="11642"/>
                      <a:pt x="39496" y="10675"/>
                      <a:pt x="38795" y="9774"/>
                    </a:cubicBezTo>
                    <a:lnTo>
                      <a:pt x="39863" y="7840"/>
                    </a:lnTo>
                    <a:lnTo>
                      <a:pt x="37427" y="5405"/>
                    </a:lnTo>
                    <a:lnTo>
                      <a:pt x="35493" y="6472"/>
                    </a:lnTo>
                    <a:cubicBezTo>
                      <a:pt x="34592" y="5771"/>
                      <a:pt x="33658" y="5104"/>
                      <a:pt x="32624" y="4571"/>
                    </a:cubicBezTo>
                    <a:lnTo>
                      <a:pt x="32891" y="2369"/>
                    </a:lnTo>
                    <a:lnTo>
                      <a:pt x="29722" y="1068"/>
                    </a:lnTo>
                    <a:lnTo>
                      <a:pt x="28354" y="2769"/>
                    </a:lnTo>
                    <a:cubicBezTo>
                      <a:pt x="27220" y="2469"/>
                      <a:pt x="26086" y="2236"/>
                      <a:pt x="24952" y="2102"/>
                    </a:cubicBezTo>
                    <a:lnTo>
                      <a:pt x="24318" y="1"/>
                    </a:lnTo>
                    <a:close/>
                  </a:path>
                </a:pathLst>
              </a:custGeom>
              <a:solidFill>
                <a:schemeClr val="tx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8" name="Google Shape;2205;p56">
              <a:extLst>
                <a:ext uri="{FF2B5EF4-FFF2-40B4-BE49-F238E27FC236}">
                  <a16:creationId xmlns:a16="http://schemas.microsoft.com/office/drawing/2014/main" id="{5BD49633-3377-322B-5C83-786728FD5FBD}"/>
                </a:ext>
              </a:extLst>
            </p:cNvPr>
            <p:cNvSpPr/>
            <p:nvPr/>
          </p:nvSpPr>
          <p:spPr>
            <a:xfrm rot="10800000" flipH="1">
              <a:off x="5618855" y="1705025"/>
              <a:ext cx="1880888" cy="1922769"/>
            </a:xfrm>
            <a:custGeom>
              <a:avLst/>
              <a:gdLst/>
              <a:ahLst/>
              <a:cxnLst/>
              <a:rect l="l" t="t" r="r" b="b"/>
              <a:pathLst>
                <a:path w="45300" h="45267" extrusionOk="0">
                  <a:moveTo>
                    <a:pt x="22629" y="6872"/>
                  </a:moveTo>
                  <a:cubicBezTo>
                    <a:pt x="26731" y="6872"/>
                    <a:pt x="30760" y="8466"/>
                    <a:pt x="33792" y="11476"/>
                  </a:cubicBezTo>
                  <a:cubicBezTo>
                    <a:pt x="38295" y="16012"/>
                    <a:pt x="39629" y="22784"/>
                    <a:pt x="37194" y="28688"/>
                  </a:cubicBezTo>
                  <a:cubicBezTo>
                    <a:pt x="34759" y="34559"/>
                    <a:pt x="29021" y="38428"/>
                    <a:pt x="22617" y="38428"/>
                  </a:cubicBezTo>
                  <a:lnTo>
                    <a:pt x="22617" y="38395"/>
                  </a:lnTo>
                  <a:cubicBezTo>
                    <a:pt x="13911" y="38395"/>
                    <a:pt x="6872" y="31356"/>
                    <a:pt x="6872" y="22650"/>
                  </a:cubicBezTo>
                  <a:cubicBezTo>
                    <a:pt x="6839" y="16279"/>
                    <a:pt x="10708" y="10508"/>
                    <a:pt x="16579" y="8073"/>
                  </a:cubicBezTo>
                  <a:cubicBezTo>
                    <a:pt x="18538" y="7265"/>
                    <a:pt x="20592" y="6872"/>
                    <a:pt x="22629" y="6872"/>
                  </a:cubicBezTo>
                  <a:close/>
                  <a:moveTo>
                    <a:pt x="20916" y="1"/>
                  </a:moveTo>
                  <a:lnTo>
                    <a:pt x="20315" y="2102"/>
                  </a:lnTo>
                  <a:cubicBezTo>
                    <a:pt x="19148" y="2236"/>
                    <a:pt x="18014" y="2469"/>
                    <a:pt x="16913" y="2769"/>
                  </a:cubicBezTo>
                  <a:lnTo>
                    <a:pt x="15545" y="1068"/>
                  </a:lnTo>
                  <a:lnTo>
                    <a:pt x="12376" y="2369"/>
                  </a:lnTo>
                  <a:lnTo>
                    <a:pt x="12643" y="4571"/>
                  </a:lnTo>
                  <a:cubicBezTo>
                    <a:pt x="11609" y="5104"/>
                    <a:pt x="10642" y="5771"/>
                    <a:pt x="9741" y="6472"/>
                  </a:cubicBezTo>
                  <a:lnTo>
                    <a:pt x="7806" y="5405"/>
                  </a:lnTo>
                  <a:lnTo>
                    <a:pt x="5405" y="7840"/>
                  </a:lnTo>
                  <a:lnTo>
                    <a:pt x="6472" y="9774"/>
                  </a:lnTo>
                  <a:cubicBezTo>
                    <a:pt x="5772" y="10675"/>
                    <a:pt x="5104" y="11642"/>
                    <a:pt x="4537" y="12643"/>
                  </a:cubicBezTo>
                  <a:lnTo>
                    <a:pt x="2369" y="12410"/>
                  </a:lnTo>
                  <a:lnTo>
                    <a:pt x="1068" y="15545"/>
                  </a:lnTo>
                  <a:lnTo>
                    <a:pt x="2769" y="16913"/>
                  </a:lnTo>
                  <a:cubicBezTo>
                    <a:pt x="2436" y="18047"/>
                    <a:pt x="2236" y="19181"/>
                    <a:pt x="2102" y="20315"/>
                  </a:cubicBezTo>
                  <a:lnTo>
                    <a:pt x="1" y="20916"/>
                  </a:lnTo>
                  <a:lnTo>
                    <a:pt x="1" y="24351"/>
                  </a:lnTo>
                  <a:lnTo>
                    <a:pt x="2102" y="24952"/>
                  </a:lnTo>
                  <a:cubicBezTo>
                    <a:pt x="2236" y="26086"/>
                    <a:pt x="2469" y="27220"/>
                    <a:pt x="2769" y="28354"/>
                  </a:cubicBezTo>
                  <a:lnTo>
                    <a:pt x="1068" y="29722"/>
                  </a:lnTo>
                  <a:lnTo>
                    <a:pt x="2369" y="32857"/>
                  </a:lnTo>
                  <a:lnTo>
                    <a:pt x="4537" y="32624"/>
                  </a:lnTo>
                  <a:cubicBezTo>
                    <a:pt x="5104" y="33625"/>
                    <a:pt x="5772" y="34592"/>
                    <a:pt x="6472" y="35493"/>
                  </a:cubicBezTo>
                  <a:lnTo>
                    <a:pt x="5405" y="37427"/>
                  </a:lnTo>
                  <a:lnTo>
                    <a:pt x="7840" y="39863"/>
                  </a:lnTo>
                  <a:lnTo>
                    <a:pt x="9774" y="38795"/>
                  </a:lnTo>
                  <a:cubicBezTo>
                    <a:pt x="10675" y="39496"/>
                    <a:pt x="11642" y="40163"/>
                    <a:pt x="12643" y="40730"/>
                  </a:cubicBezTo>
                  <a:lnTo>
                    <a:pt x="12410" y="42898"/>
                  </a:lnTo>
                  <a:lnTo>
                    <a:pt x="15545" y="44199"/>
                  </a:lnTo>
                  <a:lnTo>
                    <a:pt x="16913" y="42498"/>
                  </a:lnTo>
                  <a:cubicBezTo>
                    <a:pt x="18047" y="42798"/>
                    <a:pt x="19181" y="43031"/>
                    <a:pt x="20349" y="43165"/>
                  </a:cubicBezTo>
                  <a:lnTo>
                    <a:pt x="20916" y="45266"/>
                  </a:lnTo>
                  <a:lnTo>
                    <a:pt x="24318" y="45266"/>
                  </a:lnTo>
                  <a:lnTo>
                    <a:pt x="24952" y="43165"/>
                  </a:lnTo>
                  <a:cubicBezTo>
                    <a:pt x="26086" y="43031"/>
                    <a:pt x="27220" y="42798"/>
                    <a:pt x="28354" y="42498"/>
                  </a:cubicBezTo>
                  <a:lnTo>
                    <a:pt x="29722" y="44199"/>
                  </a:lnTo>
                  <a:lnTo>
                    <a:pt x="32858" y="42898"/>
                  </a:lnTo>
                  <a:lnTo>
                    <a:pt x="32624" y="40730"/>
                  </a:lnTo>
                  <a:cubicBezTo>
                    <a:pt x="33625" y="40163"/>
                    <a:pt x="34592" y="39496"/>
                    <a:pt x="35493" y="38795"/>
                  </a:cubicBezTo>
                  <a:lnTo>
                    <a:pt x="37427" y="39863"/>
                  </a:lnTo>
                  <a:lnTo>
                    <a:pt x="39863" y="37461"/>
                  </a:lnTo>
                  <a:lnTo>
                    <a:pt x="38795" y="35526"/>
                  </a:lnTo>
                  <a:cubicBezTo>
                    <a:pt x="39496" y="34625"/>
                    <a:pt x="40163" y="33658"/>
                    <a:pt x="40730" y="32657"/>
                  </a:cubicBezTo>
                  <a:lnTo>
                    <a:pt x="42898" y="32891"/>
                  </a:lnTo>
                  <a:lnTo>
                    <a:pt x="44199" y="29722"/>
                  </a:lnTo>
                  <a:lnTo>
                    <a:pt x="42498" y="28354"/>
                  </a:lnTo>
                  <a:cubicBezTo>
                    <a:pt x="42798" y="27253"/>
                    <a:pt x="43031" y="26119"/>
                    <a:pt x="43165" y="24952"/>
                  </a:cubicBezTo>
                  <a:lnTo>
                    <a:pt x="45300" y="24351"/>
                  </a:lnTo>
                  <a:lnTo>
                    <a:pt x="45300" y="20916"/>
                  </a:lnTo>
                  <a:lnTo>
                    <a:pt x="43165" y="20315"/>
                  </a:lnTo>
                  <a:cubicBezTo>
                    <a:pt x="43031" y="19181"/>
                    <a:pt x="42798" y="18047"/>
                    <a:pt x="42498" y="16913"/>
                  </a:cubicBezTo>
                  <a:lnTo>
                    <a:pt x="44199" y="15545"/>
                  </a:lnTo>
                  <a:lnTo>
                    <a:pt x="42898" y="12376"/>
                  </a:lnTo>
                  <a:lnTo>
                    <a:pt x="40730" y="12643"/>
                  </a:lnTo>
                  <a:cubicBezTo>
                    <a:pt x="40163" y="11642"/>
                    <a:pt x="39496" y="10675"/>
                    <a:pt x="38795" y="9774"/>
                  </a:cubicBezTo>
                  <a:lnTo>
                    <a:pt x="39863" y="7840"/>
                  </a:lnTo>
                  <a:lnTo>
                    <a:pt x="37427" y="5405"/>
                  </a:lnTo>
                  <a:lnTo>
                    <a:pt x="35493" y="6472"/>
                  </a:lnTo>
                  <a:cubicBezTo>
                    <a:pt x="34592" y="5771"/>
                    <a:pt x="33658" y="5104"/>
                    <a:pt x="32624" y="4571"/>
                  </a:cubicBezTo>
                  <a:lnTo>
                    <a:pt x="32891" y="2369"/>
                  </a:lnTo>
                  <a:lnTo>
                    <a:pt x="29722" y="1068"/>
                  </a:lnTo>
                  <a:lnTo>
                    <a:pt x="28354" y="2769"/>
                  </a:lnTo>
                  <a:cubicBezTo>
                    <a:pt x="27220" y="2469"/>
                    <a:pt x="26086" y="2236"/>
                    <a:pt x="24952" y="2102"/>
                  </a:cubicBezTo>
                  <a:lnTo>
                    <a:pt x="24318" y="1"/>
                  </a:lnTo>
                  <a:close/>
                </a:path>
              </a:pathLst>
            </a:custGeom>
            <a:solidFill>
              <a:schemeClr val="bg2">
                <a:lumMod val="60000"/>
                <a:lumOff val="4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9" name="Google Shape;2198;p56">
              <a:extLst>
                <a:ext uri="{FF2B5EF4-FFF2-40B4-BE49-F238E27FC236}">
                  <a16:creationId xmlns:a16="http://schemas.microsoft.com/office/drawing/2014/main" id="{299A9648-2572-ADC7-1F61-27BA4E91EA48}"/>
                </a:ext>
              </a:extLst>
            </p:cNvPr>
            <p:cNvGrpSpPr/>
            <p:nvPr/>
          </p:nvGrpSpPr>
          <p:grpSpPr>
            <a:xfrm>
              <a:off x="7440222" y="1715332"/>
              <a:ext cx="2518309" cy="1922769"/>
              <a:chOff x="410492" y="1925030"/>
              <a:chExt cx="1085472" cy="816048"/>
            </a:xfrm>
          </p:grpSpPr>
          <p:grpSp>
            <p:nvGrpSpPr>
              <p:cNvPr id="40" name="Google Shape;2199;p56">
                <a:extLst>
                  <a:ext uri="{FF2B5EF4-FFF2-40B4-BE49-F238E27FC236}">
                    <a16:creationId xmlns:a16="http://schemas.microsoft.com/office/drawing/2014/main" id="{60CC9978-DDBE-49DE-B722-27B7429DEDC0}"/>
                  </a:ext>
                </a:extLst>
              </p:cNvPr>
              <p:cNvGrpSpPr/>
              <p:nvPr/>
            </p:nvGrpSpPr>
            <p:grpSpPr>
              <a:xfrm>
                <a:off x="1036615" y="2139668"/>
                <a:ext cx="459349" cy="451684"/>
                <a:chOff x="3314750" y="3817357"/>
                <a:chExt cx="362921" cy="356865"/>
              </a:xfrm>
            </p:grpSpPr>
            <p:sp>
              <p:nvSpPr>
                <p:cNvPr id="42" name="Google Shape;2200;p56">
                  <a:extLst>
                    <a:ext uri="{FF2B5EF4-FFF2-40B4-BE49-F238E27FC236}">
                      <a16:creationId xmlns:a16="http://schemas.microsoft.com/office/drawing/2014/main" id="{858A0CFC-BE2D-139D-6137-1B08EDF42C45}"/>
                    </a:ext>
                  </a:extLst>
                </p:cNvPr>
                <p:cNvSpPr/>
                <p:nvPr/>
              </p:nvSpPr>
              <p:spPr>
                <a:xfrm>
                  <a:off x="3314750" y="3817357"/>
                  <a:ext cx="356865" cy="356498"/>
                </a:xfrm>
                <a:custGeom>
                  <a:avLst/>
                  <a:gdLst/>
                  <a:ahLst/>
                  <a:cxnLst/>
                  <a:rect l="l" t="t" r="r" b="b"/>
                  <a:pathLst>
                    <a:path w="13613" h="13599" extrusionOk="0">
                      <a:moveTo>
                        <a:pt x="6814" y="0"/>
                      </a:moveTo>
                      <a:cubicBezTo>
                        <a:pt x="3046" y="0"/>
                        <a:pt x="0" y="3046"/>
                        <a:pt x="0" y="6799"/>
                      </a:cubicBezTo>
                      <a:cubicBezTo>
                        <a:pt x="0" y="10552"/>
                        <a:pt x="3046" y="13598"/>
                        <a:pt x="6814" y="13598"/>
                      </a:cubicBezTo>
                      <a:cubicBezTo>
                        <a:pt x="10567" y="13598"/>
                        <a:pt x="13613" y="10552"/>
                        <a:pt x="13613" y="6799"/>
                      </a:cubicBezTo>
                      <a:cubicBezTo>
                        <a:pt x="13613" y="3046"/>
                        <a:pt x="10567" y="0"/>
                        <a:pt x="6814" y="0"/>
                      </a:cubicBezTo>
                      <a:close/>
                    </a:path>
                  </a:pathLst>
                </a:cu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201;p56">
                  <a:extLst>
                    <a:ext uri="{FF2B5EF4-FFF2-40B4-BE49-F238E27FC236}">
                      <a16:creationId xmlns:a16="http://schemas.microsoft.com/office/drawing/2014/main" id="{9FE9F2FB-41BA-C67A-7841-10B3E3B838FD}"/>
                    </a:ext>
                  </a:extLst>
                </p:cNvPr>
                <p:cNvSpPr/>
                <p:nvPr/>
              </p:nvSpPr>
              <p:spPr>
                <a:xfrm>
                  <a:off x="3469891" y="3817357"/>
                  <a:ext cx="207780" cy="356865"/>
                </a:xfrm>
                <a:custGeom>
                  <a:avLst/>
                  <a:gdLst/>
                  <a:ahLst/>
                  <a:cxnLst/>
                  <a:rect l="l" t="t" r="r" b="b"/>
                  <a:pathLst>
                    <a:path w="7926" h="13613" extrusionOk="0">
                      <a:moveTo>
                        <a:pt x="881" y="0"/>
                      </a:moveTo>
                      <a:cubicBezTo>
                        <a:pt x="884" y="0"/>
                        <a:pt x="886" y="0"/>
                        <a:pt x="888" y="0"/>
                      </a:cubicBezTo>
                      <a:lnTo>
                        <a:pt x="888" y="0"/>
                      </a:lnTo>
                      <a:cubicBezTo>
                        <a:pt x="891" y="0"/>
                        <a:pt x="893" y="0"/>
                        <a:pt x="896" y="0"/>
                      </a:cubicBezTo>
                      <a:close/>
                      <a:moveTo>
                        <a:pt x="888" y="0"/>
                      </a:moveTo>
                      <a:lnTo>
                        <a:pt x="888" y="0"/>
                      </a:lnTo>
                      <a:cubicBezTo>
                        <a:pt x="588" y="0"/>
                        <a:pt x="301" y="15"/>
                        <a:pt x="1" y="58"/>
                      </a:cubicBezTo>
                      <a:cubicBezTo>
                        <a:pt x="3393" y="491"/>
                        <a:pt x="5934" y="3378"/>
                        <a:pt x="5934" y="6799"/>
                      </a:cubicBezTo>
                      <a:cubicBezTo>
                        <a:pt x="5934" y="10220"/>
                        <a:pt x="3393" y="13107"/>
                        <a:pt x="1" y="13555"/>
                      </a:cubicBezTo>
                      <a:cubicBezTo>
                        <a:pt x="299" y="13594"/>
                        <a:pt x="595" y="13612"/>
                        <a:pt x="887" y="13612"/>
                      </a:cubicBezTo>
                      <a:cubicBezTo>
                        <a:pt x="4418" y="13612"/>
                        <a:pt x="7441" y="10873"/>
                        <a:pt x="7680" y="7247"/>
                      </a:cubicBezTo>
                      <a:cubicBezTo>
                        <a:pt x="7926" y="3323"/>
                        <a:pt x="4826" y="4"/>
                        <a:pt x="888" y="0"/>
                      </a:cubicBezTo>
                      <a:close/>
                    </a:path>
                  </a:pathLst>
                </a:cu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1" name="Google Shape;2205;p56">
                <a:extLst>
                  <a:ext uri="{FF2B5EF4-FFF2-40B4-BE49-F238E27FC236}">
                    <a16:creationId xmlns:a16="http://schemas.microsoft.com/office/drawing/2014/main" id="{5A740E49-6F53-B0A9-1885-20865E530971}"/>
                  </a:ext>
                </a:extLst>
              </p:cNvPr>
              <p:cNvSpPr/>
              <p:nvPr/>
            </p:nvSpPr>
            <p:spPr>
              <a:xfrm rot="10159057" flipH="1">
                <a:off x="410492" y="1925030"/>
                <a:ext cx="810723" cy="816048"/>
              </a:xfrm>
              <a:custGeom>
                <a:avLst/>
                <a:gdLst/>
                <a:ahLst/>
                <a:cxnLst/>
                <a:rect l="l" t="t" r="r" b="b"/>
                <a:pathLst>
                  <a:path w="45300" h="45267" extrusionOk="0">
                    <a:moveTo>
                      <a:pt x="22629" y="6872"/>
                    </a:moveTo>
                    <a:cubicBezTo>
                      <a:pt x="26731" y="6872"/>
                      <a:pt x="30760" y="8466"/>
                      <a:pt x="33792" y="11476"/>
                    </a:cubicBezTo>
                    <a:cubicBezTo>
                      <a:pt x="38295" y="16012"/>
                      <a:pt x="39629" y="22784"/>
                      <a:pt x="37194" y="28688"/>
                    </a:cubicBezTo>
                    <a:cubicBezTo>
                      <a:pt x="34759" y="34559"/>
                      <a:pt x="29021" y="38428"/>
                      <a:pt x="22617" y="38428"/>
                    </a:cubicBezTo>
                    <a:lnTo>
                      <a:pt x="22617" y="38395"/>
                    </a:lnTo>
                    <a:cubicBezTo>
                      <a:pt x="13911" y="38395"/>
                      <a:pt x="6872" y="31356"/>
                      <a:pt x="6872" y="22650"/>
                    </a:cubicBezTo>
                    <a:cubicBezTo>
                      <a:pt x="6839" y="16279"/>
                      <a:pt x="10708" y="10508"/>
                      <a:pt x="16579" y="8073"/>
                    </a:cubicBezTo>
                    <a:cubicBezTo>
                      <a:pt x="18538" y="7265"/>
                      <a:pt x="20592" y="6872"/>
                      <a:pt x="22629" y="6872"/>
                    </a:cubicBezTo>
                    <a:close/>
                    <a:moveTo>
                      <a:pt x="20916" y="1"/>
                    </a:moveTo>
                    <a:lnTo>
                      <a:pt x="20315" y="2102"/>
                    </a:lnTo>
                    <a:cubicBezTo>
                      <a:pt x="19148" y="2236"/>
                      <a:pt x="18014" y="2469"/>
                      <a:pt x="16913" y="2769"/>
                    </a:cubicBezTo>
                    <a:lnTo>
                      <a:pt x="15545" y="1068"/>
                    </a:lnTo>
                    <a:lnTo>
                      <a:pt x="12376" y="2369"/>
                    </a:lnTo>
                    <a:lnTo>
                      <a:pt x="12643" y="4571"/>
                    </a:lnTo>
                    <a:cubicBezTo>
                      <a:pt x="11609" y="5104"/>
                      <a:pt x="10642" y="5771"/>
                      <a:pt x="9741" y="6472"/>
                    </a:cubicBezTo>
                    <a:lnTo>
                      <a:pt x="7806" y="5405"/>
                    </a:lnTo>
                    <a:lnTo>
                      <a:pt x="5405" y="7840"/>
                    </a:lnTo>
                    <a:lnTo>
                      <a:pt x="6472" y="9774"/>
                    </a:lnTo>
                    <a:cubicBezTo>
                      <a:pt x="5772" y="10675"/>
                      <a:pt x="5104" y="11642"/>
                      <a:pt x="4537" y="12643"/>
                    </a:cubicBezTo>
                    <a:lnTo>
                      <a:pt x="2369" y="12410"/>
                    </a:lnTo>
                    <a:lnTo>
                      <a:pt x="1068" y="15545"/>
                    </a:lnTo>
                    <a:lnTo>
                      <a:pt x="2769" y="16913"/>
                    </a:lnTo>
                    <a:cubicBezTo>
                      <a:pt x="2436" y="18047"/>
                      <a:pt x="2236" y="19181"/>
                      <a:pt x="2102" y="20315"/>
                    </a:cubicBezTo>
                    <a:lnTo>
                      <a:pt x="1" y="20916"/>
                    </a:lnTo>
                    <a:lnTo>
                      <a:pt x="1" y="24351"/>
                    </a:lnTo>
                    <a:lnTo>
                      <a:pt x="2102" y="24952"/>
                    </a:lnTo>
                    <a:cubicBezTo>
                      <a:pt x="2236" y="26086"/>
                      <a:pt x="2469" y="27220"/>
                      <a:pt x="2769" y="28354"/>
                    </a:cubicBezTo>
                    <a:lnTo>
                      <a:pt x="1068" y="29722"/>
                    </a:lnTo>
                    <a:lnTo>
                      <a:pt x="2369" y="32857"/>
                    </a:lnTo>
                    <a:lnTo>
                      <a:pt x="4537" y="32624"/>
                    </a:lnTo>
                    <a:cubicBezTo>
                      <a:pt x="5104" y="33625"/>
                      <a:pt x="5772" y="34592"/>
                      <a:pt x="6472" y="35493"/>
                    </a:cubicBezTo>
                    <a:lnTo>
                      <a:pt x="5405" y="37427"/>
                    </a:lnTo>
                    <a:lnTo>
                      <a:pt x="7840" y="39863"/>
                    </a:lnTo>
                    <a:lnTo>
                      <a:pt x="9774" y="38795"/>
                    </a:lnTo>
                    <a:cubicBezTo>
                      <a:pt x="10675" y="39496"/>
                      <a:pt x="11642" y="40163"/>
                      <a:pt x="12643" y="40730"/>
                    </a:cubicBezTo>
                    <a:lnTo>
                      <a:pt x="12410" y="42898"/>
                    </a:lnTo>
                    <a:lnTo>
                      <a:pt x="15545" y="44199"/>
                    </a:lnTo>
                    <a:lnTo>
                      <a:pt x="16913" y="42498"/>
                    </a:lnTo>
                    <a:cubicBezTo>
                      <a:pt x="18047" y="42798"/>
                      <a:pt x="19181" y="43031"/>
                      <a:pt x="20349" y="43165"/>
                    </a:cubicBezTo>
                    <a:lnTo>
                      <a:pt x="20916" y="45266"/>
                    </a:lnTo>
                    <a:lnTo>
                      <a:pt x="24318" y="45266"/>
                    </a:lnTo>
                    <a:lnTo>
                      <a:pt x="24952" y="43165"/>
                    </a:lnTo>
                    <a:cubicBezTo>
                      <a:pt x="26086" y="43031"/>
                      <a:pt x="27220" y="42798"/>
                      <a:pt x="28354" y="42498"/>
                    </a:cubicBezTo>
                    <a:lnTo>
                      <a:pt x="29722" y="44199"/>
                    </a:lnTo>
                    <a:lnTo>
                      <a:pt x="32858" y="42898"/>
                    </a:lnTo>
                    <a:lnTo>
                      <a:pt x="32624" y="40730"/>
                    </a:lnTo>
                    <a:cubicBezTo>
                      <a:pt x="33625" y="40163"/>
                      <a:pt x="34592" y="39496"/>
                      <a:pt x="35493" y="38795"/>
                    </a:cubicBezTo>
                    <a:lnTo>
                      <a:pt x="37427" y="39863"/>
                    </a:lnTo>
                    <a:lnTo>
                      <a:pt x="39863" y="37461"/>
                    </a:lnTo>
                    <a:lnTo>
                      <a:pt x="38795" y="35526"/>
                    </a:lnTo>
                    <a:cubicBezTo>
                      <a:pt x="39496" y="34625"/>
                      <a:pt x="40163" y="33658"/>
                      <a:pt x="40730" y="32657"/>
                    </a:cubicBezTo>
                    <a:lnTo>
                      <a:pt x="42898" y="32891"/>
                    </a:lnTo>
                    <a:lnTo>
                      <a:pt x="44199" y="29722"/>
                    </a:lnTo>
                    <a:lnTo>
                      <a:pt x="42498" y="28354"/>
                    </a:lnTo>
                    <a:cubicBezTo>
                      <a:pt x="42798" y="27253"/>
                      <a:pt x="43031" y="26119"/>
                      <a:pt x="43165" y="24952"/>
                    </a:cubicBezTo>
                    <a:lnTo>
                      <a:pt x="45300" y="24351"/>
                    </a:lnTo>
                    <a:lnTo>
                      <a:pt x="45300" y="20916"/>
                    </a:lnTo>
                    <a:lnTo>
                      <a:pt x="43165" y="20315"/>
                    </a:lnTo>
                    <a:cubicBezTo>
                      <a:pt x="43031" y="19181"/>
                      <a:pt x="42798" y="18047"/>
                      <a:pt x="42498" y="16913"/>
                    </a:cubicBezTo>
                    <a:lnTo>
                      <a:pt x="44199" y="15545"/>
                    </a:lnTo>
                    <a:lnTo>
                      <a:pt x="42898" y="12376"/>
                    </a:lnTo>
                    <a:lnTo>
                      <a:pt x="40730" y="12643"/>
                    </a:lnTo>
                    <a:cubicBezTo>
                      <a:pt x="40163" y="11642"/>
                      <a:pt x="39496" y="10675"/>
                      <a:pt x="38795" y="9774"/>
                    </a:cubicBezTo>
                    <a:lnTo>
                      <a:pt x="39863" y="7840"/>
                    </a:lnTo>
                    <a:lnTo>
                      <a:pt x="37427" y="5405"/>
                    </a:lnTo>
                    <a:lnTo>
                      <a:pt x="35493" y="6472"/>
                    </a:lnTo>
                    <a:cubicBezTo>
                      <a:pt x="34592" y="5771"/>
                      <a:pt x="33658" y="5104"/>
                      <a:pt x="32624" y="4571"/>
                    </a:cubicBezTo>
                    <a:lnTo>
                      <a:pt x="32891" y="2369"/>
                    </a:lnTo>
                    <a:lnTo>
                      <a:pt x="29722" y="1068"/>
                    </a:lnTo>
                    <a:lnTo>
                      <a:pt x="28354" y="2769"/>
                    </a:lnTo>
                    <a:cubicBezTo>
                      <a:pt x="27220" y="2469"/>
                      <a:pt x="26086" y="2236"/>
                      <a:pt x="24952" y="2102"/>
                    </a:cubicBezTo>
                    <a:lnTo>
                      <a:pt x="24318" y="1"/>
                    </a:lnTo>
                    <a:close/>
                  </a:path>
                </a:pathLst>
              </a:custGeom>
              <a:solidFill>
                <a:schemeClr val="bg2">
                  <a:lumMod val="40000"/>
                  <a:lumOff val="6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2" name="Subtitle 12">
            <a:extLst>
              <a:ext uri="{FF2B5EF4-FFF2-40B4-BE49-F238E27FC236}">
                <a16:creationId xmlns:a16="http://schemas.microsoft.com/office/drawing/2014/main" id="{F75CE53F-AE99-A2C7-4200-0B4A48DE9FEF}"/>
              </a:ext>
            </a:extLst>
          </p:cNvPr>
          <p:cNvSpPr txBox="1">
            <a:spLocks/>
          </p:cNvSpPr>
          <p:nvPr/>
        </p:nvSpPr>
        <p:spPr>
          <a:xfrm>
            <a:off x="1834868" y="3619375"/>
            <a:ext cx="1750800" cy="7014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ctr" rtl="0">
              <a:lnSpc>
                <a:spcPct val="100000"/>
              </a:lnSpc>
              <a:spcBef>
                <a:spcPts val="0"/>
              </a:spcBef>
              <a:spcAft>
                <a:spcPts val="0"/>
              </a:spcAft>
              <a:buClr>
                <a:schemeClr val="lt1"/>
              </a:buClr>
              <a:buSzPts val="1400"/>
              <a:buFont typeface="Source Sans Pro"/>
              <a:buNone/>
              <a:defRPr sz="1400" b="0" i="0" u="none" strike="noStrike" cap="none">
                <a:solidFill>
                  <a:schemeClr val="lt1"/>
                </a:solidFill>
                <a:latin typeface="Source Sans Pro"/>
                <a:ea typeface="Source Sans Pro"/>
                <a:cs typeface="Source Sans Pro"/>
                <a:sym typeface="Source Sans Pro"/>
              </a:defRPr>
            </a:lvl1pPr>
            <a:lvl2pPr marL="914400" marR="0" lvl="1" indent="-317500" algn="r" rtl="0">
              <a:lnSpc>
                <a:spcPct val="100000"/>
              </a:lnSpc>
              <a:spcBef>
                <a:spcPts val="0"/>
              </a:spcBef>
              <a:spcAft>
                <a:spcPts val="0"/>
              </a:spcAft>
              <a:buClr>
                <a:schemeClr val="lt1"/>
              </a:buClr>
              <a:buSzPts val="1400"/>
              <a:buFont typeface="Source Sans Pro"/>
              <a:buNone/>
              <a:defRPr sz="1400" b="0" i="0" u="none" strike="noStrike" cap="none">
                <a:solidFill>
                  <a:schemeClr val="lt1"/>
                </a:solidFill>
                <a:latin typeface="Source Sans Pro"/>
                <a:ea typeface="Source Sans Pro"/>
                <a:cs typeface="Source Sans Pro"/>
                <a:sym typeface="Source Sans Pro"/>
              </a:defRPr>
            </a:lvl2pPr>
            <a:lvl3pPr marL="1371600" marR="0" lvl="2" indent="-317500" algn="r" rtl="0">
              <a:lnSpc>
                <a:spcPct val="100000"/>
              </a:lnSpc>
              <a:spcBef>
                <a:spcPts val="0"/>
              </a:spcBef>
              <a:spcAft>
                <a:spcPts val="0"/>
              </a:spcAft>
              <a:buClr>
                <a:schemeClr val="lt1"/>
              </a:buClr>
              <a:buSzPts val="1400"/>
              <a:buFont typeface="Source Sans Pro"/>
              <a:buNone/>
              <a:defRPr sz="1400" b="0" i="0" u="none" strike="noStrike" cap="none">
                <a:solidFill>
                  <a:schemeClr val="lt1"/>
                </a:solidFill>
                <a:latin typeface="Source Sans Pro"/>
                <a:ea typeface="Source Sans Pro"/>
                <a:cs typeface="Source Sans Pro"/>
                <a:sym typeface="Source Sans Pro"/>
              </a:defRPr>
            </a:lvl3pPr>
            <a:lvl4pPr marL="1828800" marR="0" lvl="3" indent="-317500" algn="r" rtl="0">
              <a:lnSpc>
                <a:spcPct val="100000"/>
              </a:lnSpc>
              <a:spcBef>
                <a:spcPts val="0"/>
              </a:spcBef>
              <a:spcAft>
                <a:spcPts val="0"/>
              </a:spcAft>
              <a:buClr>
                <a:schemeClr val="lt1"/>
              </a:buClr>
              <a:buSzPts val="1400"/>
              <a:buFont typeface="Source Sans Pro"/>
              <a:buNone/>
              <a:defRPr sz="1400" b="0" i="0" u="none" strike="noStrike" cap="none">
                <a:solidFill>
                  <a:schemeClr val="lt1"/>
                </a:solidFill>
                <a:latin typeface="Source Sans Pro"/>
                <a:ea typeface="Source Sans Pro"/>
                <a:cs typeface="Source Sans Pro"/>
                <a:sym typeface="Source Sans Pro"/>
              </a:defRPr>
            </a:lvl4pPr>
            <a:lvl5pPr marL="2286000" marR="0" lvl="4" indent="-317500" algn="r" rtl="0">
              <a:lnSpc>
                <a:spcPct val="100000"/>
              </a:lnSpc>
              <a:spcBef>
                <a:spcPts val="0"/>
              </a:spcBef>
              <a:spcAft>
                <a:spcPts val="0"/>
              </a:spcAft>
              <a:buClr>
                <a:schemeClr val="lt1"/>
              </a:buClr>
              <a:buSzPts val="1400"/>
              <a:buFont typeface="Source Sans Pro"/>
              <a:buNone/>
              <a:defRPr sz="1400" b="0" i="0" u="none" strike="noStrike" cap="none">
                <a:solidFill>
                  <a:schemeClr val="lt1"/>
                </a:solidFill>
                <a:latin typeface="Source Sans Pro"/>
                <a:ea typeface="Source Sans Pro"/>
                <a:cs typeface="Source Sans Pro"/>
                <a:sym typeface="Source Sans Pro"/>
              </a:defRPr>
            </a:lvl5pPr>
            <a:lvl6pPr marL="2743200" marR="0" lvl="5" indent="-317500" algn="r" rtl="0">
              <a:lnSpc>
                <a:spcPct val="100000"/>
              </a:lnSpc>
              <a:spcBef>
                <a:spcPts val="0"/>
              </a:spcBef>
              <a:spcAft>
                <a:spcPts val="0"/>
              </a:spcAft>
              <a:buClr>
                <a:schemeClr val="lt1"/>
              </a:buClr>
              <a:buSzPts val="1400"/>
              <a:buFont typeface="Source Sans Pro"/>
              <a:buNone/>
              <a:defRPr sz="1400" b="0" i="0" u="none" strike="noStrike" cap="none">
                <a:solidFill>
                  <a:schemeClr val="lt1"/>
                </a:solidFill>
                <a:latin typeface="Source Sans Pro"/>
                <a:ea typeface="Source Sans Pro"/>
                <a:cs typeface="Source Sans Pro"/>
                <a:sym typeface="Source Sans Pro"/>
              </a:defRPr>
            </a:lvl6pPr>
            <a:lvl7pPr marL="3200400" marR="0" lvl="6" indent="-317500" algn="r" rtl="0">
              <a:lnSpc>
                <a:spcPct val="100000"/>
              </a:lnSpc>
              <a:spcBef>
                <a:spcPts val="0"/>
              </a:spcBef>
              <a:spcAft>
                <a:spcPts val="0"/>
              </a:spcAft>
              <a:buClr>
                <a:schemeClr val="lt1"/>
              </a:buClr>
              <a:buSzPts val="1400"/>
              <a:buFont typeface="Source Sans Pro"/>
              <a:buNone/>
              <a:defRPr sz="1400" b="0" i="0" u="none" strike="noStrike" cap="none">
                <a:solidFill>
                  <a:schemeClr val="lt1"/>
                </a:solidFill>
                <a:latin typeface="Source Sans Pro"/>
                <a:ea typeface="Source Sans Pro"/>
                <a:cs typeface="Source Sans Pro"/>
                <a:sym typeface="Source Sans Pro"/>
              </a:defRPr>
            </a:lvl7pPr>
            <a:lvl8pPr marL="3657600" marR="0" lvl="7" indent="-317500" algn="r" rtl="0">
              <a:lnSpc>
                <a:spcPct val="100000"/>
              </a:lnSpc>
              <a:spcBef>
                <a:spcPts val="0"/>
              </a:spcBef>
              <a:spcAft>
                <a:spcPts val="0"/>
              </a:spcAft>
              <a:buClr>
                <a:schemeClr val="lt1"/>
              </a:buClr>
              <a:buSzPts val="1400"/>
              <a:buFont typeface="Arial"/>
              <a:buNone/>
              <a:defRPr sz="1400" b="0" i="0" u="none" strike="noStrike" cap="none">
                <a:solidFill>
                  <a:schemeClr val="lt1"/>
                </a:solidFill>
                <a:latin typeface="Arial"/>
                <a:ea typeface="Arial"/>
                <a:cs typeface="Arial"/>
                <a:sym typeface="Arial"/>
              </a:defRPr>
            </a:lvl8pPr>
            <a:lvl9pPr marL="4114800" marR="0" lvl="8" indent="-317500" algn="r" rtl="0">
              <a:lnSpc>
                <a:spcPct val="100000"/>
              </a:lnSpc>
              <a:spcBef>
                <a:spcPts val="0"/>
              </a:spcBef>
              <a:spcAft>
                <a:spcPts val="0"/>
              </a:spcAft>
              <a:buClr>
                <a:schemeClr val="lt1"/>
              </a:buClr>
              <a:buSzPts val="1400"/>
              <a:buFont typeface="Arial"/>
              <a:buNone/>
              <a:defRPr sz="1400" b="0" i="0" u="none" strike="noStrike" cap="none">
                <a:solidFill>
                  <a:schemeClr val="lt1"/>
                </a:solidFill>
                <a:latin typeface="Arial"/>
                <a:ea typeface="Arial"/>
                <a:cs typeface="Arial"/>
                <a:sym typeface="Arial"/>
              </a:defRPr>
            </a:lvl9pPr>
          </a:lstStyle>
          <a:p>
            <a:r>
              <a:rPr lang="en-US"/>
              <a:t>Rohan  Patel</a:t>
            </a:r>
          </a:p>
        </p:txBody>
      </p:sp>
      <p:sp>
        <p:nvSpPr>
          <p:cNvPr id="53" name="Subtitle 12">
            <a:extLst>
              <a:ext uri="{FF2B5EF4-FFF2-40B4-BE49-F238E27FC236}">
                <a16:creationId xmlns:a16="http://schemas.microsoft.com/office/drawing/2014/main" id="{3DB31DC0-C0DA-4509-E884-D8173C60D9F2}"/>
              </a:ext>
            </a:extLst>
          </p:cNvPr>
          <p:cNvSpPr txBox="1">
            <a:spLocks/>
          </p:cNvSpPr>
          <p:nvPr/>
        </p:nvSpPr>
        <p:spPr>
          <a:xfrm>
            <a:off x="3621294" y="3608231"/>
            <a:ext cx="1750800" cy="7014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ctr" rtl="0">
              <a:lnSpc>
                <a:spcPct val="100000"/>
              </a:lnSpc>
              <a:spcBef>
                <a:spcPts val="0"/>
              </a:spcBef>
              <a:spcAft>
                <a:spcPts val="0"/>
              </a:spcAft>
              <a:buClr>
                <a:schemeClr val="lt1"/>
              </a:buClr>
              <a:buSzPts val="1400"/>
              <a:buFont typeface="Source Sans Pro"/>
              <a:buNone/>
              <a:defRPr sz="1400" b="0" i="0" u="none" strike="noStrike" cap="none">
                <a:solidFill>
                  <a:schemeClr val="lt1"/>
                </a:solidFill>
                <a:latin typeface="Source Sans Pro"/>
                <a:ea typeface="Source Sans Pro"/>
                <a:cs typeface="Source Sans Pro"/>
                <a:sym typeface="Source Sans Pro"/>
              </a:defRPr>
            </a:lvl1pPr>
            <a:lvl2pPr marL="914400" marR="0" lvl="1" indent="-317500" algn="r" rtl="0">
              <a:lnSpc>
                <a:spcPct val="100000"/>
              </a:lnSpc>
              <a:spcBef>
                <a:spcPts val="0"/>
              </a:spcBef>
              <a:spcAft>
                <a:spcPts val="0"/>
              </a:spcAft>
              <a:buClr>
                <a:schemeClr val="lt1"/>
              </a:buClr>
              <a:buSzPts val="1400"/>
              <a:buFont typeface="Source Sans Pro"/>
              <a:buNone/>
              <a:defRPr sz="1400" b="0" i="0" u="none" strike="noStrike" cap="none">
                <a:solidFill>
                  <a:schemeClr val="lt1"/>
                </a:solidFill>
                <a:latin typeface="Source Sans Pro"/>
                <a:ea typeface="Source Sans Pro"/>
                <a:cs typeface="Source Sans Pro"/>
                <a:sym typeface="Source Sans Pro"/>
              </a:defRPr>
            </a:lvl2pPr>
            <a:lvl3pPr marL="1371600" marR="0" lvl="2" indent="-317500" algn="r" rtl="0">
              <a:lnSpc>
                <a:spcPct val="100000"/>
              </a:lnSpc>
              <a:spcBef>
                <a:spcPts val="0"/>
              </a:spcBef>
              <a:spcAft>
                <a:spcPts val="0"/>
              </a:spcAft>
              <a:buClr>
                <a:schemeClr val="lt1"/>
              </a:buClr>
              <a:buSzPts val="1400"/>
              <a:buFont typeface="Source Sans Pro"/>
              <a:buNone/>
              <a:defRPr sz="1400" b="0" i="0" u="none" strike="noStrike" cap="none">
                <a:solidFill>
                  <a:schemeClr val="lt1"/>
                </a:solidFill>
                <a:latin typeface="Source Sans Pro"/>
                <a:ea typeface="Source Sans Pro"/>
                <a:cs typeface="Source Sans Pro"/>
                <a:sym typeface="Source Sans Pro"/>
              </a:defRPr>
            </a:lvl3pPr>
            <a:lvl4pPr marL="1828800" marR="0" lvl="3" indent="-317500" algn="r" rtl="0">
              <a:lnSpc>
                <a:spcPct val="100000"/>
              </a:lnSpc>
              <a:spcBef>
                <a:spcPts val="0"/>
              </a:spcBef>
              <a:spcAft>
                <a:spcPts val="0"/>
              </a:spcAft>
              <a:buClr>
                <a:schemeClr val="lt1"/>
              </a:buClr>
              <a:buSzPts val="1400"/>
              <a:buFont typeface="Source Sans Pro"/>
              <a:buNone/>
              <a:defRPr sz="1400" b="0" i="0" u="none" strike="noStrike" cap="none">
                <a:solidFill>
                  <a:schemeClr val="lt1"/>
                </a:solidFill>
                <a:latin typeface="Source Sans Pro"/>
                <a:ea typeface="Source Sans Pro"/>
                <a:cs typeface="Source Sans Pro"/>
                <a:sym typeface="Source Sans Pro"/>
              </a:defRPr>
            </a:lvl4pPr>
            <a:lvl5pPr marL="2286000" marR="0" lvl="4" indent="-317500" algn="r" rtl="0">
              <a:lnSpc>
                <a:spcPct val="100000"/>
              </a:lnSpc>
              <a:spcBef>
                <a:spcPts val="0"/>
              </a:spcBef>
              <a:spcAft>
                <a:spcPts val="0"/>
              </a:spcAft>
              <a:buClr>
                <a:schemeClr val="lt1"/>
              </a:buClr>
              <a:buSzPts val="1400"/>
              <a:buFont typeface="Source Sans Pro"/>
              <a:buNone/>
              <a:defRPr sz="1400" b="0" i="0" u="none" strike="noStrike" cap="none">
                <a:solidFill>
                  <a:schemeClr val="lt1"/>
                </a:solidFill>
                <a:latin typeface="Source Sans Pro"/>
                <a:ea typeface="Source Sans Pro"/>
                <a:cs typeface="Source Sans Pro"/>
                <a:sym typeface="Source Sans Pro"/>
              </a:defRPr>
            </a:lvl5pPr>
            <a:lvl6pPr marL="2743200" marR="0" lvl="5" indent="-317500" algn="r" rtl="0">
              <a:lnSpc>
                <a:spcPct val="100000"/>
              </a:lnSpc>
              <a:spcBef>
                <a:spcPts val="0"/>
              </a:spcBef>
              <a:spcAft>
                <a:spcPts val="0"/>
              </a:spcAft>
              <a:buClr>
                <a:schemeClr val="lt1"/>
              </a:buClr>
              <a:buSzPts val="1400"/>
              <a:buFont typeface="Source Sans Pro"/>
              <a:buNone/>
              <a:defRPr sz="1400" b="0" i="0" u="none" strike="noStrike" cap="none">
                <a:solidFill>
                  <a:schemeClr val="lt1"/>
                </a:solidFill>
                <a:latin typeface="Source Sans Pro"/>
                <a:ea typeface="Source Sans Pro"/>
                <a:cs typeface="Source Sans Pro"/>
                <a:sym typeface="Source Sans Pro"/>
              </a:defRPr>
            </a:lvl6pPr>
            <a:lvl7pPr marL="3200400" marR="0" lvl="6" indent="-317500" algn="r" rtl="0">
              <a:lnSpc>
                <a:spcPct val="100000"/>
              </a:lnSpc>
              <a:spcBef>
                <a:spcPts val="0"/>
              </a:spcBef>
              <a:spcAft>
                <a:spcPts val="0"/>
              </a:spcAft>
              <a:buClr>
                <a:schemeClr val="lt1"/>
              </a:buClr>
              <a:buSzPts val="1400"/>
              <a:buFont typeface="Source Sans Pro"/>
              <a:buNone/>
              <a:defRPr sz="1400" b="0" i="0" u="none" strike="noStrike" cap="none">
                <a:solidFill>
                  <a:schemeClr val="lt1"/>
                </a:solidFill>
                <a:latin typeface="Source Sans Pro"/>
                <a:ea typeface="Source Sans Pro"/>
                <a:cs typeface="Source Sans Pro"/>
                <a:sym typeface="Source Sans Pro"/>
              </a:defRPr>
            </a:lvl7pPr>
            <a:lvl8pPr marL="3657600" marR="0" lvl="7" indent="-317500" algn="r" rtl="0">
              <a:lnSpc>
                <a:spcPct val="100000"/>
              </a:lnSpc>
              <a:spcBef>
                <a:spcPts val="0"/>
              </a:spcBef>
              <a:spcAft>
                <a:spcPts val="0"/>
              </a:spcAft>
              <a:buClr>
                <a:schemeClr val="lt1"/>
              </a:buClr>
              <a:buSzPts val="1400"/>
              <a:buFont typeface="Arial"/>
              <a:buNone/>
              <a:defRPr sz="1400" b="0" i="0" u="none" strike="noStrike" cap="none">
                <a:solidFill>
                  <a:schemeClr val="lt1"/>
                </a:solidFill>
                <a:latin typeface="Arial"/>
                <a:ea typeface="Arial"/>
                <a:cs typeface="Arial"/>
                <a:sym typeface="Arial"/>
              </a:defRPr>
            </a:lvl8pPr>
            <a:lvl9pPr marL="4114800" marR="0" lvl="8" indent="-317500" algn="r" rtl="0">
              <a:lnSpc>
                <a:spcPct val="100000"/>
              </a:lnSpc>
              <a:spcBef>
                <a:spcPts val="0"/>
              </a:spcBef>
              <a:spcAft>
                <a:spcPts val="0"/>
              </a:spcAft>
              <a:buClr>
                <a:schemeClr val="lt1"/>
              </a:buClr>
              <a:buSzPts val="1400"/>
              <a:buFont typeface="Arial"/>
              <a:buNone/>
              <a:defRPr sz="1400" b="0" i="0" u="none" strike="noStrike" cap="none">
                <a:solidFill>
                  <a:schemeClr val="lt1"/>
                </a:solidFill>
                <a:latin typeface="Arial"/>
                <a:ea typeface="Arial"/>
                <a:cs typeface="Arial"/>
                <a:sym typeface="Arial"/>
              </a:defRPr>
            </a:lvl9pPr>
          </a:lstStyle>
          <a:p>
            <a:r>
              <a:rPr lang="en-US"/>
              <a:t>Dario Vignoni</a:t>
            </a:r>
          </a:p>
        </p:txBody>
      </p:sp>
      <p:sp>
        <p:nvSpPr>
          <p:cNvPr id="54" name="Subtitle 12">
            <a:extLst>
              <a:ext uri="{FF2B5EF4-FFF2-40B4-BE49-F238E27FC236}">
                <a16:creationId xmlns:a16="http://schemas.microsoft.com/office/drawing/2014/main" id="{1C5C1AA1-A7F3-0FDA-2E6A-F8B0BCC5C955}"/>
              </a:ext>
            </a:extLst>
          </p:cNvPr>
          <p:cNvSpPr txBox="1">
            <a:spLocks/>
          </p:cNvSpPr>
          <p:nvPr/>
        </p:nvSpPr>
        <p:spPr>
          <a:xfrm>
            <a:off x="5362460" y="3616730"/>
            <a:ext cx="1750800" cy="7014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ctr" rtl="0">
              <a:lnSpc>
                <a:spcPct val="100000"/>
              </a:lnSpc>
              <a:spcBef>
                <a:spcPts val="0"/>
              </a:spcBef>
              <a:spcAft>
                <a:spcPts val="0"/>
              </a:spcAft>
              <a:buClr>
                <a:schemeClr val="lt1"/>
              </a:buClr>
              <a:buSzPts val="1400"/>
              <a:buFont typeface="Source Sans Pro"/>
              <a:buNone/>
              <a:defRPr sz="1400" b="0" i="0" u="none" strike="noStrike" cap="none">
                <a:solidFill>
                  <a:schemeClr val="lt1"/>
                </a:solidFill>
                <a:latin typeface="Source Sans Pro"/>
                <a:ea typeface="Source Sans Pro"/>
                <a:cs typeface="Source Sans Pro"/>
                <a:sym typeface="Source Sans Pro"/>
              </a:defRPr>
            </a:lvl1pPr>
            <a:lvl2pPr marL="914400" marR="0" lvl="1" indent="-317500" algn="r" rtl="0">
              <a:lnSpc>
                <a:spcPct val="100000"/>
              </a:lnSpc>
              <a:spcBef>
                <a:spcPts val="0"/>
              </a:spcBef>
              <a:spcAft>
                <a:spcPts val="0"/>
              </a:spcAft>
              <a:buClr>
                <a:schemeClr val="lt1"/>
              </a:buClr>
              <a:buSzPts val="1400"/>
              <a:buFont typeface="Source Sans Pro"/>
              <a:buNone/>
              <a:defRPr sz="1400" b="0" i="0" u="none" strike="noStrike" cap="none">
                <a:solidFill>
                  <a:schemeClr val="lt1"/>
                </a:solidFill>
                <a:latin typeface="Source Sans Pro"/>
                <a:ea typeface="Source Sans Pro"/>
                <a:cs typeface="Source Sans Pro"/>
                <a:sym typeface="Source Sans Pro"/>
              </a:defRPr>
            </a:lvl2pPr>
            <a:lvl3pPr marL="1371600" marR="0" lvl="2" indent="-317500" algn="r" rtl="0">
              <a:lnSpc>
                <a:spcPct val="100000"/>
              </a:lnSpc>
              <a:spcBef>
                <a:spcPts val="0"/>
              </a:spcBef>
              <a:spcAft>
                <a:spcPts val="0"/>
              </a:spcAft>
              <a:buClr>
                <a:schemeClr val="lt1"/>
              </a:buClr>
              <a:buSzPts val="1400"/>
              <a:buFont typeface="Source Sans Pro"/>
              <a:buNone/>
              <a:defRPr sz="1400" b="0" i="0" u="none" strike="noStrike" cap="none">
                <a:solidFill>
                  <a:schemeClr val="lt1"/>
                </a:solidFill>
                <a:latin typeface="Source Sans Pro"/>
                <a:ea typeface="Source Sans Pro"/>
                <a:cs typeface="Source Sans Pro"/>
                <a:sym typeface="Source Sans Pro"/>
              </a:defRPr>
            </a:lvl3pPr>
            <a:lvl4pPr marL="1828800" marR="0" lvl="3" indent="-317500" algn="r" rtl="0">
              <a:lnSpc>
                <a:spcPct val="100000"/>
              </a:lnSpc>
              <a:spcBef>
                <a:spcPts val="0"/>
              </a:spcBef>
              <a:spcAft>
                <a:spcPts val="0"/>
              </a:spcAft>
              <a:buClr>
                <a:schemeClr val="lt1"/>
              </a:buClr>
              <a:buSzPts val="1400"/>
              <a:buFont typeface="Source Sans Pro"/>
              <a:buNone/>
              <a:defRPr sz="1400" b="0" i="0" u="none" strike="noStrike" cap="none">
                <a:solidFill>
                  <a:schemeClr val="lt1"/>
                </a:solidFill>
                <a:latin typeface="Source Sans Pro"/>
                <a:ea typeface="Source Sans Pro"/>
                <a:cs typeface="Source Sans Pro"/>
                <a:sym typeface="Source Sans Pro"/>
              </a:defRPr>
            </a:lvl4pPr>
            <a:lvl5pPr marL="2286000" marR="0" lvl="4" indent="-317500" algn="r" rtl="0">
              <a:lnSpc>
                <a:spcPct val="100000"/>
              </a:lnSpc>
              <a:spcBef>
                <a:spcPts val="0"/>
              </a:spcBef>
              <a:spcAft>
                <a:spcPts val="0"/>
              </a:spcAft>
              <a:buClr>
                <a:schemeClr val="lt1"/>
              </a:buClr>
              <a:buSzPts val="1400"/>
              <a:buFont typeface="Source Sans Pro"/>
              <a:buNone/>
              <a:defRPr sz="1400" b="0" i="0" u="none" strike="noStrike" cap="none">
                <a:solidFill>
                  <a:schemeClr val="lt1"/>
                </a:solidFill>
                <a:latin typeface="Source Sans Pro"/>
                <a:ea typeface="Source Sans Pro"/>
                <a:cs typeface="Source Sans Pro"/>
                <a:sym typeface="Source Sans Pro"/>
              </a:defRPr>
            </a:lvl5pPr>
            <a:lvl6pPr marL="2743200" marR="0" lvl="5" indent="-317500" algn="r" rtl="0">
              <a:lnSpc>
                <a:spcPct val="100000"/>
              </a:lnSpc>
              <a:spcBef>
                <a:spcPts val="0"/>
              </a:spcBef>
              <a:spcAft>
                <a:spcPts val="0"/>
              </a:spcAft>
              <a:buClr>
                <a:schemeClr val="lt1"/>
              </a:buClr>
              <a:buSzPts val="1400"/>
              <a:buFont typeface="Source Sans Pro"/>
              <a:buNone/>
              <a:defRPr sz="1400" b="0" i="0" u="none" strike="noStrike" cap="none">
                <a:solidFill>
                  <a:schemeClr val="lt1"/>
                </a:solidFill>
                <a:latin typeface="Source Sans Pro"/>
                <a:ea typeface="Source Sans Pro"/>
                <a:cs typeface="Source Sans Pro"/>
                <a:sym typeface="Source Sans Pro"/>
              </a:defRPr>
            </a:lvl6pPr>
            <a:lvl7pPr marL="3200400" marR="0" lvl="6" indent="-317500" algn="r" rtl="0">
              <a:lnSpc>
                <a:spcPct val="100000"/>
              </a:lnSpc>
              <a:spcBef>
                <a:spcPts val="0"/>
              </a:spcBef>
              <a:spcAft>
                <a:spcPts val="0"/>
              </a:spcAft>
              <a:buClr>
                <a:schemeClr val="lt1"/>
              </a:buClr>
              <a:buSzPts val="1400"/>
              <a:buFont typeface="Source Sans Pro"/>
              <a:buNone/>
              <a:defRPr sz="1400" b="0" i="0" u="none" strike="noStrike" cap="none">
                <a:solidFill>
                  <a:schemeClr val="lt1"/>
                </a:solidFill>
                <a:latin typeface="Source Sans Pro"/>
                <a:ea typeface="Source Sans Pro"/>
                <a:cs typeface="Source Sans Pro"/>
                <a:sym typeface="Source Sans Pro"/>
              </a:defRPr>
            </a:lvl7pPr>
            <a:lvl8pPr marL="3657600" marR="0" lvl="7" indent="-317500" algn="r" rtl="0">
              <a:lnSpc>
                <a:spcPct val="100000"/>
              </a:lnSpc>
              <a:spcBef>
                <a:spcPts val="0"/>
              </a:spcBef>
              <a:spcAft>
                <a:spcPts val="0"/>
              </a:spcAft>
              <a:buClr>
                <a:schemeClr val="lt1"/>
              </a:buClr>
              <a:buSzPts val="1400"/>
              <a:buFont typeface="Arial"/>
              <a:buNone/>
              <a:defRPr sz="1400" b="0" i="0" u="none" strike="noStrike" cap="none">
                <a:solidFill>
                  <a:schemeClr val="lt1"/>
                </a:solidFill>
                <a:latin typeface="Arial"/>
                <a:ea typeface="Arial"/>
                <a:cs typeface="Arial"/>
                <a:sym typeface="Arial"/>
              </a:defRPr>
            </a:lvl8pPr>
            <a:lvl9pPr marL="4114800" marR="0" lvl="8" indent="-317500" algn="r" rtl="0">
              <a:lnSpc>
                <a:spcPct val="100000"/>
              </a:lnSpc>
              <a:spcBef>
                <a:spcPts val="0"/>
              </a:spcBef>
              <a:spcAft>
                <a:spcPts val="0"/>
              </a:spcAft>
              <a:buClr>
                <a:schemeClr val="lt1"/>
              </a:buClr>
              <a:buSzPts val="1400"/>
              <a:buFont typeface="Arial"/>
              <a:buNone/>
              <a:defRPr sz="1400" b="0" i="0" u="none" strike="noStrike" cap="none">
                <a:solidFill>
                  <a:schemeClr val="lt1"/>
                </a:solidFill>
                <a:latin typeface="Arial"/>
                <a:ea typeface="Arial"/>
                <a:cs typeface="Arial"/>
                <a:sym typeface="Arial"/>
              </a:defRPr>
            </a:lvl9pPr>
          </a:lstStyle>
          <a:p>
            <a:r>
              <a:rPr lang="en-US"/>
              <a:t>Vincent Pieries</a:t>
            </a:r>
          </a:p>
        </p:txBody>
      </p:sp>
      <p:sp>
        <p:nvSpPr>
          <p:cNvPr id="55" name="Subtitle 12">
            <a:extLst>
              <a:ext uri="{FF2B5EF4-FFF2-40B4-BE49-F238E27FC236}">
                <a16:creationId xmlns:a16="http://schemas.microsoft.com/office/drawing/2014/main" id="{CE4880DC-08D3-7782-A585-696FD694E794}"/>
              </a:ext>
            </a:extLst>
          </p:cNvPr>
          <p:cNvSpPr txBox="1">
            <a:spLocks/>
          </p:cNvSpPr>
          <p:nvPr/>
        </p:nvSpPr>
        <p:spPr>
          <a:xfrm>
            <a:off x="7113260" y="3616730"/>
            <a:ext cx="1994495" cy="7014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ctr" rtl="0">
              <a:lnSpc>
                <a:spcPct val="100000"/>
              </a:lnSpc>
              <a:spcBef>
                <a:spcPts val="0"/>
              </a:spcBef>
              <a:spcAft>
                <a:spcPts val="0"/>
              </a:spcAft>
              <a:buClr>
                <a:schemeClr val="lt1"/>
              </a:buClr>
              <a:buSzPts val="1400"/>
              <a:buFont typeface="Source Sans Pro"/>
              <a:buNone/>
              <a:defRPr sz="1400" b="0" i="0" u="none" strike="noStrike" cap="none">
                <a:solidFill>
                  <a:schemeClr val="lt1"/>
                </a:solidFill>
                <a:latin typeface="Source Sans Pro"/>
                <a:ea typeface="Source Sans Pro"/>
                <a:cs typeface="Source Sans Pro"/>
                <a:sym typeface="Source Sans Pro"/>
              </a:defRPr>
            </a:lvl1pPr>
            <a:lvl2pPr marL="914400" marR="0" lvl="1" indent="-317500" algn="r" rtl="0">
              <a:lnSpc>
                <a:spcPct val="100000"/>
              </a:lnSpc>
              <a:spcBef>
                <a:spcPts val="0"/>
              </a:spcBef>
              <a:spcAft>
                <a:spcPts val="0"/>
              </a:spcAft>
              <a:buClr>
                <a:schemeClr val="lt1"/>
              </a:buClr>
              <a:buSzPts val="1400"/>
              <a:buFont typeface="Source Sans Pro"/>
              <a:buNone/>
              <a:defRPr sz="1400" b="0" i="0" u="none" strike="noStrike" cap="none">
                <a:solidFill>
                  <a:schemeClr val="lt1"/>
                </a:solidFill>
                <a:latin typeface="Source Sans Pro"/>
                <a:ea typeface="Source Sans Pro"/>
                <a:cs typeface="Source Sans Pro"/>
                <a:sym typeface="Source Sans Pro"/>
              </a:defRPr>
            </a:lvl2pPr>
            <a:lvl3pPr marL="1371600" marR="0" lvl="2" indent="-317500" algn="r" rtl="0">
              <a:lnSpc>
                <a:spcPct val="100000"/>
              </a:lnSpc>
              <a:spcBef>
                <a:spcPts val="0"/>
              </a:spcBef>
              <a:spcAft>
                <a:spcPts val="0"/>
              </a:spcAft>
              <a:buClr>
                <a:schemeClr val="lt1"/>
              </a:buClr>
              <a:buSzPts val="1400"/>
              <a:buFont typeface="Source Sans Pro"/>
              <a:buNone/>
              <a:defRPr sz="1400" b="0" i="0" u="none" strike="noStrike" cap="none">
                <a:solidFill>
                  <a:schemeClr val="lt1"/>
                </a:solidFill>
                <a:latin typeface="Source Sans Pro"/>
                <a:ea typeface="Source Sans Pro"/>
                <a:cs typeface="Source Sans Pro"/>
                <a:sym typeface="Source Sans Pro"/>
              </a:defRPr>
            </a:lvl3pPr>
            <a:lvl4pPr marL="1828800" marR="0" lvl="3" indent="-317500" algn="r" rtl="0">
              <a:lnSpc>
                <a:spcPct val="100000"/>
              </a:lnSpc>
              <a:spcBef>
                <a:spcPts val="0"/>
              </a:spcBef>
              <a:spcAft>
                <a:spcPts val="0"/>
              </a:spcAft>
              <a:buClr>
                <a:schemeClr val="lt1"/>
              </a:buClr>
              <a:buSzPts val="1400"/>
              <a:buFont typeface="Source Sans Pro"/>
              <a:buNone/>
              <a:defRPr sz="1400" b="0" i="0" u="none" strike="noStrike" cap="none">
                <a:solidFill>
                  <a:schemeClr val="lt1"/>
                </a:solidFill>
                <a:latin typeface="Source Sans Pro"/>
                <a:ea typeface="Source Sans Pro"/>
                <a:cs typeface="Source Sans Pro"/>
                <a:sym typeface="Source Sans Pro"/>
              </a:defRPr>
            </a:lvl4pPr>
            <a:lvl5pPr marL="2286000" marR="0" lvl="4" indent="-317500" algn="r" rtl="0">
              <a:lnSpc>
                <a:spcPct val="100000"/>
              </a:lnSpc>
              <a:spcBef>
                <a:spcPts val="0"/>
              </a:spcBef>
              <a:spcAft>
                <a:spcPts val="0"/>
              </a:spcAft>
              <a:buClr>
                <a:schemeClr val="lt1"/>
              </a:buClr>
              <a:buSzPts val="1400"/>
              <a:buFont typeface="Source Sans Pro"/>
              <a:buNone/>
              <a:defRPr sz="1400" b="0" i="0" u="none" strike="noStrike" cap="none">
                <a:solidFill>
                  <a:schemeClr val="lt1"/>
                </a:solidFill>
                <a:latin typeface="Source Sans Pro"/>
                <a:ea typeface="Source Sans Pro"/>
                <a:cs typeface="Source Sans Pro"/>
                <a:sym typeface="Source Sans Pro"/>
              </a:defRPr>
            </a:lvl5pPr>
            <a:lvl6pPr marL="2743200" marR="0" lvl="5" indent="-317500" algn="r" rtl="0">
              <a:lnSpc>
                <a:spcPct val="100000"/>
              </a:lnSpc>
              <a:spcBef>
                <a:spcPts val="0"/>
              </a:spcBef>
              <a:spcAft>
                <a:spcPts val="0"/>
              </a:spcAft>
              <a:buClr>
                <a:schemeClr val="lt1"/>
              </a:buClr>
              <a:buSzPts val="1400"/>
              <a:buFont typeface="Source Sans Pro"/>
              <a:buNone/>
              <a:defRPr sz="1400" b="0" i="0" u="none" strike="noStrike" cap="none">
                <a:solidFill>
                  <a:schemeClr val="lt1"/>
                </a:solidFill>
                <a:latin typeface="Source Sans Pro"/>
                <a:ea typeface="Source Sans Pro"/>
                <a:cs typeface="Source Sans Pro"/>
                <a:sym typeface="Source Sans Pro"/>
              </a:defRPr>
            </a:lvl6pPr>
            <a:lvl7pPr marL="3200400" marR="0" lvl="6" indent="-317500" algn="r" rtl="0">
              <a:lnSpc>
                <a:spcPct val="100000"/>
              </a:lnSpc>
              <a:spcBef>
                <a:spcPts val="0"/>
              </a:spcBef>
              <a:spcAft>
                <a:spcPts val="0"/>
              </a:spcAft>
              <a:buClr>
                <a:schemeClr val="lt1"/>
              </a:buClr>
              <a:buSzPts val="1400"/>
              <a:buFont typeface="Source Sans Pro"/>
              <a:buNone/>
              <a:defRPr sz="1400" b="0" i="0" u="none" strike="noStrike" cap="none">
                <a:solidFill>
                  <a:schemeClr val="lt1"/>
                </a:solidFill>
                <a:latin typeface="Source Sans Pro"/>
                <a:ea typeface="Source Sans Pro"/>
                <a:cs typeface="Source Sans Pro"/>
                <a:sym typeface="Source Sans Pro"/>
              </a:defRPr>
            </a:lvl7pPr>
            <a:lvl8pPr marL="3657600" marR="0" lvl="7" indent="-317500" algn="r" rtl="0">
              <a:lnSpc>
                <a:spcPct val="100000"/>
              </a:lnSpc>
              <a:spcBef>
                <a:spcPts val="0"/>
              </a:spcBef>
              <a:spcAft>
                <a:spcPts val="0"/>
              </a:spcAft>
              <a:buClr>
                <a:schemeClr val="lt1"/>
              </a:buClr>
              <a:buSzPts val="1400"/>
              <a:buFont typeface="Arial"/>
              <a:buNone/>
              <a:defRPr sz="1400" b="0" i="0" u="none" strike="noStrike" cap="none">
                <a:solidFill>
                  <a:schemeClr val="lt1"/>
                </a:solidFill>
                <a:latin typeface="Arial"/>
                <a:ea typeface="Arial"/>
                <a:cs typeface="Arial"/>
                <a:sym typeface="Arial"/>
              </a:defRPr>
            </a:lvl8pPr>
            <a:lvl9pPr marL="4114800" marR="0" lvl="8" indent="-317500" algn="r" rtl="0">
              <a:lnSpc>
                <a:spcPct val="100000"/>
              </a:lnSpc>
              <a:spcBef>
                <a:spcPts val="0"/>
              </a:spcBef>
              <a:spcAft>
                <a:spcPts val="0"/>
              </a:spcAft>
              <a:buClr>
                <a:schemeClr val="lt1"/>
              </a:buClr>
              <a:buSzPts val="1400"/>
              <a:buFont typeface="Arial"/>
              <a:buNone/>
              <a:defRPr sz="1400" b="0" i="0" u="none" strike="noStrike" cap="none">
                <a:solidFill>
                  <a:schemeClr val="lt1"/>
                </a:solidFill>
                <a:latin typeface="Arial"/>
                <a:ea typeface="Arial"/>
                <a:cs typeface="Arial"/>
                <a:sym typeface="Arial"/>
              </a:defRPr>
            </a:lvl9pPr>
          </a:lstStyle>
          <a:p>
            <a:r>
              <a:rPr lang="en-US"/>
              <a:t>Narendran </a:t>
            </a:r>
            <a:r>
              <a:rPr lang="en-US" err="1"/>
              <a:t>Valliappan</a:t>
            </a:r>
            <a:endParaRPr lang="en-US"/>
          </a:p>
        </p:txBody>
      </p:sp>
      <p:sp>
        <p:nvSpPr>
          <p:cNvPr id="7" name="Ovale 6">
            <a:extLst>
              <a:ext uri="{FF2B5EF4-FFF2-40B4-BE49-F238E27FC236}">
                <a16:creationId xmlns:a16="http://schemas.microsoft.com/office/drawing/2014/main" id="{9FDFEBAB-7695-7622-9753-5583FF311C38}"/>
              </a:ext>
            </a:extLst>
          </p:cNvPr>
          <p:cNvSpPr/>
          <p:nvPr/>
        </p:nvSpPr>
        <p:spPr>
          <a:xfrm>
            <a:off x="3887215" y="1949037"/>
            <a:ext cx="1316828" cy="1304353"/>
          </a:xfrm>
          <a:prstGeom prst="ellipse">
            <a:avLst/>
          </a:prstGeom>
          <a:blipFill dpi="0" rotWithShape="1">
            <a:blip r:embed="rId8">
              <a:extLst>
                <a:ext uri="{28A0092B-C50C-407E-A947-70E740481C1C}">
                  <a14:useLocalDpi xmlns:a14="http://schemas.microsoft.com/office/drawing/2010/main" val="0"/>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2" name="Picture 1">
            <a:extLst>
              <a:ext uri="{FF2B5EF4-FFF2-40B4-BE49-F238E27FC236}">
                <a16:creationId xmlns:a16="http://schemas.microsoft.com/office/drawing/2014/main" id="{F3E8A935-88DB-E2E6-BF75-9A0B57918CB5}"/>
              </a:ext>
            </a:extLst>
          </p:cNvPr>
          <p:cNvPicPr>
            <a:picLocks noChangeAspect="1"/>
          </p:cNvPicPr>
          <p:nvPr/>
        </p:nvPicPr>
        <p:blipFill>
          <a:blip r:embed="rId9"/>
          <a:stretch>
            <a:fillRect/>
          </a:stretch>
        </p:blipFill>
        <p:spPr>
          <a:xfrm>
            <a:off x="7443607" y="1979275"/>
            <a:ext cx="1277309" cy="1274116"/>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21429954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858"/>
        <p:cNvGrpSpPr/>
        <p:nvPr/>
      </p:nvGrpSpPr>
      <p:grpSpPr>
        <a:xfrm>
          <a:off x="0" y="0"/>
          <a:ext cx="0" cy="0"/>
          <a:chOff x="0" y="0"/>
          <a:chExt cx="0" cy="0"/>
        </a:xfrm>
      </p:grpSpPr>
      <p:sp>
        <p:nvSpPr>
          <p:cNvPr id="981" name="Google Shape;981;p39"/>
          <p:cNvSpPr txBox="1">
            <a:spLocks noGrp="1"/>
          </p:cNvSpPr>
          <p:nvPr>
            <p:ph type="ctrTitle"/>
          </p:nvPr>
        </p:nvSpPr>
        <p:spPr>
          <a:xfrm>
            <a:off x="4483038" y="2168271"/>
            <a:ext cx="4660962" cy="9066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Recommended Strategies</a:t>
            </a:r>
            <a:endParaRPr/>
          </a:p>
        </p:txBody>
      </p:sp>
      <p:sp>
        <p:nvSpPr>
          <p:cNvPr id="982" name="Google Shape;982;p39"/>
          <p:cNvSpPr txBox="1">
            <a:spLocks noGrp="1"/>
          </p:cNvSpPr>
          <p:nvPr>
            <p:ph type="subTitle" idx="1"/>
          </p:nvPr>
        </p:nvSpPr>
        <p:spPr>
          <a:xfrm>
            <a:off x="4969748" y="3074871"/>
            <a:ext cx="3746677" cy="1078748"/>
          </a:xfrm>
          <a:prstGeom prst="rect">
            <a:avLst/>
          </a:prstGeom>
        </p:spPr>
        <p:txBody>
          <a:bodyPr spcFirstLastPara="1" wrap="square" lIns="91425" tIns="91425" rIns="91425" bIns="91425" anchor="b" anchorCtr="0">
            <a:noAutofit/>
          </a:bodyPr>
          <a:lstStyle/>
          <a:p>
            <a:pPr marL="285750" lvl="0" indent="-285750" algn="l" rtl="0">
              <a:spcBef>
                <a:spcPts val="0"/>
              </a:spcBef>
              <a:spcAft>
                <a:spcPts val="0"/>
              </a:spcAft>
              <a:buFont typeface="Wingdings" panose="05000000000000000000" pitchFamily="2" charset="2"/>
              <a:buChar char="Ø"/>
            </a:pPr>
            <a:r>
              <a:rPr lang="en-US">
                <a:solidFill>
                  <a:schemeClr val="accent3"/>
                </a:solidFill>
              </a:rPr>
              <a:t> Promotional Strategies</a:t>
            </a:r>
          </a:p>
          <a:p>
            <a:pPr marL="285750" lvl="0" indent="-285750" algn="l" rtl="0">
              <a:spcBef>
                <a:spcPts val="0"/>
              </a:spcBef>
              <a:spcAft>
                <a:spcPts val="0"/>
              </a:spcAft>
              <a:buFont typeface="Wingdings" panose="05000000000000000000" pitchFamily="2" charset="2"/>
              <a:buChar char="Ø"/>
            </a:pPr>
            <a:endParaRPr lang="en-US">
              <a:solidFill>
                <a:schemeClr val="accent3"/>
              </a:solidFill>
            </a:endParaRPr>
          </a:p>
          <a:p>
            <a:pPr marL="285750" lvl="0" indent="-285750" algn="l" rtl="0">
              <a:spcBef>
                <a:spcPts val="0"/>
              </a:spcBef>
              <a:spcAft>
                <a:spcPts val="0"/>
              </a:spcAft>
              <a:buFont typeface="Wingdings" panose="05000000000000000000" pitchFamily="2" charset="2"/>
              <a:buChar char="Ø"/>
            </a:pPr>
            <a:r>
              <a:rPr lang="en-US">
                <a:solidFill>
                  <a:schemeClr val="accent3"/>
                </a:solidFill>
              </a:rPr>
              <a:t>Customer Development Strategies</a:t>
            </a:r>
          </a:p>
        </p:txBody>
      </p:sp>
      <p:sp>
        <p:nvSpPr>
          <p:cNvPr id="983" name="Google Shape;983;p39"/>
          <p:cNvSpPr txBox="1">
            <a:spLocks noGrp="1"/>
          </p:cNvSpPr>
          <p:nvPr>
            <p:ph type="title" idx="2"/>
          </p:nvPr>
        </p:nvSpPr>
        <p:spPr>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06</a:t>
            </a:r>
            <a:endParaRPr/>
          </a:p>
        </p:txBody>
      </p:sp>
      <p:sp>
        <p:nvSpPr>
          <p:cNvPr id="984" name="Google Shape;984;p39"/>
          <p:cNvSpPr/>
          <p:nvPr/>
        </p:nvSpPr>
        <p:spPr>
          <a:xfrm rot="-5422515" flipH="1">
            <a:off x="8291603" y="4647417"/>
            <a:ext cx="328545" cy="328306"/>
          </a:xfrm>
          <a:custGeom>
            <a:avLst/>
            <a:gdLst/>
            <a:ahLst/>
            <a:cxnLst/>
            <a:rect l="l" t="t" r="r" b="b"/>
            <a:pathLst>
              <a:path w="45300" h="45267" extrusionOk="0">
                <a:moveTo>
                  <a:pt x="22629" y="6872"/>
                </a:moveTo>
                <a:cubicBezTo>
                  <a:pt x="26731" y="6872"/>
                  <a:pt x="30760" y="8466"/>
                  <a:pt x="33792" y="11476"/>
                </a:cubicBezTo>
                <a:cubicBezTo>
                  <a:pt x="38295" y="16012"/>
                  <a:pt x="39629" y="22784"/>
                  <a:pt x="37194" y="28688"/>
                </a:cubicBezTo>
                <a:cubicBezTo>
                  <a:pt x="34759" y="34559"/>
                  <a:pt x="29021" y="38428"/>
                  <a:pt x="22617" y="38428"/>
                </a:cubicBezTo>
                <a:lnTo>
                  <a:pt x="22617" y="38395"/>
                </a:lnTo>
                <a:cubicBezTo>
                  <a:pt x="13911" y="38395"/>
                  <a:pt x="6872" y="31356"/>
                  <a:pt x="6872" y="22650"/>
                </a:cubicBezTo>
                <a:cubicBezTo>
                  <a:pt x="6839" y="16279"/>
                  <a:pt x="10708" y="10508"/>
                  <a:pt x="16579" y="8073"/>
                </a:cubicBezTo>
                <a:cubicBezTo>
                  <a:pt x="18538" y="7265"/>
                  <a:pt x="20592" y="6872"/>
                  <a:pt x="22629" y="6872"/>
                </a:cubicBezTo>
                <a:close/>
                <a:moveTo>
                  <a:pt x="20916" y="1"/>
                </a:moveTo>
                <a:lnTo>
                  <a:pt x="20315" y="2102"/>
                </a:lnTo>
                <a:cubicBezTo>
                  <a:pt x="19148" y="2236"/>
                  <a:pt x="18014" y="2469"/>
                  <a:pt x="16913" y="2769"/>
                </a:cubicBezTo>
                <a:lnTo>
                  <a:pt x="15545" y="1068"/>
                </a:lnTo>
                <a:lnTo>
                  <a:pt x="12376" y="2369"/>
                </a:lnTo>
                <a:lnTo>
                  <a:pt x="12643" y="4571"/>
                </a:lnTo>
                <a:cubicBezTo>
                  <a:pt x="11609" y="5104"/>
                  <a:pt x="10642" y="5771"/>
                  <a:pt x="9741" y="6472"/>
                </a:cubicBezTo>
                <a:lnTo>
                  <a:pt x="7806" y="5405"/>
                </a:lnTo>
                <a:lnTo>
                  <a:pt x="5405" y="7840"/>
                </a:lnTo>
                <a:lnTo>
                  <a:pt x="6472" y="9774"/>
                </a:lnTo>
                <a:cubicBezTo>
                  <a:pt x="5772" y="10675"/>
                  <a:pt x="5104" y="11642"/>
                  <a:pt x="4537" y="12643"/>
                </a:cubicBezTo>
                <a:lnTo>
                  <a:pt x="2369" y="12410"/>
                </a:lnTo>
                <a:lnTo>
                  <a:pt x="1068" y="15545"/>
                </a:lnTo>
                <a:lnTo>
                  <a:pt x="2769" y="16913"/>
                </a:lnTo>
                <a:cubicBezTo>
                  <a:pt x="2436" y="18047"/>
                  <a:pt x="2236" y="19181"/>
                  <a:pt x="2102" y="20315"/>
                </a:cubicBezTo>
                <a:lnTo>
                  <a:pt x="1" y="20916"/>
                </a:lnTo>
                <a:lnTo>
                  <a:pt x="1" y="24351"/>
                </a:lnTo>
                <a:lnTo>
                  <a:pt x="2102" y="24952"/>
                </a:lnTo>
                <a:cubicBezTo>
                  <a:pt x="2236" y="26086"/>
                  <a:pt x="2469" y="27220"/>
                  <a:pt x="2769" y="28354"/>
                </a:cubicBezTo>
                <a:lnTo>
                  <a:pt x="1068" y="29722"/>
                </a:lnTo>
                <a:lnTo>
                  <a:pt x="2369" y="32857"/>
                </a:lnTo>
                <a:lnTo>
                  <a:pt x="4537" y="32624"/>
                </a:lnTo>
                <a:cubicBezTo>
                  <a:pt x="5104" y="33625"/>
                  <a:pt x="5772" y="34592"/>
                  <a:pt x="6472" y="35493"/>
                </a:cubicBezTo>
                <a:lnTo>
                  <a:pt x="5405" y="37427"/>
                </a:lnTo>
                <a:lnTo>
                  <a:pt x="7840" y="39863"/>
                </a:lnTo>
                <a:lnTo>
                  <a:pt x="9774" y="38795"/>
                </a:lnTo>
                <a:cubicBezTo>
                  <a:pt x="10675" y="39496"/>
                  <a:pt x="11642" y="40163"/>
                  <a:pt x="12643" y="40730"/>
                </a:cubicBezTo>
                <a:lnTo>
                  <a:pt x="12410" y="42898"/>
                </a:lnTo>
                <a:lnTo>
                  <a:pt x="15545" y="44199"/>
                </a:lnTo>
                <a:lnTo>
                  <a:pt x="16913" y="42498"/>
                </a:lnTo>
                <a:cubicBezTo>
                  <a:pt x="18047" y="42798"/>
                  <a:pt x="19181" y="43031"/>
                  <a:pt x="20349" y="43165"/>
                </a:cubicBezTo>
                <a:lnTo>
                  <a:pt x="20916" y="45266"/>
                </a:lnTo>
                <a:lnTo>
                  <a:pt x="24318" y="45266"/>
                </a:lnTo>
                <a:lnTo>
                  <a:pt x="24952" y="43165"/>
                </a:lnTo>
                <a:cubicBezTo>
                  <a:pt x="26086" y="43031"/>
                  <a:pt x="27220" y="42798"/>
                  <a:pt x="28354" y="42498"/>
                </a:cubicBezTo>
                <a:lnTo>
                  <a:pt x="29722" y="44199"/>
                </a:lnTo>
                <a:lnTo>
                  <a:pt x="32858" y="42898"/>
                </a:lnTo>
                <a:lnTo>
                  <a:pt x="32624" y="40730"/>
                </a:lnTo>
                <a:cubicBezTo>
                  <a:pt x="33625" y="40163"/>
                  <a:pt x="34592" y="39496"/>
                  <a:pt x="35493" y="38795"/>
                </a:cubicBezTo>
                <a:lnTo>
                  <a:pt x="37427" y="39863"/>
                </a:lnTo>
                <a:lnTo>
                  <a:pt x="39863" y="37461"/>
                </a:lnTo>
                <a:lnTo>
                  <a:pt x="38795" y="35526"/>
                </a:lnTo>
                <a:cubicBezTo>
                  <a:pt x="39496" y="34625"/>
                  <a:pt x="40163" y="33658"/>
                  <a:pt x="40730" y="32657"/>
                </a:cubicBezTo>
                <a:lnTo>
                  <a:pt x="42898" y="32891"/>
                </a:lnTo>
                <a:lnTo>
                  <a:pt x="44199" y="29722"/>
                </a:lnTo>
                <a:lnTo>
                  <a:pt x="42498" y="28354"/>
                </a:lnTo>
                <a:cubicBezTo>
                  <a:pt x="42798" y="27253"/>
                  <a:pt x="43031" y="26119"/>
                  <a:pt x="43165" y="24952"/>
                </a:cubicBezTo>
                <a:lnTo>
                  <a:pt x="45300" y="24351"/>
                </a:lnTo>
                <a:lnTo>
                  <a:pt x="45300" y="20916"/>
                </a:lnTo>
                <a:lnTo>
                  <a:pt x="43165" y="20315"/>
                </a:lnTo>
                <a:cubicBezTo>
                  <a:pt x="43031" y="19181"/>
                  <a:pt x="42798" y="18047"/>
                  <a:pt x="42498" y="16913"/>
                </a:cubicBezTo>
                <a:lnTo>
                  <a:pt x="44199" y="15545"/>
                </a:lnTo>
                <a:lnTo>
                  <a:pt x="42898" y="12376"/>
                </a:lnTo>
                <a:lnTo>
                  <a:pt x="40730" y="12643"/>
                </a:lnTo>
                <a:cubicBezTo>
                  <a:pt x="40163" y="11642"/>
                  <a:pt x="39496" y="10675"/>
                  <a:pt x="38795" y="9774"/>
                </a:cubicBezTo>
                <a:lnTo>
                  <a:pt x="39863" y="7840"/>
                </a:lnTo>
                <a:lnTo>
                  <a:pt x="37427" y="5405"/>
                </a:lnTo>
                <a:lnTo>
                  <a:pt x="35493" y="6472"/>
                </a:lnTo>
                <a:cubicBezTo>
                  <a:pt x="34592" y="5771"/>
                  <a:pt x="33658" y="5104"/>
                  <a:pt x="32624" y="4571"/>
                </a:cubicBezTo>
                <a:lnTo>
                  <a:pt x="32891" y="2369"/>
                </a:lnTo>
                <a:lnTo>
                  <a:pt x="29722" y="1068"/>
                </a:lnTo>
                <a:lnTo>
                  <a:pt x="28354" y="2769"/>
                </a:lnTo>
                <a:cubicBezTo>
                  <a:pt x="27220" y="2469"/>
                  <a:pt x="26086" y="2236"/>
                  <a:pt x="24952" y="2102"/>
                </a:cubicBezTo>
                <a:lnTo>
                  <a:pt x="24318" y="1"/>
                </a:lnTo>
                <a:close/>
              </a:path>
            </a:pathLst>
          </a:custGeom>
          <a:solidFill>
            <a:srgbClr val="C3FF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 name="Google Shape;985;p39"/>
          <p:cNvSpPr/>
          <p:nvPr/>
        </p:nvSpPr>
        <p:spPr>
          <a:xfrm rot="-5421983" flipH="1">
            <a:off x="8538711" y="4264478"/>
            <a:ext cx="513599" cy="513225"/>
          </a:xfrm>
          <a:custGeom>
            <a:avLst/>
            <a:gdLst/>
            <a:ahLst/>
            <a:cxnLst/>
            <a:rect l="l" t="t" r="r" b="b"/>
            <a:pathLst>
              <a:path w="45300" h="45267" extrusionOk="0">
                <a:moveTo>
                  <a:pt x="22629" y="6872"/>
                </a:moveTo>
                <a:cubicBezTo>
                  <a:pt x="26731" y="6872"/>
                  <a:pt x="30760" y="8466"/>
                  <a:pt x="33792" y="11476"/>
                </a:cubicBezTo>
                <a:cubicBezTo>
                  <a:pt x="38295" y="16012"/>
                  <a:pt x="39629" y="22784"/>
                  <a:pt x="37194" y="28688"/>
                </a:cubicBezTo>
                <a:cubicBezTo>
                  <a:pt x="34759" y="34559"/>
                  <a:pt x="29021" y="38428"/>
                  <a:pt x="22617" y="38428"/>
                </a:cubicBezTo>
                <a:lnTo>
                  <a:pt x="22617" y="38395"/>
                </a:lnTo>
                <a:cubicBezTo>
                  <a:pt x="13911" y="38395"/>
                  <a:pt x="6872" y="31356"/>
                  <a:pt x="6872" y="22650"/>
                </a:cubicBezTo>
                <a:cubicBezTo>
                  <a:pt x="6839" y="16279"/>
                  <a:pt x="10708" y="10508"/>
                  <a:pt x="16579" y="8073"/>
                </a:cubicBezTo>
                <a:cubicBezTo>
                  <a:pt x="18538" y="7265"/>
                  <a:pt x="20592" y="6872"/>
                  <a:pt x="22629" y="6872"/>
                </a:cubicBezTo>
                <a:close/>
                <a:moveTo>
                  <a:pt x="20916" y="1"/>
                </a:moveTo>
                <a:lnTo>
                  <a:pt x="20315" y="2102"/>
                </a:lnTo>
                <a:cubicBezTo>
                  <a:pt x="19148" y="2236"/>
                  <a:pt x="18014" y="2469"/>
                  <a:pt x="16913" y="2769"/>
                </a:cubicBezTo>
                <a:lnTo>
                  <a:pt x="15545" y="1068"/>
                </a:lnTo>
                <a:lnTo>
                  <a:pt x="12376" y="2369"/>
                </a:lnTo>
                <a:lnTo>
                  <a:pt x="12643" y="4571"/>
                </a:lnTo>
                <a:cubicBezTo>
                  <a:pt x="11609" y="5104"/>
                  <a:pt x="10642" y="5771"/>
                  <a:pt x="9741" y="6472"/>
                </a:cubicBezTo>
                <a:lnTo>
                  <a:pt x="7806" y="5405"/>
                </a:lnTo>
                <a:lnTo>
                  <a:pt x="5405" y="7840"/>
                </a:lnTo>
                <a:lnTo>
                  <a:pt x="6472" y="9774"/>
                </a:lnTo>
                <a:cubicBezTo>
                  <a:pt x="5772" y="10675"/>
                  <a:pt x="5104" y="11642"/>
                  <a:pt x="4537" y="12643"/>
                </a:cubicBezTo>
                <a:lnTo>
                  <a:pt x="2369" y="12410"/>
                </a:lnTo>
                <a:lnTo>
                  <a:pt x="1068" y="15545"/>
                </a:lnTo>
                <a:lnTo>
                  <a:pt x="2769" y="16913"/>
                </a:lnTo>
                <a:cubicBezTo>
                  <a:pt x="2436" y="18047"/>
                  <a:pt x="2236" y="19181"/>
                  <a:pt x="2102" y="20315"/>
                </a:cubicBezTo>
                <a:lnTo>
                  <a:pt x="1" y="20916"/>
                </a:lnTo>
                <a:lnTo>
                  <a:pt x="1" y="24351"/>
                </a:lnTo>
                <a:lnTo>
                  <a:pt x="2102" y="24952"/>
                </a:lnTo>
                <a:cubicBezTo>
                  <a:pt x="2236" y="26086"/>
                  <a:pt x="2469" y="27220"/>
                  <a:pt x="2769" y="28354"/>
                </a:cubicBezTo>
                <a:lnTo>
                  <a:pt x="1068" y="29722"/>
                </a:lnTo>
                <a:lnTo>
                  <a:pt x="2369" y="32857"/>
                </a:lnTo>
                <a:lnTo>
                  <a:pt x="4537" y="32624"/>
                </a:lnTo>
                <a:cubicBezTo>
                  <a:pt x="5104" y="33625"/>
                  <a:pt x="5772" y="34592"/>
                  <a:pt x="6472" y="35493"/>
                </a:cubicBezTo>
                <a:lnTo>
                  <a:pt x="5405" y="37427"/>
                </a:lnTo>
                <a:lnTo>
                  <a:pt x="7840" y="39863"/>
                </a:lnTo>
                <a:lnTo>
                  <a:pt x="9774" y="38795"/>
                </a:lnTo>
                <a:cubicBezTo>
                  <a:pt x="10675" y="39496"/>
                  <a:pt x="11642" y="40163"/>
                  <a:pt x="12643" y="40730"/>
                </a:cubicBezTo>
                <a:lnTo>
                  <a:pt x="12410" y="42898"/>
                </a:lnTo>
                <a:lnTo>
                  <a:pt x="15545" y="44199"/>
                </a:lnTo>
                <a:lnTo>
                  <a:pt x="16913" y="42498"/>
                </a:lnTo>
                <a:cubicBezTo>
                  <a:pt x="18047" y="42798"/>
                  <a:pt x="19181" y="43031"/>
                  <a:pt x="20349" y="43165"/>
                </a:cubicBezTo>
                <a:lnTo>
                  <a:pt x="20916" y="45266"/>
                </a:lnTo>
                <a:lnTo>
                  <a:pt x="24318" y="45266"/>
                </a:lnTo>
                <a:lnTo>
                  <a:pt x="24952" y="43165"/>
                </a:lnTo>
                <a:cubicBezTo>
                  <a:pt x="26086" y="43031"/>
                  <a:pt x="27220" y="42798"/>
                  <a:pt x="28354" y="42498"/>
                </a:cubicBezTo>
                <a:lnTo>
                  <a:pt x="29722" y="44199"/>
                </a:lnTo>
                <a:lnTo>
                  <a:pt x="32858" y="42898"/>
                </a:lnTo>
                <a:lnTo>
                  <a:pt x="32624" y="40730"/>
                </a:lnTo>
                <a:cubicBezTo>
                  <a:pt x="33625" y="40163"/>
                  <a:pt x="34592" y="39496"/>
                  <a:pt x="35493" y="38795"/>
                </a:cubicBezTo>
                <a:lnTo>
                  <a:pt x="37427" y="39863"/>
                </a:lnTo>
                <a:lnTo>
                  <a:pt x="39863" y="37461"/>
                </a:lnTo>
                <a:lnTo>
                  <a:pt x="38795" y="35526"/>
                </a:lnTo>
                <a:cubicBezTo>
                  <a:pt x="39496" y="34625"/>
                  <a:pt x="40163" y="33658"/>
                  <a:pt x="40730" y="32657"/>
                </a:cubicBezTo>
                <a:lnTo>
                  <a:pt x="42898" y="32891"/>
                </a:lnTo>
                <a:lnTo>
                  <a:pt x="44199" y="29722"/>
                </a:lnTo>
                <a:lnTo>
                  <a:pt x="42498" y="28354"/>
                </a:lnTo>
                <a:cubicBezTo>
                  <a:pt x="42798" y="27253"/>
                  <a:pt x="43031" y="26119"/>
                  <a:pt x="43165" y="24952"/>
                </a:cubicBezTo>
                <a:lnTo>
                  <a:pt x="45300" y="24351"/>
                </a:lnTo>
                <a:lnTo>
                  <a:pt x="45300" y="20916"/>
                </a:lnTo>
                <a:lnTo>
                  <a:pt x="43165" y="20315"/>
                </a:lnTo>
                <a:cubicBezTo>
                  <a:pt x="43031" y="19181"/>
                  <a:pt x="42798" y="18047"/>
                  <a:pt x="42498" y="16913"/>
                </a:cubicBezTo>
                <a:lnTo>
                  <a:pt x="44199" y="15545"/>
                </a:lnTo>
                <a:lnTo>
                  <a:pt x="42898" y="12376"/>
                </a:lnTo>
                <a:lnTo>
                  <a:pt x="40730" y="12643"/>
                </a:lnTo>
                <a:cubicBezTo>
                  <a:pt x="40163" y="11642"/>
                  <a:pt x="39496" y="10675"/>
                  <a:pt x="38795" y="9774"/>
                </a:cubicBezTo>
                <a:lnTo>
                  <a:pt x="39863" y="7840"/>
                </a:lnTo>
                <a:lnTo>
                  <a:pt x="37427" y="5405"/>
                </a:lnTo>
                <a:lnTo>
                  <a:pt x="35493" y="6472"/>
                </a:lnTo>
                <a:cubicBezTo>
                  <a:pt x="34592" y="5771"/>
                  <a:pt x="33658" y="5104"/>
                  <a:pt x="32624" y="4571"/>
                </a:cubicBezTo>
                <a:lnTo>
                  <a:pt x="32891" y="2369"/>
                </a:lnTo>
                <a:lnTo>
                  <a:pt x="29722" y="1068"/>
                </a:lnTo>
                <a:lnTo>
                  <a:pt x="28354" y="2769"/>
                </a:lnTo>
                <a:cubicBezTo>
                  <a:pt x="27220" y="2469"/>
                  <a:pt x="26086" y="2236"/>
                  <a:pt x="24952" y="2102"/>
                </a:cubicBezTo>
                <a:lnTo>
                  <a:pt x="24318"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 name="Google Shape;2079;p56">
            <a:extLst>
              <a:ext uri="{FF2B5EF4-FFF2-40B4-BE49-F238E27FC236}">
                <a16:creationId xmlns:a16="http://schemas.microsoft.com/office/drawing/2014/main" id="{D2F65BBB-27FB-D7C5-96AE-925D27B27267}"/>
              </a:ext>
            </a:extLst>
          </p:cNvPr>
          <p:cNvGrpSpPr/>
          <p:nvPr/>
        </p:nvGrpSpPr>
        <p:grpSpPr>
          <a:xfrm>
            <a:off x="1175251" y="1190249"/>
            <a:ext cx="3643789" cy="3463117"/>
            <a:chOff x="6490768" y="1080521"/>
            <a:chExt cx="3643789" cy="3463117"/>
          </a:xfrm>
        </p:grpSpPr>
        <p:sp>
          <p:nvSpPr>
            <p:cNvPr id="3" name="Google Shape;2080;p56">
              <a:extLst>
                <a:ext uri="{FF2B5EF4-FFF2-40B4-BE49-F238E27FC236}">
                  <a16:creationId xmlns:a16="http://schemas.microsoft.com/office/drawing/2014/main" id="{3D2FD466-A72C-FD01-7426-53A840809C1B}"/>
                </a:ext>
              </a:extLst>
            </p:cNvPr>
            <p:cNvSpPr/>
            <p:nvPr/>
          </p:nvSpPr>
          <p:spPr>
            <a:xfrm flipH="1">
              <a:off x="6490768" y="4165803"/>
              <a:ext cx="190531" cy="2444"/>
            </a:xfrm>
            <a:custGeom>
              <a:avLst/>
              <a:gdLst/>
              <a:ahLst/>
              <a:cxnLst/>
              <a:rect l="l" t="t" r="r" b="b"/>
              <a:pathLst>
                <a:path w="7874" h="101" extrusionOk="0">
                  <a:moveTo>
                    <a:pt x="1" y="1"/>
                  </a:moveTo>
                  <a:lnTo>
                    <a:pt x="1" y="101"/>
                  </a:lnTo>
                  <a:lnTo>
                    <a:pt x="7873" y="101"/>
                  </a:lnTo>
                  <a:lnTo>
                    <a:pt x="7873" y="1"/>
                  </a:lnTo>
                  <a:close/>
                </a:path>
              </a:pathLst>
            </a:custGeom>
            <a:solidFill>
              <a:srgbClr val="EBEBEB"/>
            </a:solidFill>
            <a:ln w="9525"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Google Shape;2081;p56">
              <a:extLst>
                <a:ext uri="{FF2B5EF4-FFF2-40B4-BE49-F238E27FC236}">
                  <a16:creationId xmlns:a16="http://schemas.microsoft.com/office/drawing/2014/main" id="{D92840CC-8EC1-16B6-C42A-0B0469F5486C}"/>
                </a:ext>
              </a:extLst>
            </p:cNvPr>
            <p:cNvSpPr/>
            <p:nvPr/>
          </p:nvSpPr>
          <p:spPr>
            <a:xfrm flipH="1">
              <a:off x="7632914" y="4148064"/>
              <a:ext cx="297049" cy="2444"/>
            </a:xfrm>
            <a:custGeom>
              <a:avLst/>
              <a:gdLst/>
              <a:ahLst/>
              <a:cxnLst/>
              <a:rect l="l" t="t" r="r" b="b"/>
              <a:pathLst>
                <a:path w="12276" h="101" extrusionOk="0">
                  <a:moveTo>
                    <a:pt x="0" y="0"/>
                  </a:moveTo>
                  <a:lnTo>
                    <a:pt x="0" y="100"/>
                  </a:lnTo>
                  <a:lnTo>
                    <a:pt x="12276" y="100"/>
                  </a:lnTo>
                  <a:lnTo>
                    <a:pt x="12276" y="0"/>
                  </a:lnTo>
                  <a:close/>
                </a:path>
              </a:pathLst>
            </a:custGeom>
            <a:solidFill>
              <a:srgbClr val="EBEBE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2082;p56">
              <a:extLst>
                <a:ext uri="{FF2B5EF4-FFF2-40B4-BE49-F238E27FC236}">
                  <a16:creationId xmlns:a16="http://schemas.microsoft.com/office/drawing/2014/main" id="{6E802993-5CD3-41C4-62D2-817430FAF2E8}"/>
                </a:ext>
              </a:extLst>
            </p:cNvPr>
            <p:cNvSpPr/>
            <p:nvPr/>
          </p:nvSpPr>
          <p:spPr>
            <a:xfrm flipH="1">
              <a:off x="6691752" y="4072173"/>
              <a:ext cx="475457" cy="2444"/>
            </a:xfrm>
            <a:custGeom>
              <a:avLst/>
              <a:gdLst/>
              <a:ahLst/>
              <a:cxnLst/>
              <a:rect l="l" t="t" r="r" b="b"/>
              <a:pathLst>
                <a:path w="19649" h="101" extrusionOk="0">
                  <a:moveTo>
                    <a:pt x="1" y="0"/>
                  </a:moveTo>
                  <a:lnTo>
                    <a:pt x="1" y="100"/>
                  </a:lnTo>
                  <a:lnTo>
                    <a:pt x="19648" y="100"/>
                  </a:lnTo>
                  <a:lnTo>
                    <a:pt x="19648" y="0"/>
                  </a:lnTo>
                  <a:close/>
                </a:path>
              </a:pathLst>
            </a:custGeom>
            <a:solidFill>
              <a:srgbClr val="EBEBEB"/>
            </a:solidFill>
            <a:ln w="9525"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2083;p56">
              <a:extLst>
                <a:ext uri="{FF2B5EF4-FFF2-40B4-BE49-F238E27FC236}">
                  <a16:creationId xmlns:a16="http://schemas.microsoft.com/office/drawing/2014/main" id="{B0EE2097-9825-B5E7-A316-C785235AE8FB}"/>
                </a:ext>
              </a:extLst>
            </p:cNvPr>
            <p:cNvSpPr/>
            <p:nvPr/>
          </p:nvSpPr>
          <p:spPr>
            <a:xfrm flipH="1">
              <a:off x="8615211" y="4131899"/>
              <a:ext cx="545678" cy="2444"/>
            </a:xfrm>
            <a:custGeom>
              <a:avLst/>
              <a:gdLst/>
              <a:ahLst/>
              <a:cxnLst/>
              <a:rect l="l" t="t" r="r" b="b"/>
              <a:pathLst>
                <a:path w="22551" h="101" extrusionOk="0">
                  <a:moveTo>
                    <a:pt x="1" y="1"/>
                  </a:moveTo>
                  <a:lnTo>
                    <a:pt x="1" y="101"/>
                  </a:lnTo>
                  <a:lnTo>
                    <a:pt x="22550" y="101"/>
                  </a:lnTo>
                  <a:lnTo>
                    <a:pt x="22550" y="1"/>
                  </a:lnTo>
                  <a:close/>
                </a:path>
              </a:pathLst>
            </a:custGeom>
            <a:solidFill>
              <a:srgbClr val="EBEBE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2084;p56">
              <a:extLst>
                <a:ext uri="{FF2B5EF4-FFF2-40B4-BE49-F238E27FC236}">
                  <a16:creationId xmlns:a16="http://schemas.microsoft.com/office/drawing/2014/main" id="{A3406E1B-3A4E-1827-0F4C-3ACB8B763F80}"/>
                </a:ext>
              </a:extLst>
            </p:cNvPr>
            <p:cNvSpPr/>
            <p:nvPr/>
          </p:nvSpPr>
          <p:spPr>
            <a:xfrm flipH="1">
              <a:off x="6490768" y="4165803"/>
              <a:ext cx="190531" cy="2444"/>
            </a:xfrm>
            <a:custGeom>
              <a:avLst/>
              <a:gdLst/>
              <a:ahLst/>
              <a:cxnLst/>
              <a:rect l="l" t="t" r="r" b="b"/>
              <a:pathLst>
                <a:path w="7874" h="101" extrusionOk="0">
                  <a:moveTo>
                    <a:pt x="1" y="1"/>
                  </a:moveTo>
                  <a:lnTo>
                    <a:pt x="1" y="101"/>
                  </a:lnTo>
                  <a:lnTo>
                    <a:pt x="7873" y="101"/>
                  </a:lnTo>
                  <a:lnTo>
                    <a:pt x="7873" y="1"/>
                  </a:lnTo>
                  <a:close/>
                </a:path>
              </a:pathLst>
            </a:custGeom>
            <a:solidFill>
              <a:srgbClr val="EBEBEB"/>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2085;p56">
              <a:extLst>
                <a:ext uri="{FF2B5EF4-FFF2-40B4-BE49-F238E27FC236}">
                  <a16:creationId xmlns:a16="http://schemas.microsoft.com/office/drawing/2014/main" id="{A76766CF-7416-9FA8-73AF-4AF717AAD80E}"/>
                </a:ext>
              </a:extLst>
            </p:cNvPr>
            <p:cNvSpPr/>
            <p:nvPr/>
          </p:nvSpPr>
          <p:spPr>
            <a:xfrm flipH="1">
              <a:off x="7632914" y="4148064"/>
              <a:ext cx="297049" cy="2444"/>
            </a:xfrm>
            <a:custGeom>
              <a:avLst/>
              <a:gdLst/>
              <a:ahLst/>
              <a:cxnLst/>
              <a:rect l="l" t="t" r="r" b="b"/>
              <a:pathLst>
                <a:path w="12276" h="101" extrusionOk="0">
                  <a:moveTo>
                    <a:pt x="0" y="0"/>
                  </a:moveTo>
                  <a:lnTo>
                    <a:pt x="0" y="100"/>
                  </a:lnTo>
                  <a:lnTo>
                    <a:pt x="12276" y="100"/>
                  </a:lnTo>
                  <a:lnTo>
                    <a:pt x="12276" y="0"/>
                  </a:lnTo>
                  <a:close/>
                </a:path>
              </a:pathLst>
            </a:custGeom>
            <a:solidFill>
              <a:srgbClr val="EBEBE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2086;p56">
              <a:extLst>
                <a:ext uri="{FF2B5EF4-FFF2-40B4-BE49-F238E27FC236}">
                  <a16:creationId xmlns:a16="http://schemas.microsoft.com/office/drawing/2014/main" id="{B5C1E8CF-D632-14EE-DFEB-F0B6E55507EB}"/>
                </a:ext>
              </a:extLst>
            </p:cNvPr>
            <p:cNvSpPr/>
            <p:nvPr/>
          </p:nvSpPr>
          <p:spPr>
            <a:xfrm flipH="1">
              <a:off x="6691752" y="4072173"/>
              <a:ext cx="475457" cy="2444"/>
            </a:xfrm>
            <a:custGeom>
              <a:avLst/>
              <a:gdLst/>
              <a:ahLst/>
              <a:cxnLst/>
              <a:rect l="l" t="t" r="r" b="b"/>
              <a:pathLst>
                <a:path w="19649" h="101" extrusionOk="0">
                  <a:moveTo>
                    <a:pt x="1" y="0"/>
                  </a:moveTo>
                  <a:lnTo>
                    <a:pt x="1" y="100"/>
                  </a:lnTo>
                  <a:lnTo>
                    <a:pt x="19648" y="100"/>
                  </a:lnTo>
                  <a:lnTo>
                    <a:pt x="19648" y="0"/>
                  </a:lnTo>
                  <a:close/>
                </a:path>
              </a:pathLst>
            </a:custGeom>
            <a:solidFill>
              <a:srgbClr val="EBEBEB"/>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2087;p56">
              <a:extLst>
                <a:ext uri="{FF2B5EF4-FFF2-40B4-BE49-F238E27FC236}">
                  <a16:creationId xmlns:a16="http://schemas.microsoft.com/office/drawing/2014/main" id="{20AD1506-D46A-43D8-C214-A8D1D6F5FBA7}"/>
                </a:ext>
              </a:extLst>
            </p:cNvPr>
            <p:cNvSpPr/>
            <p:nvPr/>
          </p:nvSpPr>
          <p:spPr>
            <a:xfrm flipH="1">
              <a:off x="8615211" y="4131899"/>
              <a:ext cx="545678" cy="2444"/>
            </a:xfrm>
            <a:custGeom>
              <a:avLst/>
              <a:gdLst/>
              <a:ahLst/>
              <a:cxnLst/>
              <a:rect l="l" t="t" r="r" b="b"/>
              <a:pathLst>
                <a:path w="22551" h="101" extrusionOk="0">
                  <a:moveTo>
                    <a:pt x="1" y="1"/>
                  </a:moveTo>
                  <a:lnTo>
                    <a:pt x="1" y="101"/>
                  </a:lnTo>
                  <a:lnTo>
                    <a:pt x="22550" y="101"/>
                  </a:lnTo>
                  <a:lnTo>
                    <a:pt x="22550" y="1"/>
                  </a:lnTo>
                  <a:close/>
                </a:path>
              </a:pathLst>
            </a:custGeom>
            <a:solidFill>
              <a:srgbClr val="EBEBEB"/>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2088;p56">
              <a:extLst>
                <a:ext uri="{FF2B5EF4-FFF2-40B4-BE49-F238E27FC236}">
                  <a16:creationId xmlns:a16="http://schemas.microsoft.com/office/drawing/2014/main" id="{B86E479E-5246-8849-2F56-655521233AAC}"/>
                </a:ext>
              </a:extLst>
            </p:cNvPr>
            <p:cNvSpPr/>
            <p:nvPr/>
          </p:nvSpPr>
          <p:spPr>
            <a:xfrm flipH="1">
              <a:off x="7560273" y="3881671"/>
              <a:ext cx="135627" cy="135641"/>
            </a:xfrm>
            <a:custGeom>
              <a:avLst/>
              <a:gdLst/>
              <a:ahLst/>
              <a:cxnLst/>
              <a:rect l="l" t="t" r="r" b="b"/>
              <a:pathLst>
                <a:path w="5605" h="5605" extrusionOk="0">
                  <a:moveTo>
                    <a:pt x="2803" y="0"/>
                  </a:moveTo>
                  <a:cubicBezTo>
                    <a:pt x="1268" y="0"/>
                    <a:pt x="1" y="1268"/>
                    <a:pt x="1" y="2802"/>
                  </a:cubicBezTo>
                  <a:cubicBezTo>
                    <a:pt x="1" y="4370"/>
                    <a:pt x="1268" y="5604"/>
                    <a:pt x="2803" y="5604"/>
                  </a:cubicBezTo>
                  <a:cubicBezTo>
                    <a:pt x="4371" y="5604"/>
                    <a:pt x="5605" y="4370"/>
                    <a:pt x="5605" y="2802"/>
                  </a:cubicBezTo>
                  <a:cubicBezTo>
                    <a:pt x="5605" y="1268"/>
                    <a:pt x="4371" y="0"/>
                    <a:pt x="2803" y="0"/>
                  </a:cubicBezTo>
                  <a:close/>
                </a:path>
              </a:pathLst>
            </a:custGeom>
            <a:solidFill>
              <a:srgbClr val="EBEBE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2089;p56">
              <a:extLst>
                <a:ext uri="{FF2B5EF4-FFF2-40B4-BE49-F238E27FC236}">
                  <a16:creationId xmlns:a16="http://schemas.microsoft.com/office/drawing/2014/main" id="{6AB9BBCE-AA27-E0BD-29F0-D441E713BC28}"/>
                </a:ext>
              </a:extLst>
            </p:cNvPr>
            <p:cNvSpPr/>
            <p:nvPr/>
          </p:nvSpPr>
          <p:spPr>
            <a:xfrm flipH="1">
              <a:off x="6802335" y="4291740"/>
              <a:ext cx="3217372" cy="251898"/>
            </a:xfrm>
            <a:custGeom>
              <a:avLst/>
              <a:gdLst/>
              <a:ahLst/>
              <a:cxnLst/>
              <a:rect l="l" t="t" r="r" b="b"/>
              <a:pathLst>
                <a:path w="132963" h="10409" extrusionOk="0">
                  <a:moveTo>
                    <a:pt x="66481" y="1"/>
                  </a:moveTo>
                  <a:cubicBezTo>
                    <a:pt x="29755" y="1"/>
                    <a:pt x="1" y="2336"/>
                    <a:pt x="1" y="5204"/>
                  </a:cubicBezTo>
                  <a:cubicBezTo>
                    <a:pt x="1" y="8073"/>
                    <a:pt x="29755" y="10408"/>
                    <a:pt x="66481" y="10408"/>
                  </a:cubicBezTo>
                  <a:cubicBezTo>
                    <a:pt x="103208" y="10408"/>
                    <a:pt x="132962" y="8073"/>
                    <a:pt x="132962" y="5204"/>
                  </a:cubicBezTo>
                  <a:cubicBezTo>
                    <a:pt x="132962" y="2336"/>
                    <a:pt x="103208" y="1"/>
                    <a:pt x="66481" y="1"/>
                  </a:cubicBezTo>
                  <a:close/>
                </a:path>
              </a:pathLst>
            </a:custGeom>
            <a:solidFill>
              <a:srgbClr val="F5F5F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2090;p56">
              <a:extLst>
                <a:ext uri="{FF2B5EF4-FFF2-40B4-BE49-F238E27FC236}">
                  <a16:creationId xmlns:a16="http://schemas.microsoft.com/office/drawing/2014/main" id="{13AE6A1F-E1C0-ED6E-3217-B0DDEE2D8E37}"/>
                </a:ext>
              </a:extLst>
            </p:cNvPr>
            <p:cNvSpPr/>
            <p:nvPr/>
          </p:nvSpPr>
          <p:spPr>
            <a:xfrm flipH="1">
              <a:off x="6842486" y="1346512"/>
              <a:ext cx="3292070" cy="2020966"/>
            </a:xfrm>
            <a:custGeom>
              <a:avLst/>
              <a:gdLst/>
              <a:ahLst/>
              <a:cxnLst/>
              <a:rect l="l" t="t" r="r" b="b"/>
              <a:pathLst>
                <a:path w="136050" h="83511" extrusionOk="0">
                  <a:moveTo>
                    <a:pt x="133809" y="0"/>
                  </a:moveTo>
                  <a:cubicBezTo>
                    <a:pt x="133663" y="0"/>
                    <a:pt x="133514" y="17"/>
                    <a:pt x="133363" y="51"/>
                  </a:cubicBezTo>
                  <a:lnTo>
                    <a:pt x="104242" y="6789"/>
                  </a:lnTo>
                  <a:cubicBezTo>
                    <a:pt x="102774" y="7123"/>
                    <a:pt x="102240" y="8924"/>
                    <a:pt x="103274" y="10025"/>
                  </a:cubicBezTo>
                  <a:lnTo>
                    <a:pt x="107844" y="14762"/>
                  </a:lnTo>
                  <a:cubicBezTo>
                    <a:pt x="108578" y="15529"/>
                    <a:pt x="108545" y="16796"/>
                    <a:pt x="107744" y="17530"/>
                  </a:cubicBezTo>
                  <a:lnTo>
                    <a:pt x="77289" y="45150"/>
                  </a:lnTo>
                  <a:cubicBezTo>
                    <a:pt x="76930" y="45492"/>
                    <a:pt x="76474" y="45659"/>
                    <a:pt x="76016" y="45659"/>
                  </a:cubicBezTo>
                  <a:cubicBezTo>
                    <a:pt x="75581" y="45659"/>
                    <a:pt x="75145" y="45509"/>
                    <a:pt x="74787" y="45217"/>
                  </a:cubicBezTo>
                  <a:lnTo>
                    <a:pt x="50370" y="24902"/>
                  </a:lnTo>
                  <a:cubicBezTo>
                    <a:pt x="50013" y="24594"/>
                    <a:pt x="49576" y="24443"/>
                    <a:pt x="49142" y="24443"/>
                  </a:cubicBezTo>
                  <a:cubicBezTo>
                    <a:pt x="48684" y="24443"/>
                    <a:pt x="48228" y="24610"/>
                    <a:pt x="47868" y="24936"/>
                  </a:cubicBezTo>
                  <a:lnTo>
                    <a:pt x="2469" y="65164"/>
                  </a:lnTo>
                  <a:cubicBezTo>
                    <a:pt x="2102" y="65498"/>
                    <a:pt x="1869" y="65932"/>
                    <a:pt x="1835" y="66432"/>
                  </a:cubicBezTo>
                  <a:lnTo>
                    <a:pt x="1" y="83511"/>
                  </a:lnTo>
                  <a:lnTo>
                    <a:pt x="48135" y="40880"/>
                  </a:lnTo>
                  <a:cubicBezTo>
                    <a:pt x="48499" y="40551"/>
                    <a:pt x="48963" y="40383"/>
                    <a:pt x="49428" y="40383"/>
                  </a:cubicBezTo>
                  <a:cubicBezTo>
                    <a:pt x="49856" y="40383"/>
                    <a:pt x="50285" y="40526"/>
                    <a:pt x="50637" y="40814"/>
                  </a:cubicBezTo>
                  <a:lnTo>
                    <a:pt x="75121" y="61195"/>
                  </a:lnTo>
                  <a:cubicBezTo>
                    <a:pt x="75478" y="61487"/>
                    <a:pt x="75915" y="61637"/>
                    <a:pt x="76353" y="61637"/>
                  </a:cubicBezTo>
                  <a:cubicBezTo>
                    <a:pt x="76815" y="61637"/>
                    <a:pt x="77280" y="61471"/>
                    <a:pt x="77656" y="61128"/>
                  </a:cubicBezTo>
                  <a:lnTo>
                    <a:pt x="116217" y="26103"/>
                  </a:lnTo>
                  <a:cubicBezTo>
                    <a:pt x="116594" y="25773"/>
                    <a:pt x="117053" y="25613"/>
                    <a:pt x="117509" y="25613"/>
                  </a:cubicBezTo>
                  <a:cubicBezTo>
                    <a:pt x="118021" y="25613"/>
                    <a:pt x="118531" y="25815"/>
                    <a:pt x="118919" y="26203"/>
                  </a:cubicBezTo>
                  <a:lnTo>
                    <a:pt x="123522" y="30973"/>
                  </a:lnTo>
                  <a:cubicBezTo>
                    <a:pt x="123923" y="31387"/>
                    <a:pt x="124434" y="31580"/>
                    <a:pt x="124935" y="31580"/>
                  </a:cubicBezTo>
                  <a:cubicBezTo>
                    <a:pt x="125726" y="31580"/>
                    <a:pt x="126492" y="31097"/>
                    <a:pt x="126758" y="30239"/>
                  </a:cubicBezTo>
                  <a:lnTo>
                    <a:pt x="135631" y="2520"/>
                  </a:lnTo>
                  <a:cubicBezTo>
                    <a:pt x="136050" y="1233"/>
                    <a:pt x="135073" y="0"/>
                    <a:pt x="133809"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2091;p56">
              <a:extLst>
                <a:ext uri="{FF2B5EF4-FFF2-40B4-BE49-F238E27FC236}">
                  <a16:creationId xmlns:a16="http://schemas.microsoft.com/office/drawing/2014/main" id="{E5C379B4-264C-5463-42A9-ACC18C4FCCFE}"/>
                </a:ext>
              </a:extLst>
            </p:cNvPr>
            <p:cNvSpPr/>
            <p:nvPr/>
          </p:nvSpPr>
          <p:spPr>
            <a:xfrm flipH="1">
              <a:off x="8098643" y="4126260"/>
              <a:ext cx="860463" cy="195367"/>
            </a:xfrm>
            <a:custGeom>
              <a:avLst/>
              <a:gdLst/>
              <a:ahLst/>
              <a:cxnLst/>
              <a:rect l="l" t="t" r="r" b="b"/>
              <a:pathLst>
                <a:path w="35560" h="8073" extrusionOk="0">
                  <a:moveTo>
                    <a:pt x="1" y="0"/>
                  </a:moveTo>
                  <a:lnTo>
                    <a:pt x="1" y="8073"/>
                  </a:lnTo>
                  <a:lnTo>
                    <a:pt x="35560" y="8073"/>
                  </a:lnTo>
                  <a:lnTo>
                    <a:pt x="35560" y="0"/>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2092;p56">
              <a:extLst>
                <a:ext uri="{FF2B5EF4-FFF2-40B4-BE49-F238E27FC236}">
                  <a16:creationId xmlns:a16="http://schemas.microsoft.com/office/drawing/2014/main" id="{A066DF90-047E-50D4-855B-3747D188C407}"/>
                </a:ext>
              </a:extLst>
            </p:cNvPr>
            <p:cNvSpPr/>
            <p:nvPr/>
          </p:nvSpPr>
          <p:spPr>
            <a:xfrm flipH="1">
              <a:off x="8850096" y="4126260"/>
              <a:ext cx="23447" cy="195367"/>
            </a:xfrm>
            <a:custGeom>
              <a:avLst/>
              <a:gdLst/>
              <a:ahLst/>
              <a:cxnLst/>
              <a:rect l="l" t="t" r="r" b="b"/>
              <a:pathLst>
                <a:path w="969" h="8073" extrusionOk="0">
                  <a:moveTo>
                    <a:pt x="1" y="0"/>
                  </a:moveTo>
                  <a:lnTo>
                    <a:pt x="1" y="8073"/>
                  </a:lnTo>
                  <a:lnTo>
                    <a:pt x="968" y="8073"/>
                  </a:lnTo>
                  <a:lnTo>
                    <a:pt x="968" y="0"/>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2093;p56">
              <a:extLst>
                <a:ext uri="{FF2B5EF4-FFF2-40B4-BE49-F238E27FC236}">
                  <a16:creationId xmlns:a16="http://schemas.microsoft.com/office/drawing/2014/main" id="{5E2148B9-B7C6-9206-778B-57E095362329}"/>
                </a:ext>
              </a:extLst>
            </p:cNvPr>
            <p:cNvSpPr/>
            <p:nvPr/>
          </p:nvSpPr>
          <p:spPr>
            <a:xfrm flipH="1">
              <a:off x="8730658" y="4126260"/>
              <a:ext cx="23423" cy="195367"/>
            </a:xfrm>
            <a:custGeom>
              <a:avLst/>
              <a:gdLst/>
              <a:ahLst/>
              <a:cxnLst/>
              <a:rect l="l" t="t" r="r" b="b"/>
              <a:pathLst>
                <a:path w="968" h="8073" extrusionOk="0">
                  <a:moveTo>
                    <a:pt x="1" y="0"/>
                  </a:moveTo>
                  <a:lnTo>
                    <a:pt x="1" y="8073"/>
                  </a:lnTo>
                  <a:lnTo>
                    <a:pt x="968" y="8073"/>
                  </a:lnTo>
                  <a:lnTo>
                    <a:pt x="968" y="0"/>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2094;p56">
              <a:extLst>
                <a:ext uri="{FF2B5EF4-FFF2-40B4-BE49-F238E27FC236}">
                  <a16:creationId xmlns:a16="http://schemas.microsoft.com/office/drawing/2014/main" id="{FA999004-F6AE-861D-5963-FD29A20E6877}"/>
                </a:ext>
              </a:extLst>
            </p:cNvPr>
            <p:cNvSpPr/>
            <p:nvPr/>
          </p:nvSpPr>
          <p:spPr>
            <a:xfrm flipH="1">
              <a:off x="8611195" y="4126260"/>
              <a:ext cx="23423" cy="195367"/>
            </a:xfrm>
            <a:custGeom>
              <a:avLst/>
              <a:gdLst/>
              <a:ahLst/>
              <a:cxnLst/>
              <a:rect l="l" t="t" r="r" b="b"/>
              <a:pathLst>
                <a:path w="968" h="8073" extrusionOk="0">
                  <a:moveTo>
                    <a:pt x="0" y="0"/>
                  </a:moveTo>
                  <a:lnTo>
                    <a:pt x="0" y="8073"/>
                  </a:lnTo>
                  <a:lnTo>
                    <a:pt x="968" y="8073"/>
                  </a:lnTo>
                  <a:lnTo>
                    <a:pt x="968" y="134"/>
                  </a:lnTo>
                  <a:lnTo>
                    <a:pt x="0" y="0"/>
                  </a:ln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2095;p56">
              <a:extLst>
                <a:ext uri="{FF2B5EF4-FFF2-40B4-BE49-F238E27FC236}">
                  <a16:creationId xmlns:a16="http://schemas.microsoft.com/office/drawing/2014/main" id="{0B9EBE41-8037-3C0B-EE1E-115C58965862}"/>
                </a:ext>
              </a:extLst>
            </p:cNvPr>
            <p:cNvSpPr/>
            <p:nvPr/>
          </p:nvSpPr>
          <p:spPr>
            <a:xfrm flipH="1">
              <a:off x="8491731" y="4126260"/>
              <a:ext cx="22625" cy="195367"/>
            </a:xfrm>
            <a:custGeom>
              <a:avLst/>
              <a:gdLst/>
              <a:ahLst/>
              <a:cxnLst/>
              <a:rect l="l" t="t" r="r" b="b"/>
              <a:pathLst>
                <a:path w="935" h="8073" extrusionOk="0">
                  <a:moveTo>
                    <a:pt x="1" y="0"/>
                  </a:moveTo>
                  <a:lnTo>
                    <a:pt x="1" y="8073"/>
                  </a:lnTo>
                  <a:lnTo>
                    <a:pt x="935" y="8073"/>
                  </a:lnTo>
                  <a:lnTo>
                    <a:pt x="935" y="0"/>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2096;p56">
              <a:extLst>
                <a:ext uri="{FF2B5EF4-FFF2-40B4-BE49-F238E27FC236}">
                  <a16:creationId xmlns:a16="http://schemas.microsoft.com/office/drawing/2014/main" id="{3F1A03F0-1932-9CC1-7002-55DB28F101F7}"/>
                </a:ext>
              </a:extLst>
            </p:cNvPr>
            <p:cNvSpPr/>
            <p:nvPr/>
          </p:nvSpPr>
          <p:spPr>
            <a:xfrm flipH="1">
              <a:off x="8371470" y="4126260"/>
              <a:ext cx="23423" cy="195367"/>
            </a:xfrm>
            <a:custGeom>
              <a:avLst/>
              <a:gdLst/>
              <a:ahLst/>
              <a:cxnLst/>
              <a:rect l="l" t="t" r="r" b="b"/>
              <a:pathLst>
                <a:path w="968" h="8073" extrusionOk="0">
                  <a:moveTo>
                    <a:pt x="1" y="0"/>
                  </a:moveTo>
                  <a:lnTo>
                    <a:pt x="1" y="8073"/>
                  </a:lnTo>
                  <a:lnTo>
                    <a:pt x="968" y="8073"/>
                  </a:lnTo>
                  <a:lnTo>
                    <a:pt x="968" y="0"/>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2097;p56">
              <a:extLst>
                <a:ext uri="{FF2B5EF4-FFF2-40B4-BE49-F238E27FC236}">
                  <a16:creationId xmlns:a16="http://schemas.microsoft.com/office/drawing/2014/main" id="{684A4E6C-D80E-9AA2-4F1C-242BBE4BF53F}"/>
                </a:ext>
              </a:extLst>
            </p:cNvPr>
            <p:cNvSpPr/>
            <p:nvPr/>
          </p:nvSpPr>
          <p:spPr>
            <a:xfrm flipH="1">
              <a:off x="8252007" y="4126260"/>
              <a:ext cx="23423" cy="195367"/>
            </a:xfrm>
            <a:custGeom>
              <a:avLst/>
              <a:gdLst/>
              <a:ahLst/>
              <a:cxnLst/>
              <a:rect l="l" t="t" r="r" b="b"/>
              <a:pathLst>
                <a:path w="968" h="8073" extrusionOk="0">
                  <a:moveTo>
                    <a:pt x="0" y="0"/>
                  </a:moveTo>
                  <a:lnTo>
                    <a:pt x="0" y="8073"/>
                  </a:lnTo>
                  <a:lnTo>
                    <a:pt x="968" y="8073"/>
                  </a:lnTo>
                  <a:lnTo>
                    <a:pt x="968" y="0"/>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2098;p56">
              <a:extLst>
                <a:ext uri="{FF2B5EF4-FFF2-40B4-BE49-F238E27FC236}">
                  <a16:creationId xmlns:a16="http://schemas.microsoft.com/office/drawing/2014/main" id="{9030DFA9-A34B-427A-4AC6-76E90DA207D3}"/>
                </a:ext>
              </a:extLst>
            </p:cNvPr>
            <p:cNvSpPr/>
            <p:nvPr/>
          </p:nvSpPr>
          <p:spPr>
            <a:xfrm flipH="1">
              <a:off x="8131745" y="4126260"/>
              <a:ext cx="23423" cy="195367"/>
            </a:xfrm>
            <a:custGeom>
              <a:avLst/>
              <a:gdLst/>
              <a:ahLst/>
              <a:cxnLst/>
              <a:rect l="l" t="t" r="r" b="b"/>
              <a:pathLst>
                <a:path w="968" h="8073" extrusionOk="0">
                  <a:moveTo>
                    <a:pt x="1" y="0"/>
                  </a:moveTo>
                  <a:lnTo>
                    <a:pt x="1" y="8073"/>
                  </a:lnTo>
                  <a:lnTo>
                    <a:pt x="968" y="8073"/>
                  </a:lnTo>
                  <a:lnTo>
                    <a:pt x="968" y="0"/>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2099;p56">
              <a:extLst>
                <a:ext uri="{FF2B5EF4-FFF2-40B4-BE49-F238E27FC236}">
                  <a16:creationId xmlns:a16="http://schemas.microsoft.com/office/drawing/2014/main" id="{16445DC8-9976-3B44-A10D-51094276422B}"/>
                </a:ext>
              </a:extLst>
            </p:cNvPr>
            <p:cNvSpPr/>
            <p:nvPr/>
          </p:nvSpPr>
          <p:spPr>
            <a:xfrm flipH="1">
              <a:off x="8098643" y="4126260"/>
              <a:ext cx="860463" cy="40390"/>
            </a:xfrm>
            <a:custGeom>
              <a:avLst/>
              <a:gdLst/>
              <a:ahLst/>
              <a:cxnLst/>
              <a:rect l="l" t="t" r="r" b="b"/>
              <a:pathLst>
                <a:path w="35560" h="1669" extrusionOk="0">
                  <a:moveTo>
                    <a:pt x="1" y="0"/>
                  </a:moveTo>
                  <a:lnTo>
                    <a:pt x="1" y="1668"/>
                  </a:lnTo>
                  <a:lnTo>
                    <a:pt x="35560" y="1668"/>
                  </a:lnTo>
                  <a:lnTo>
                    <a:pt x="35560" y="0"/>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2100;p56">
              <a:extLst>
                <a:ext uri="{FF2B5EF4-FFF2-40B4-BE49-F238E27FC236}">
                  <a16:creationId xmlns:a16="http://schemas.microsoft.com/office/drawing/2014/main" id="{64DCDA2B-6D19-2E87-05EC-B68F215DD136}"/>
                </a:ext>
              </a:extLst>
            </p:cNvPr>
            <p:cNvSpPr/>
            <p:nvPr/>
          </p:nvSpPr>
          <p:spPr>
            <a:xfrm flipH="1">
              <a:off x="7964661" y="3930894"/>
              <a:ext cx="860439" cy="195391"/>
            </a:xfrm>
            <a:custGeom>
              <a:avLst/>
              <a:gdLst/>
              <a:ahLst/>
              <a:cxnLst/>
              <a:rect l="l" t="t" r="r" b="b"/>
              <a:pathLst>
                <a:path w="35559" h="8074" extrusionOk="0">
                  <a:moveTo>
                    <a:pt x="0" y="1"/>
                  </a:moveTo>
                  <a:lnTo>
                    <a:pt x="0" y="8073"/>
                  </a:lnTo>
                  <a:lnTo>
                    <a:pt x="35559" y="8073"/>
                  </a:lnTo>
                  <a:lnTo>
                    <a:pt x="35559" y="1"/>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2101;p56">
              <a:extLst>
                <a:ext uri="{FF2B5EF4-FFF2-40B4-BE49-F238E27FC236}">
                  <a16:creationId xmlns:a16="http://schemas.microsoft.com/office/drawing/2014/main" id="{C85C0158-E1B3-FDDD-5C24-0CE4041F201C}"/>
                </a:ext>
              </a:extLst>
            </p:cNvPr>
            <p:cNvSpPr/>
            <p:nvPr/>
          </p:nvSpPr>
          <p:spPr>
            <a:xfrm flipH="1">
              <a:off x="8716115" y="3930894"/>
              <a:ext cx="23423" cy="195391"/>
            </a:xfrm>
            <a:custGeom>
              <a:avLst/>
              <a:gdLst/>
              <a:ahLst/>
              <a:cxnLst/>
              <a:rect l="l" t="t" r="r" b="b"/>
              <a:pathLst>
                <a:path w="968" h="8074" extrusionOk="0">
                  <a:moveTo>
                    <a:pt x="0" y="1"/>
                  </a:moveTo>
                  <a:lnTo>
                    <a:pt x="0" y="8073"/>
                  </a:lnTo>
                  <a:lnTo>
                    <a:pt x="967" y="8073"/>
                  </a:lnTo>
                  <a:lnTo>
                    <a:pt x="967" y="1"/>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2102;p56">
              <a:extLst>
                <a:ext uri="{FF2B5EF4-FFF2-40B4-BE49-F238E27FC236}">
                  <a16:creationId xmlns:a16="http://schemas.microsoft.com/office/drawing/2014/main" id="{145179EF-C299-451A-6920-297CC600F26F}"/>
                </a:ext>
              </a:extLst>
            </p:cNvPr>
            <p:cNvSpPr/>
            <p:nvPr/>
          </p:nvSpPr>
          <p:spPr>
            <a:xfrm flipH="1">
              <a:off x="8596652" y="3930894"/>
              <a:ext cx="23447" cy="195391"/>
            </a:xfrm>
            <a:custGeom>
              <a:avLst/>
              <a:gdLst/>
              <a:ahLst/>
              <a:cxnLst/>
              <a:rect l="l" t="t" r="r" b="b"/>
              <a:pathLst>
                <a:path w="969" h="8074" extrusionOk="0">
                  <a:moveTo>
                    <a:pt x="1" y="1"/>
                  </a:moveTo>
                  <a:lnTo>
                    <a:pt x="1" y="8073"/>
                  </a:lnTo>
                  <a:lnTo>
                    <a:pt x="968" y="8073"/>
                  </a:lnTo>
                  <a:lnTo>
                    <a:pt x="968" y="1"/>
                  </a:ln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2103;p56">
              <a:extLst>
                <a:ext uri="{FF2B5EF4-FFF2-40B4-BE49-F238E27FC236}">
                  <a16:creationId xmlns:a16="http://schemas.microsoft.com/office/drawing/2014/main" id="{E5B7D8A3-82E0-F8A6-4F15-1724AE94B626}"/>
                </a:ext>
              </a:extLst>
            </p:cNvPr>
            <p:cNvSpPr/>
            <p:nvPr/>
          </p:nvSpPr>
          <p:spPr>
            <a:xfrm flipH="1">
              <a:off x="8477189" y="3930894"/>
              <a:ext cx="22625" cy="195391"/>
            </a:xfrm>
            <a:custGeom>
              <a:avLst/>
              <a:gdLst/>
              <a:ahLst/>
              <a:cxnLst/>
              <a:rect l="l" t="t" r="r" b="b"/>
              <a:pathLst>
                <a:path w="935" h="8074" extrusionOk="0">
                  <a:moveTo>
                    <a:pt x="0" y="1"/>
                  </a:moveTo>
                  <a:lnTo>
                    <a:pt x="0" y="8073"/>
                  </a:lnTo>
                  <a:lnTo>
                    <a:pt x="934" y="8073"/>
                  </a:lnTo>
                  <a:lnTo>
                    <a:pt x="934" y="1"/>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2104;p56">
              <a:extLst>
                <a:ext uri="{FF2B5EF4-FFF2-40B4-BE49-F238E27FC236}">
                  <a16:creationId xmlns:a16="http://schemas.microsoft.com/office/drawing/2014/main" id="{9BB9AF4D-5D46-1B8B-07B3-F34E9EC1A361}"/>
                </a:ext>
              </a:extLst>
            </p:cNvPr>
            <p:cNvSpPr/>
            <p:nvPr/>
          </p:nvSpPr>
          <p:spPr>
            <a:xfrm flipH="1">
              <a:off x="8356927" y="3930894"/>
              <a:ext cx="23447" cy="195391"/>
            </a:xfrm>
            <a:custGeom>
              <a:avLst/>
              <a:gdLst/>
              <a:ahLst/>
              <a:cxnLst/>
              <a:rect l="l" t="t" r="r" b="b"/>
              <a:pathLst>
                <a:path w="969" h="8074" extrusionOk="0">
                  <a:moveTo>
                    <a:pt x="1" y="1"/>
                  </a:moveTo>
                  <a:lnTo>
                    <a:pt x="1" y="8073"/>
                  </a:lnTo>
                  <a:lnTo>
                    <a:pt x="968" y="8073"/>
                  </a:lnTo>
                  <a:lnTo>
                    <a:pt x="968" y="1"/>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2105;p56">
              <a:extLst>
                <a:ext uri="{FF2B5EF4-FFF2-40B4-BE49-F238E27FC236}">
                  <a16:creationId xmlns:a16="http://schemas.microsoft.com/office/drawing/2014/main" id="{6D522DB6-86CE-F6A2-B83E-F57E31EFB96F}"/>
                </a:ext>
              </a:extLst>
            </p:cNvPr>
            <p:cNvSpPr/>
            <p:nvPr/>
          </p:nvSpPr>
          <p:spPr>
            <a:xfrm flipH="1">
              <a:off x="8237464" y="3930894"/>
              <a:ext cx="23447" cy="195391"/>
            </a:xfrm>
            <a:custGeom>
              <a:avLst/>
              <a:gdLst/>
              <a:ahLst/>
              <a:cxnLst/>
              <a:rect l="l" t="t" r="r" b="b"/>
              <a:pathLst>
                <a:path w="969" h="8074" extrusionOk="0">
                  <a:moveTo>
                    <a:pt x="1" y="1"/>
                  </a:moveTo>
                  <a:lnTo>
                    <a:pt x="1" y="8073"/>
                  </a:lnTo>
                  <a:lnTo>
                    <a:pt x="968" y="8073"/>
                  </a:lnTo>
                  <a:lnTo>
                    <a:pt x="968" y="1"/>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2106;p56">
              <a:extLst>
                <a:ext uri="{FF2B5EF4-FFF2-40B4-BE49-F238E27FC236}">
                  <a16:creationId xmlns:a16="http://schemas.microsoft.com/office/drawing/2014/main" id="{3EE0C9FB-349A-07E4-FA96-543AB608F67A}"/>
                </a:ext>
              </a:extLst>
            </p:cNvPr>
            <p:cNvSpPr/>
            <p:nvPr/>
          </p:nvSpPr>
          <p:spPr>
            <a:xfrm flipH="1">
              <a:off x="8118001" y="3930894"/>
              <a:ext cx="23447" cy="195391"/>
            </a:xfrm>
            <a:custGeom>
              <a:avLst/>
              <a:gdLst/>
              <a:ahLst/>
              <a:cxnLst/>
              <a:rect l="l" t="t" r="r" b="b"/>
              <a:pathLst>
                <a:path w="969" h="8074" extrusionOk="0">
                  <a:moveTo>
                    <a:pt x="1" y="1"/>
                  </a:moveTo>
                  <a:lnTo>
                    <a:pt x="1" y="8073"/>
                  </a:lnTo>
                  <a:lnTo>
                    <a:pt x="968" y="8073"/>
                  </a:lnTo>
                  <a:lnTo>
                    <a:pt x="968" y="1"/>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107;p56">
              <a:extLst>
                <a:ext uri="{FF2B5EF4-FFF2-40B4-BE49-F238E27FC236}">
                  <a16:creationId xmlns:a16="http://schemas.microsoft.com/office/drawing/2014/main" id="{8F1A715B-326D-FD24-5F57-CD62FEDEB26F}"/>
                </a:ext>
              </a:extLst>
            </p:cNvPr>
            <p:cNvSpPr/>
            <p:nvPr/>
          </p:nvSpPr>
          <p:spPr>
            <a:xfrm flipH="1">
              <a:off x="7997739" y="3930894"/>
              <a:ext cx="23447" cy="195391"/>
            </a:xfrm>
            <a:custGeom>
              <a:avLst/>
              <a:gdLst/>
              <a:ahLst/>
              <a:cxnLst/>
              <a:rect l="l" t="t" r="r" b="b"/>
              <a:pathLst>
                <a:path w="969" h="8074" extrusionOk="0">
                  <a:moveTo>
                    <a:pt x="1" y="1"/>
                  </a:moveTo>
                  <a:lnTo>
                    <a:pt x="1" y="8073"/>
                  </a:lnTo>
                  <a:lnTo>
                    <a:pt x="968" y="8073"/>
                  </a:lnTo>
                  <a:lnTo>
                    <a:pt x="968" y="1"/>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108;p56">
              <a:extLst>
                <a:ext uri="{FF2B5EF4-FFF2-40B4-BE49-F238E27FC236}">
                  <a16:creationId xmlns:a16="http://schemas.microsoft.com/office/drawing/2014/main" id="{0157214F-FD7F-E52E-EC3A-489B3AF43041}"/>
                </a:ext>
              </a:extLst>
            </p:cNvPr>
            <p:cNvSpPr/>
            <p:nvPr/>
          </p:nvSpPr>
          <p:spPr>
            <a:xfrm flipH="1">
              <a:off x="7964661" y="3930894"/>
              <a:ext cx="860439" cy="40390"/>
            </a:xfrm>
            <a:custGeom>
              <a:avLst/>
              <a:gdLst/>
              <a:ahLst/>
              <a:cxnLst/>
              <a:rect l="l" t="t" r="r" b="b"/>
              <a:pathLst>
                <a:path w="35559" h="1669" extrusionOk="0">
                  <a:moveTo>
                    <a:pt x="0" y="1"/>
                  </a:moveTo>
                  <a:lnTo>
                    <a:pt x="0" y="1669"/>
                  </a:lnTo>
                  <a:lnTo>
                    <a:pt x="35559" y="1669"/>
                  </a:lnTo>
                  <a:lnTo>
                    <a:pt x="35559" y="1"/>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109;p56">
              <a:extLst>
                <a:ext uri="{FF2B5EF4-FFF2-40B4-BE49-F238E27FC236}">
                  <a16:creationId xmlns:a16="http://schemas.microsoft.com/office/drawing/2014/main" id="{397D3407-6662-2C6D-D76D-079D48AD9BF4}"/>
                </a:ext>
              </a:extLst>
            </p:cNvPr>
            <p:cNvSpPr/>
            <p:nvPr/>
          </p:nvSpPr>
          <p:spPr>
            <a:xfrm flipH="1">
              <a:off x="8084100" y="3735551"/>
              <a:ext cx="860463" cy="195367"/>
            </a:xfrm>
            <a:custGeom>
              <a:avLst/>
              <a:gdLst/>
              <a:ahLst/>
              <a:cxnLst/>
              <a:rect l="l" t="t" r="r" b="b"/>
              <a:pathLst>
                <a:path w="35560" h="8073" extrusionOk="0">
                  <a:moveTo>
                    <a:pt x="0" y="0"/>
                  </a:moveTo>
                  <a:lnTo>
                    <a:pt x="0" y="8073"/>
                  </a:lnTo>
                  <a:lnTo>
                    <a:pt x="35559" y="8073"/>
                  </a:lnTo>
                  <a:lnTo>
                    <a:pt x="35559" y="0"/>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2110;p56">
              <a:extLst>
                <a:ext uri="{FF2B5EF4-FFF2-40B4-BE49-F238E27FC236}">
                  <a16:creationId xmlns:a16="http://schemas.microsoft.com/office/drawing/2014/main" id="{4094DF54-8BB9-AD32-7F5D-52B41631F717}"/>
                </a:ext>
              </a:extLst>
            </p:cNvPr>
            <p:cNvSpPr/>
            <p:nvPr/>
          </p:nvSpPr>
          <p:spPr>
            <a:xfrm flipH="1">
              <a:off x="8836376" y="3735551"/>
              <a:ext cx="22625" cy="195367"/>
            </a:xfrm>
            <a:custGeom>
              <a:avLst/>
              <a:gdLst/>
              <a:ahLst/>
              <a:cxnLst/>
              <a:rect l="l" t="t" r="r" b="b"/>
              <a:pathLst>
                <a:path w="935" h="8073" extrusionOk="0">
                  <a:moveTo>
                    <a:pt x="0" y="0"/>
                  </a:moveTo>
                  <a:lnTo>
                    <a:pt x="0" y="8073"/>
                  </a:lnTo>
                  <a:lnTo>
                    <a:pt x="934" y="8073"/>
                  </a:lnTo>
                  <a:lnTo>
                    <a:pt x="934" y="0"/>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2111;p56">
              <a:extLst>
                <a:ext uri="{FF2B5EF4-FFF2-40B4-BE49-F238E27FC236}">
                  <a16:creationId xmlns:a16="http://schemas.microsoft.com/office/drawing/2014/main" id="{C659F923-AA21-8D4B-6CDB-6DC404849A29}"/>
                </a:ext>
              </a:extLst>
            </p:cNvPr>
            <p:cNvSpPr/>
            <p:nvPr/>
          </p:nvSpPr>
          <p:spPr>
            <a:xfrm flipH="1">
              <a:off x="8716115" y="3735551"/>
              <a:ext cx="23423" cy="195367"/>
            </a:xfrm>
            <a:custGeom>
              <a:avLst/>
              <a:gdLst/>
              <a:ahLst/>
              <a:cxnLst/>
              <a:rect l="l" t="t" r="r" b="b"/>
              <a:pathLst>
                <a:path w="968" h="8073" extrusionOk="0">
                  <a:moveTo>
                    <a:pt x="0" y="0"/>
                  </a:moveTo>
                  <a:lnTo>
                    <a:pt x="0" y="8073"/>
                  </a:lnTo>
                  <a:lnTo>
                    <a:pt x="967" y="8073"/>
                  </a:lnTo>
                  <a:lnTo>
                    <a:pt x="967" y="0"/>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2112;p56">
              <a:extLst>
                <a:ext uri="{FF2B5EF4-FFF2-40B4-BE49-F238E27FC236}">
                  <a16:creationId xmlns:a16="http://schemas.microsoft.com/office/drawing/2014/main" id="{E6E9D12A-395D-E7A5-6A36-1BDFF2848614}"/>
                </a:ext>
              </a:extLst>
            </p:cNvPr>
            <p:cNvSpPr/>
            <p:nvPr/>
          </p:nvSpPr>
          <p:spPr>
            <a:xfrm flipH="1">
              <a:off x="8596652" y="3735551"/>
              <a:ext cx="23447" cy="195367"/>
            </a:xfrm>
            <a:custGeom>
              <a:avLst/>
              <a:gdLst/>
              <a:ahLst/>
              <a:cxnLst/>
              <a:rect l="l" t="t" r="r" b="b"/>
              <a:pathLst>
                <a:path w="969" h="8073" extrusionOk="0">
                  <a:moveTo>
                    <a:pt x="1" y="0"/>
                  </a:moveTo>
                  <a:lnTo>
                    <a:pt x="1" y="8073"/>
                  </a:lnTo>
                  <a:lnTo>
                    <a:pt x="968" y="8073"/>
                  </a:lnTo>
                  <a:lnTo>
                    <a:pt x="968" y="0"/>
                  </a:ln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2113;p56">
              <a:extLst>
                <a:ext uri="{FF2B5EF4-FFF2-40B4-BE49-F238E27FC236}">
                  <a16:creationId xmlns:a16="http://schemas.microsoft.com/office/drawing/2014/main" id="{B9501460-9B6D-FC6C-5F7F-DDE44834A851}"/>
                </a:ext>
              </a:extLst>
            </p:cNvPr>
            <p:cNvSpPr/>
            <p:nvPr/>
          </p:nvSpPr>
          <p:spPr>
            <a:xfrm flipH="1">
              <a:off x="8477189" y="3735551"/>
              <a:ext cx="22625" cy="195367"/>
            </a:xfrm>
            <a:custGeom>
              <a:avLst/>
              <a:gdLst/>
              <a:ahLst/>
              <a:cxnLst/>
              <a:rect l="l" t="t" r="r" b="b"/>
              <a:pathLst>
                <a:path w="935" h="8073" extrusionOk="0">
                  <a:moveTo>
                    <a:pt x="0" y="0"/>
                  </a:moveTo>
                  <a:lnTo>
                    <a:pt x="0" y="8073"/>
                  </a:lnTo>
                  <a:lnTo>
                    <a:pt x="934" y="8073"/>
                  </a:lnTo>
                  <a:lnTo>
                    <a:pt x="934" y="0"/>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114;p56">
              <a:extLst>
                <a:ext uri="{FF2B5EF4-FFF2-40B4-BE49-F238E27FC236}">
                  <a16:creationId xmlns:a16="http://schemas.microsoft.com/office/drawing/2014/main" id="{3DF17AB6-A093-DB6A-4620-A4BDF926C37A}"/>
                </a:ext>
              </a:extLst>
            </p:cNvPr>
            <p:cNvSpPr/>
            <p:nvPr/>
          </p:nvSpPr>
          <p:spPr>
            <a:xfrm flipH="1">
              <a:off x="8356927" y="3735551"/>
              <a:ext cx="23447" cy="195367"/>
            </a:xfrm>
            <a:custGeom>
              <a:avLst/>
              <a:gdLst/>
              <a:ahLst/>
              <a:cxnLst/>
              <a:rect l="l" t="t" r="r" b="b"/>
              <a:pathLst>
                <a:path w="969" h="8073" extrusionOk="0">
                  <a:moveTo>
                    <a:pt x="1" y="0"/>
                  </a:moveTo>
                  <a:lnTo>
                    <a:pt x="1" y="8073"/>
                  </a:lnTo>
                  <a:lnTo>
                    <a:pt x="968" y="8073"/>
                  </a:lnTo>
                  <a:lnTo>
                    <a:pt x="968" y="0"/>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115;p56">
              <a:extLst>
                <a:ext uri="{FF2B5EF4-FFF2-40B4-BE49-F238E27FC236}">
                  <a16:creationId xmlns:a16="http://schemas.microsoft.com/office/drawing/2014/main" id="{E652EA97-0586-8CB5-D66E-6B7B0B9524A0}"/>
                </a:ext>
              </a:extLst>
            </p:cNvPr>
            <p:cNvSpPr/>
            <p:nvPr/>
          </p:nvSpPr>
          <p:spPr>
            <a:xfrm flipH="1">
              <a:off x="8237464" y="3735551"/>
              <a:ext cx="23447" cy="195367"/>
            </a:xfrm>
            <a:custGeom>
              <a:avLst/>
              <a:gdLst/>
              <a:ahLst/>
              <a:cxnLst/>
              <a:rect l="l" t="t" r="r" b="b"/>
              <a:pathLst>
                <a:path w="969" h="8073" extrusionOk="0">
                  <a:moveTo>
                    <a:pt x="1" y="0"/>
                  </a:moveTo>
                  <a:lnTo>
                    <a:pt x="1" y="8073"/>
                  </a:lnTo>
                  <a:lnTo>
                    <a:pt x="968" y="8073"/>
                  </a:lnTo>
                  <a:lnTo>
                    <a:pt x="968" y="0"/>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116;p56">
              <a:extLst>
                <a:ext uri="{FF2B5EF4-FFF2-40B4-BE49-F238E27FC236}">
                  <a16:creationId xmlns:a16="http://schemas.microsoft.com/office/drawing/2014/main" id="{3A03A29A-A53A-B3A0-B25F-DE661E024B59}"/>
                </a:ext>
              </a:extLst>
            </p:cNvPr>
            <p:cNvSpPr/>
            <p:nvPr/>
          </p:nvSpPr>
          <p:spPr>
            <a:xfrm flipH="1">
              <a:off x="8118001" y="3735551"/>
              <a:ext cx="23447" cy="195367"/>
            </a:xfrm>
            <a:custGeom>
              <a:avLst/>
              <a:gdLst/>
              <a:ahLst/>
              <a:cxnLst/>
              <a:rect l="l" t="t" r="r" b="b"/>
              <a:pathLst>
                <a:path w="969" h="8073" extrusionOk="0">
                  <a:moveTo>
                    <a:pt x="1" y="0"/>
                  </a:moveTo>
                  <a:lnTo>
                    <a:pt x="1" y="8073"/>
                  </a:lnTo>
                  <a:lnTo>
                    <a:pt x="968" y="8073"/>
                  </a:lnTo>
                  <a:lnTo>
                    <a:pt x="968" y="0"/>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117;p56">
              <a:extLst>
                <a:ext uri="{FF2B5EF4-FFF2-40B4-BE49-F238E27FC236}">
                  <a16:creationId xmlns:a16="http://schemas.microsoft.com/office/drawing/2014/main" id="{482EF256-8472-242B-644F-3E2AA0BDBA37}"/>
                </a:ext>
              </a:extLst>
            </p:cNvPr>
            <p:cNvSpPr/>
            <p:nvPr/>
          </p:nvSpPr>
          <p:spPr>
            <a:xfrm flipH="1">
              <a:off x="8084100" y="3735551"/>
              <a:ext cx="860463" cy="47650"/>
            </a:xfrm>
            <a:custGeom>
              <a:avLst/>
              <a:gdLst/>
              <a:ahLst/>
              <a:cxnLst/>
              <a:rect l="l" t="t" r="r" b="b"/>
              <a:pathLst>
                <a:path w="35560" h="1969" extrusionOk="0">
                  <a:moveTo>
                    <a:pt x="0" y="0"/>
                  </a:moveTo>
                  <a:lnTo>
                    <a:pt x="0" y="1969"/>
                  </a:lnTo>
                  <a:lnTo>
                    <a:pt x="35559" y="1969"/>
                  </a:lnTo>
                  <a:lnTo>
                    <a:pt x="35559" y="0"/>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118;p56">
              <a:extLst>
                <a:ext uri="{FF2B5EF4-FFF2-40B4-BE49-F238E27FC236}">
                  <a16:creationId xmlns:a16="http://schemas.microsoft.com/office/drawing/2014/main" id="{9CDB00D9-E3E2-0AD9-19AA-35A98138640A}"/>
                </a:ext>
              </a:extLst>
            </p:cNvPr>
            <p:cNvSpPr/>
            <p:nvPr/>
          </p:nvSpPr>
          <p:spPr>
            <a:xfrm flipH="1">
              <a:off x="7964661" y="3540209"/>
              <a:ext cx="860439" cy="195367"/>
            </a:xfrm>
            <a:custGeom>
              <a:avLst/>
              <a:gdLst/>
              <a:ahLst/>
              <a:cxnLst/>
              <a:rect l="l" t="t" r="r" b="b"/>
              <a:pathLst>
                <a:path w="35559" h="8073" extrusionOk="0">
                  <a:moveTo>
                    <a:pt x="0" y="0"/>
                  </a:moveTo>
                  <a:lnTo>
                    <a:pt x="0" y="8072"/>
                  </a:lnTo>
                  <a:lnTo>
                    <a:pt x="35559" y="8072"/>
                  </a:lnTo>
                  <a:lnTo>
                    <a:pt x="35559" y="0"/>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119;p56">
              <a:extLst>
                <a:ext uri="{FF2B5EF4-FFF2-40B4-BE49-F238E27FC236}">
                  <a16:creationId xmlns:a16="http://schemas.microsoft.com/office/drawing/2014/main" id="{2569E7AA-3C90-5D75-4DF7-963E704E2450}"/>
                </a:ext>
              </a:extLst>
            </p:cNvPr>
            <p:cNvSpPr/>
            <p:nvPr/>
          </p:nvSpPr>
          <p:spPr>
            <a:xfrm flipH="1">
              <a:off x="8716115" y="3540209"/>
              <a:ext cx="23423" cy="195367"/>
            </a:xfrm>
            <a:custGeom>
              <a:avLst/>
              <a:gdLst/>
              <a:ahLst/>
              <a:cxnLst/>
              <a:rect l="l" t="t" r="r" b="b"/>
              <a:pathLst>
                <a:path w="968" h="8073" extrusionOk="0">
                  <a:moveTo>
                    <a:pt x="0" y="0"/>
                  </a:moveTo>
                  <a:lnTo>
                    <a:pt x="0" y="8072"/>
                  </a:lnTo>
                  <a:lnTo>
                    <a:pt x="967" y="8072"/>
                  </a:lnTo>
                  <a:lnTo>
                    <a:pt x="967" y="0"/>
                  </a:ln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120;p56">
              <a:extLst>
                <a:ext uri="{FF2B5EF4-FFF2-40B4-BE49-F238E27FC236}">
                  <a16:creationId xmlns:a16="http://schemas.microsoft.com/office/drawing/2014/main" id="{AAAFC1C2-FC60-1CBA-8EE7-ABA9FFD38D5B}"/>
                </a:ext>
              </a:extLst>
            </p:cNvPr>
            <p:cNvSpPr/>
            <p:nvPr/>
          </p:nvSpPr>
          <p:spPr>
            <a:xfrm flipH="1">
              <a:off x="8596652" y="3540209"/>
              <a:ext cx="23447" cy="195367"/>
            </a:xfrm>
            <a:custGeom>
              <a:avLst/>
              <a:gdLst/>
              <a:ahLst/>
              <a:cxnLst/>
              <a:rect l="l" t="t" r="r" b="b"/>
              <a:pathLst>
                <a:path w="969" h="8073" extrusionOk="0">
                  <a:moveTo>
                    <a:pt x="1" y="0"/>
                  </a:moveTo>
                  <a:lnTo>
                    <a:pt x="1" y="8072"/>
                  </a:lnTo>
                  <a:lnTo>
                    <a:pt x="968" y="8072"/>
                  </a:lnTo>
                  <a:lnTo>
                    <a:pt x="968" y="0"/>
                  </a:ln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121;p56">
              <a:extLst>
                <a:ext uri="{FF2B5EF4-FFF2-40B4-BE49-F238E27FC236}">
                  <a16:creationId xmlns:a16="http://schemas.microsoft.com/office/drawing/2014/main" id="{5FE4CEE7-8FD9-72D9-D4A3-2EFE77B362A5}"/>
                </a:ext>
              </a:extLst>
            </p:cNvPr>
            <p:cNvSpPr/>
            <p:nvPr/>
          </p:nvSpPr>
          <p:spPr>
            <a:xfrm flipH="1">
              <a:off x="8477189" y="3540209"/>
              <a:ext cx="22625" cy="195367"/>
            </a:xfrm>
            <a:custGeom>
              <a:avLst/>
              <a:gdLst/>
              <a:ahLst/>
              <a:cxnLst/>
              <a:rect l="l" t="t" r="r" b="b"/>
              <a:pathLst>
                <a:path w="935" h="8073" extrusionOk="0">
                  <a:moveTo>
                    <a:pt x="0" y="0"/>
                  </a:moveTo>
                  <a:lnTo>
                    <a:pt x="0" y="8072"/>
                  </a:lnTo>
                  <a:lnTo>
                    <a:pt x="934" y="8072"/>
                  </a:lnTo>
                  <a:lnTo>
                    <a:pt x="934" y="0"/>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122;p56">
              <a:extLst>
                <a:ext uri="{FF2B5EF4-FFF2-40B4-BE49-F238E27FC236}">
                  <a16:creationId xmlns:a16="http://schemas.microsoft.com/office/drawing/2014/main" id="{60B7164E-B691-7AA5-C546-A561E03BCE35}"/>
                </a:ext>
              </a:extLst>
            </p:cNvPr>
            <p:cNvSpPr/>
            <p:nvPr/>
          </p:nvSpPr>
          <p:spPr>
            <a:xfrm flipH="1">
              <a:off x="8356927" y="3540209"/>
              <a:ext cx="23447" cy="195367"/>
            </a:xfrm>
            <a:custGeom>
              <a:avLst/>
              <a:gdLst/>
              <a:ahLst/>
              <a:cxnLst/>
              <a:rect l="l" t="t" r="r" b="b"/>
              <a:pathLst>
                <a:path w="969" h="8073" extrusionOk="0">
                  <a:moveTo>
                    <a:pt x="1" y="0"/>
                  </a:moveTo>
                  <a:lnTo>
                    <a:pt x="1" y="8072"/>
                  </a:lnTo>
                  <a:lnTo>
                    <a:pt x="968" y="8072"/>
                  </a:lnTo>
                  <a:lnTo>
                    <a:pt x="968" y="0"/>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123;p56">
              <a:extLst>
                <a:ext uri="{FF2B5EF4-FFF2-40B4-BE49-F238E27FC236}">
                  <a16:creationId xmlns:a16="http://schemas.microsoft.com/office/drawing/2014/main" id="{17B8BC96-C24F-9903-FAAD-69DCF1040999}"/>
                </a:ext>
              </a:extLst>
            </p:cNvPr>
            <p:cNvSpPr/>
            <p:nvPr/>
          </p:nvSpPr>
          <p:spPr>
            <a:xfrm flipH="1">
              <a:off x="8237464" y="3540209"/>
              <a:ext cx="23447" cy="195367"/>
            </a:xfrm>
            <a:custGeom>
              <a:avLst/>
              <a:gdLst/>
              <a:ahLst/>
              <a:cxnLst/>
              <a:rect l="l" t="t" r="r" b="b"/>
              <a:pathLst>
                <a:path w="969" h="8073" extrusionOk="0">
                  <a:moveTo>
                    <a:pt x="1" y="0"/>
                  </a:moveTo>
                  <a:lnTo>
                    <a:pt x="1" y="8072"/>
                  </a:lnTo>
                  <a:lnTo>
                    <a:pt x="968" y="8072"/>
                  </a:lnTo>
                  <a:lnTo>
                    <a:pt x="968" y="0"/>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124;p56">
              <a:extLst>
                <a:ext uri="{FF2B5EF4-FFF2-40B4-BE49-F238E27FC236}">
                  <a16:creationId xmlns:a16="http://schemas.microsoft.com/office/drawing/2014/main" id="{84F6B7DA-1EFB-2899-A30F-FCE5DA634F4F}"/>
                </a:ext>
              </a:extLst>
            </p:cNvPr>
            <p:cNvSpPr/>
            <p:nvPr/>
          </p:nvSpPr>
          <p:spPr>
            <a:xfrm flipH="1">
              <a:off x="8118001" y="3540209"/>
              <a:ext cx="22625" cy="195367"/>
            </a:xfrm>
            <a:custGeom>
              <a:avLst/>
              <a:gdLst/>
              <a:ahLst/>
              <a:cxnLst/>
              <a:rect l="l" t="t" r="r" b="b"/>
              <a:pathLst>
                <a:path w="935" h="8073" extrusionOk="0">
                  <a:moveTo>
                    <a:pt x="0" y="0"/>
                  </a:moveTo>
                  <a:lnTo>
                    <a:pt x="0" y="8072"/>
                  </a:lnTo>
                  <a:lnTo>
                    <a:pt x="934" y="8072"/>
                  </a:lnTo>
                  <a:lnTo>
                    <a:pt x="934" y="133"/>
                  </a:lnTo>
                  <a:lnTo>
                    <a:pt x="0" y="0"/>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125;p56">
              <a:extLst>
                <a:ext uri="{FF2B5EF4-FFF2-40B4-BE49-F238E27FC236}">
                  <a16:creationId xmlns:a16="http://schemas.microsoft.com/office/drawing/2014/main" id="{335CB823-8C39-D394-4D5F-3A476A9A52D8}"/>
                </a:ext>
              </a:extLst>
            </p:cNvPr>
            <p:cNvSpPr/>
            <p:nvPr/>
          </p:nvSpPr>
          <p:spPr>
            <a:xfrm flipH="1">
              <a:off x="7997739" y="3540209"/>
              <a:ext cx="23447" cy="195367"/>
            </a:xfrm>
            <a:custGeom>
              <a:avLst/>
              <a:gdLst/>
              <a:ahLst/>
              <a:cxnLst/>
              <a:rect l="l" t="t" r="r" b="b"/>
              <a:pathLst>
                <a:path w="969" h="8073" extrusionOk="0">
                  <a:moveTo>
                    <a:pt x="1" y="0"/>
                  </a:moveTo>
                  <a:lnTo>
                    <a:pt x="1" y="8072"/>
                  </a:lnTo>
                  <a:lnTo>
                    <a:pt x="968" y="8072"/>
                  </a:lnTo>
                  <a:lnTo>
                    <a:pt x="968" y="0"/>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126;p56">
              <a:extLst>
                <a:ext uri="{FF2B5EF4-FFF2-40B4-BE49-F238E27FC236}">
                  <a16:creationId xmlns:a16="http://schemas.microsoft.com/office/drawing/2014/main" id="{09B71460-DAA7-43FA-2394-9DC80C6D8A43}"/>
                </a:ext>
              </a:extLst>
            </p:cNvPr>
            <p:cNvSpPr/>
            <p:nvPr/>
          </p:nvSpPr>
          <p:spPr>
            <a:xfrm flipH="1">
              <a:off x="7964661" y="3540209"/>
              <a:ext cx="860439" cy="40366"/>
            </a:xfrm>
            <a:custGeom>
              <a:avLst/>
              <a:gdLst/>
              <a:ahLst/>
              <a:cxnLst/>
              <a:rect l="l" t="t" r="r" b="b"/>
              <a:pathLst>
                <a:path w="35559" h="1668" extrusionOk="0">
                  <a:moveTo>
                    <a:pt x="0" y="0"/>
                  </a:moveTo>
                  <a:lnTo>
                    <a:pt x="0" y="1668"/>
                  </a:lnTo>
                  <a:lnTo>
                    <a:pt x="35559" y="1668"/>
                  </a:lnTo>
                  <a:lnTo>
                    <a:pt x="35559" y="0"/>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127;p56">
              <a:extLst>
                <a:ext uri="{FF2B5EF4-FFF2-40B4-BE49-F238E27FC236}">
                  <a16:creationId xmlns:a16="http://schemas.microsoft.com/office/drawing/2014/main" id="{9FB75805-70CC-BEAF-F867-8F165A00B218}"/>
                </a:ext>
              </a:extLst>
            </p:cNvPr>
            <p:cNvSpPr/>
            <p:nvPr/>
          </p:nvSpPr>
          <p:spPr>
            <a:xfrm flipH="1">
              <a:off x="7926720" y="3344842"/>
              <a:ext cx="860463" cy="195391"/>
            </a:xfrm>
            <a:custGeom>
              <a:avLst/>
              <a:gdLst/>
              <a:ahLst/>
              <a:cxnLst/>
              <a:rect l="l" t="t" r="r" b="b"/>
              <a:pathLst>
                <a:path w="35560" h="8074" extrusionOk="0">
                  <a:moveTo>
                    <a:pt x="1" y="1"/>
                  </a:moveTo>
                  <a:lnTo>
                    <a:pt x="1" y="8073"/>
                  </a:lnTo>
                  <a:lnTo>
                    <a:pt x="35560" y="8073"/>
                  </a:lnTo>
                  <a:lnTo>
                    <a:pt x="35560" y="1"/>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128;p56">
              <a:extLst>
                <a:ext uri="{FF2B5EF4-FFF2-40B4-BE49-F238E27FC236}">
                  <a16:creationId xmlns:a16="http://schemas.microsoft.com/office/drawing/2014/main" id="{C7D566DB-5644-3E40-2FB0-6EC15FCEE130}"/>
                </a:ext>
              </a:extLst>
            </p:cNvPr>
            <p:cNvSpPr/>
            <p:nvPr/>
          </p:nvSpPr>
          <p:spPr>
            <a:xfrm flipH="1">
              <a:off x="8678173" y="3344842"/>
              <a:ext cx="23447" cy="195391"/>
            </a:xfrm>
            <a:custGeom>
              <a:avLst/>
              <a:gdLst/>
              <a:ahLst/>
              <a:cxnLst/>
              <a:rect l="l" t="t" r="r" b="b"/>
              <a:pathLst>
                <a:path w="969" h="8074" extrusionOk="0">
                  <a:moveTo>
                    <a:pt x="1" y="1"/>
                  </a:moveTo>
                  <a:lnTo>
                    <a:pt x="1" y="8073"/>
                  </a:lnTo>
                  <a:lnTo>
                    <a:pt x="968" y="8073"/>
                  </a:lnTo>
                  <a:lnTo>
                    <a:pt x="968" y="1"/>
                  </a:ln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129;p56">
              <a:extLst>
                <a:ext uri="{FF2B5EF4-FFF2-40B4-BE49-F238E27FC236}">
                  <a16:creationId xmlns:a16="http://schemas.microsoft.com/office/drawing/2014/main" id="{2E8C7614-05E0-0E67-CBCA-DB4D2F7E6FF3}"/>
                </a:ext>
              </a:extLst>
            </p:cNvPr>
            <p:cNvSpPr/>
            <p:nvPr/>
          </p:nvSpPr>
          <p:spPr>
            <a:xfrm flipH="1">
              <a:off x="8558710" y="3344842"/>
              <a:ext cx="23447" cy="195391"/>
            </a:xfrm>
            <a:custGeom>
              <a:avLst/>
              <a:gdLst/>
              <a:ahLst/>
              <a:cxnLst/>
              <a:rect l="l" t="t" r="r" b="b"/>
              <a:pathLst>
                <a:path w="969" h="8074" extrusionOk="0">
                  <a:moveTo>
                    <a:pt x="1" y="1"/>
                  </a:moveTo>
                  <a:lnTo>
                    <a:pt x="1" y="8073"/>
                  </a:lnTo>
                  <a:lnTo>
                    <a:pt x="968" y="8073"/>
                  </a:lnTo>
                  <a:lnTo>
                    <a:pt x="968" y="1"/>
                  </a:ln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130;p56">
              <a:extLst>
                <a:ext uri="{FF2B5EF4-FFF2-40B4-BE49-F238E27FC236}">
                  <a16:creationId xmlns:a16="http://schemas.microsoft.com/office/drawing/2014/main" id="{6F53F5AA-2ABF-C28C-F568-1CA09AFE2631}"/>
                </a:ext>
              </a:extLst>
            </p:cNvPr>
            <p:cNvSpPr/>
            <p:nvPr/>
          </p:nvSpPr>
          <p:spPr>
            <a:xfrm flipH="1">
              <a:off x="8439271" y="3344842"/>
              <a:ext cx="23423" cy="195391"/>
            </a:xfrm>
            <a:custGeom>
              <a:avLst/>
              <a:gdLst/>
              <a:ahLst/>
              <a:cxnLst/>
              <a:rect l="l" t="t" r="r" b="b"/>
              <a:pathLst>
                <a:path w="968" h="8074" extrusionOk="0">
                  <a:moveTo>
                    <a:pt x="1" y="1"/>
                  </a:moveTo>
                  <a:lnTo>
                    <a:pt x="1" y="8073"/>
                  </a:lnTo>
                  <a:lnTo>
                    <a:pt x="968" y="8073"/>
                  </a:lnTo>
                  <a:lnTo>
                    <a:pt x="968" y="1"/>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131;p56">
              <a:extLst>
                <a:ext uri="{FF2B5EF4-FFF2-40B4-BE49-F238E27FC236}">
                  <a16:creationId xmlns:a16="http://schemas.microsoft.com/office/drawing/2014/main" id="{FB1D3694-30A0-3528-8A44-EA7D834380DA}"/>
                </a:ext>
              </a:extLst>
            </p:cNvPr>
            <p:cNvSpPr/>
            <p:nvPr/>
          </p:nvSpPr>
          <p:spPr>
            <a:xfrm flipH="1">
              <a:off x="8318985" y="3344842"/>
              <a:ext cx="23447" cy="195391"/>
            </a:xfrm>
            <a:custGeom>
              <a:avLst/>
              <a:gdLst/>
              <a:ahLst/>
              <a:cxnLst/>
              <a:rect l="l" t="t" r="r" b="b"/>
              <a:pathLst>
                <a:path w="969" h="8074" extrusionOk="0">
                  <a:moveTo>
                    <a:pt x="1" y="1"/>
                  </a:moveTo>
                  <a:lnTo>
                    <a:pt x="1" y="8073"/>
                  </a:lnTo>
                  <a:lnTo>
                    <a:pt x="968" y="8073"/>
                  </a:lnTo>
                  <a:lnTo>
                    <a:pt x="968" y="1"/>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132;p56">
              <a:extLst>
                <a:ext uri="{FF2B5EF4-FFF2-40B4-BE49-F238E27FC236}">
                  <a16:creationId xmlns:a16="http://schemas.microsoft.com/office/drawing/2014/main" id="{C85977B6-E271-3F98-0A9D-6209F9B73948}"/>
                </a:ext>
              </a:extLst>
            </p:cNvPr>
            <p:cNvSpPr/>
            <p:nvPr/>
          </p:nvSpPr>
          <p:spPr>
            <a:xfrm flipH="1">
              <a:off x="8199547" y="3344842"/>
              <a:ext cx="23423" cy="195391"/>
            </a:xfrm>
            <a:custGeom>
              <a:avLst/>
              <a:gdLst/>
              <a:ahLst/>
              <a:cxnLst/>
              <a:rect l="l" t="t" r="r" b="b"/>
              <a:pathLst>
                <a:path w="968" h="8074" extrusionOk="0">
                  <a:moveTo>
                    <a:pt x="1" y="1"/>
                  </a:moveTo>
                  <a:lnTo>
                    <a:pt x="1" y="8073"/>
                  </a:lnTo>
                  <a:lnTo>
                    <a:pt x="968" y="8073"/>
                  </a:lnTo>
                  <a:lnTo>
                    <a:pt x="968" y="1"/>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133;p56">
              <a:extLst>
                <a:ext uri="{FF2B5EF4-FFF2-40B4-BE49-F238E27FC236}">
                  <a16:creationId xmlns:a16="http://schemas.microsoft.com/office/drawing/2014/main" id="{4A3A6C04-F564-DD12-EC50-921103866675}"/>
                </a:ext>
              </a:extLst>
            </p:cNvPr>
            <p:cNvSpPr/>
            <p:nvPr/>
          </p:nvSpPr>
          <p:spPr>
            <a:xfrm flipH="1">
              <a:off x="8080084" y="3344842"/>
              <a:ext cx="23423" cy="195391"/>
            </a:xfrm>
            <a:custGeom>
              <a:avLst/>
              <a:gdLst/>
              <a:ahLst/>
              <a:cxnLst/>
              <a:rect l="l" t="t" r="r" b="b"/>
              <a:pathLst>
                <a:path w="968" h="8074" extrusionOk="0">
                  <a:moveTo>
                    <a:pt x="0" y="1"/>
                  </a:moveTo>
                  <a:lnTo>
                    <a:pt x="0" y="8073"/>
                  </a:lnTo>
                  <a:lnTo>
                    <a:pt x="968" y="8073"/>
                  </a:lnTo>
                  <a:lnTo>
                    <a:pt x="968" y="1"/>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134;p56">
              <a:extLst>
                <a:ext uri="{FF2B5EF4-FFF2-40B4-BE49-F238E27FC236}">
                  <a16:creationId xmlns:a16="http://schemas.microsoft.com/office/drawing/2014/main" id="{D7AB5028-8DFE-8ABD-E98F-6D4A040E2C4C}"/>
                </a:ext>
              </a:extLst>
            </p:cNvPr>
            <p:cNvSpPr/>
            <p:nvPr/>
          </p:nvSpPr>
          <p:spPr>
            <a:xfrm flipH="1">
              <a:off x="7959798" y="3344842"/>
              <a:ext cx="23447" cy="195391"/>
            </a:xfrm>
            <a:custGeom>
              <a:avLst/>
              <a:gdLst/>
              <a:ahLst/>
              <a:cxnLst/>
              <a:rect l="l" t="t" r="r" b="b"/>
              <a:pathLst>
                <a:path w="969" h="8074" extrusionOk="0">
                  <a:moveTo>
                    <a:pt x="1" y="1"/>
                  </a:moveTo>
                  <a:lnTo>
                    <a:pt x="1" y="8073"/>
                  </a:lnTo>
                  <a:lnTo>
                    <a:pt x="968" y="8073"/>
                  </a:lnTo>
                  <a:lnTo>
                    <a:pt x="968" y="1"/>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135;p56">
              <a:extLst>
                <a:ext uri="{FF2B5EF4-FFF2-40B4-BE49-F238E27FC236}">
                  <a16:creationId xmlns:a16="http://schemas.microsoft.com/office/drawing/2014/main" id="{67BC9BDF-6652-743B-0012-CED6E65DF94D}"/>
                </a:ext>
              </a:extLst>
            </p:cNvPr>
            <p:cNvSpPr/>
            <p:nvPr/>
          </p:nvSpPr>
          <p:spPr>
            <a:xfrm flipH="1">
              <a:off x="7926720" y="3344842"/>
              <a:ext cx="860463" cy="40390"/>
            </a:xfrm>
            <a:custGeom>
              <a:avLst/>
              <a:gdLst/>
              <a:ahLst/>
              <a:cxnLst/>
              <a:rect l="l" t="t" r="r" b="b"/>
              <a:pathLst>
                <a:path w="35560" h="1669" extrusionOk="0">
                  <a:moveTo>
                    <a:pt x="1" y="1"/>
                  </a:moveTo>
                  <a:lnTo>
                    <a:pt x="1" y="1668"/>
                  </a:lnTo>
                  <a:lnTo>
                    <a:pt x="35560" y="1668"/>
                  </a:lnTo>
                  <a:lnTo>
                    <a:pt x="35560" y="1"/>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136;p56">
              <a:extLst>
                <a:ext uri="{FF2B5EF4-FFF2-40B4-BE49-F238E27FC236}">
                  <a16:creationId xmlns:a16="http://schemas.microsoft.com/office/drawing/2014/main" id="{557DB2C4-3B5F-3C3C-CAFC-F22B8B45AF59}"/>
                </a:ext>
              </a:extLst>
            </p:cNvPr>
            <p:cNvSpPr/>
            <p:nvPr/>
          </p:nvSpPr>
          <p:spPr>
            <a:xfrm flipH="1">
              <a:off x="8029220" y="3149500"/>
              <a:ext cx="860463" cy="195367"/>
            </a:xfrm>
            <a:custGeom>
              <a:avLst/>
              <a:gdLst/>
              <a:ahLst/>
              <a:cxnLst/>
              <a:rect l="l" t="t" r="r" b="b"/>
              <a:pathLst>
                <a:path w="35560" h="8073" extrusionOk="0">
                  <a:moveTo>
                    <a:pt x="1" y="0"/>
                  </a:moveTo>
                  <a:lnTo>
                    <a:pt x="1" y="8073"/>
                  </a:lnTo>
                  <a:lnTo>
                    <a:pt x="35559" y="8073"/>
                  </a:lnTo>
                  <a:lnTo>
                    <a:pt x="35559" y="0"/>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137;p56">
              <a:extLst>
                <a:ext uri="{FF2B5EF4-FFF2-40B4-BE49-F238E27FC236}">
                  <a16:creationId xmlns:a16="http://schemas.microsoft.com/office/drawing/2014/main" id="{D4D3CD9F-CD1F-0639-E16C-9876CD3D59B2}"/>
                </a:ext>
              </a:extLst>
            </p:cNvPr>
            <p:cNvSpPr/>
            <p:nvPr/>
          </p:nvSpPr>
          <p:spPr>
            <a:xfrm flipH="1">
              <a:off x="8780698" y="3149500"/>
              <a:ext cx="23423" cy="195367"/>
            </a:xfrm>
            <a:custGeom>
              <a:avLst/>
              <a:gdLst/>
              <a:ahLst/>
              <a:cxnLst/>
              <a:rect l="l" t="t" r="r" b="b"/>
              <a:pathLst>
                <a:path w="968" h="8073" extrusionOk="0">
                  <a:moveTo>
                    <a:pt x="0" y="0"/>
                  </a:moveTo>
                  <a:lnTo>
                    <a:pt x="0" y="8073"/>
                  </a:lnTo>
                  <a:lnTo>
                    <a:pt x="968" y="8073"/>
                  </a:lnTo>
                  <a:lnTo>
                    <a:pt x="968" y="0"/>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2138;p56">
              <a:extLst>
                <a:ext uri="{FF2B5EF4-FFF2-40B4-BE49-F238E27FC236}">
                  <a16:creationId xmlns:a16="http://schemas.microsoft.com/office/drawing/2014/main" id="{BF75A344-C21F-478D-8845-AE77482BA288}"/>
                </a:ext>
              </a:extLst>
            </p:cNvPr>
            <p:cNvSpPr/>
            <p:nvPr/>
          </p:nvSpPr>
          <p:spPr>
            <a:xfrm flipH="1">
              <a:off x="8661235" y="3149500"/>
              <a:ext cx="23423" cy="195367"/>
            </a:xfrm>
            <a:custGeom>
              <a:avLst/>
              <a:gdLst/>
              <a:ahLst/>
              <a:cxnLst/>
              <a:rect l="l" t="t" r="r" b="b"/>
              <a:pathLst>
                <a:path w="968" h="8073" extrusionOk="0">
                  <a:moveTo>
                    <a:pt x="0" y="0"/>
                  </a:moveTo>
                  <a:lnTo>
                    <a:pt x="0" y="8073"/>
                  </a:lnTo>
                  <a:lnTo>
                    <a:pt x="968" y="8073"/>
                  </a:lnTo>
                  <a:lnTo>
                    <a:pt x="968" y="0"/>
                  </a:ln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39;p56">
              <a:extLst>
                <a:ext uri="{FF2B5EF4-FFF2-40B4-BE49-F238E27FC236}">
                  <a16:creationId xmlns:a16="http://schemas.microsoft.com/office/drawing/2014/main" id="{07C73592-0ED0-6928-177B-440521B67743}"/>
                </a:ext>
              </a:extLst>
            </p:cNvPr>
            <p:cNvSpPr/>
            <p:nvPr/>
          </p:nvSpPr>
          <p:spPr>
            <a:xfrm flipH="1">
              <a:off x="8541772" y="3149500"/>
              <a:ext cx="23423" cy="195367"/>
            </a:xfrm>
            <a:custGeom>
              <a:avLst/>
              <a:gdLst/>
              <a:ahLst/>
              <a:cxnLst/>
              <a:rect l="l" t="t" r="r" b="b"/>
              <a:pathLst>
                <a:path w="968" h="8073" extrusionOk="0">
                  <a:moveTo>
                    <a:pt x="0" y="0"/>
                  </a:moveTo>
                  <a:lnTo>
                    <a:pt x="0" y="8073"/>
                  </a:lnTo>
                  <a:lnTo>
                    <a:pt x="968" y="8073"/>
                  </a:lnTo>
                  <a:lnTo>
                    <a:pt x="968" y="0"/>
                  </a:ln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40;p56">
              <a:extLst>
                <a:ext uri="{FF2B5EF4-FFF2-40B4-BE49-F238E27FC236}">
                  <a16:creationId xmlns:a16="http://schemas.microsoft.com/office/drawing/2014/main" id="{6683C63D-124E-7F05-4EBE-4EEC119A0C92}"/>
                </a:ext>
              </a:extLst>
            </p:cNvPr>
            <p:cNvSpPr/>
            <p:nvPr/>
          </p:nvSpPr>
          <p:spPr>
            <a:xfrm flipH="1">
              <a:off x="8421510" y="3149500"/>
              <a:ext cx="23423" cy="195367"/>
            </a:xfrm>
            <a:custGeom>
              <a:avLst/>
              <a:gdLst/>
              <a:ahLst/>
              <a:cxnLst/>
              <a:rect l="l" t="t" r="r" b="b"/>
              <a:pathLst>
                <a:path w="968" h="8073" extrusionOk="0">
                  <a:moveTo>
                    <a:pt x="0" y="0"/>
                  </a:moveTo>
                  <a:lnTo>
                    <a:pt x="0" y="8073"/>
                  </a:lnTo>
                  <a:lnTo>
                    <a:pt x="968" y="8073"/>
                  </a:lnTo>
                  <a:lnTo>
                    <a:pt x="968" y="0"/>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 name="Google Shape;2141;p56">
              <a:extLst>
                <a:ext uri="{FF2B5EF4-FFF2-40B4-BE49-F238E27FC236}">
                  <a16:creationId xmlns:a16="http://schemas.microsoft.com/office/drawing/2014/main" id="{8098D4B5-28C4-4492-370C-E84A7E83E6A0}"/>
                </a:ext>
              </a:extLst>
            </p:cNvPr>
            <p:cNvSpPr/>
            <p:nvPr/>
          </p:nvSpPr>
          <p:spPr>
            <a:xfrm flipH="1">
              <a:off x="8302047" y="3149500"/>
              <a:ext cx="23423" cy="195367"/>
            </a:xfrm>
            <a:custGeom>
              <a:avLst/>
              <a:gdLst/>
              <a:ahLst/>
              <a:cxnLst/>
              <a:rect l="l" t="t" r="r" b="b"/>
              <a:pathLst>
                <a:path w="968" h="8073" extrusionOk="0">
                  <a:moveTo>
                    <a:pt x="0" y="0"/>
                  </a:moveTo>
                  <a:lnTo>
                    <a:pt x="0" y="8073"/>
                  </a:lnTo>
                  <a:lnTo>
                    <a:pt x="968" y="8073"/>
                  </a:lnTo>
                  <a:lnTo>
                    <a:pt x="968" y="0"/>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 name="Google Shape;2142;p56">
              <a:extLst>
                <a:ext uri="{FF2B5EF4-FFF2-40B4-BE49-F238E27FC236}">
                  <a16:creationId xmlns:a16="http://schemas.microsoft.com/office/drawing/2014/main" id="{8ED0392C-32DA-063E-D5E2-5541B8FA192B}"/>
                </a:ext>
              </a:extLst>
            </p:cNvPr>
            <p:cNvSpPr/>
            <p:nvPr/>
          </p:nvSpPr>
          <p:spPr>
            <a:xfrm flipH="1">
              <a:off x="8182584" y="3149500"/>
              <a:ext cx="22625" cy="195367"/>
            </a:xfrm>
            <a:custGeom>
              <a:avLst/>
              <a:gdLst/>
              <a:ahLst/>
              <a:cxnLst/>
              <a:rect l="l" t="t" r="r" b="b"/>
              <a:pathLst>
                <a:path w="935" h="8073" extrusionOk="0">
                  <a:moveTo>
                    <a:pt x="0" y="0"/>
                  </a:moveTo>
                  <a:lnTo>
                    <a:pt x="0" y="8073"/>
                  </a:lnTo>
                  <a:lnTo>
                    <a:pt x="934" y="8073"/>
                  </a:lnTo>
                  <a:lnTo>
                    <a:pt x="934" y="0"/>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 name="Google Shape;2143;p56">
              <a:extLst>
                <a:ext uri="{FF2B5EF4-FFF2-40B4-BE49-F238E27FC236}">
                  <a16:creationId xmlns:a16="http://schemas.microsoft.com/office/drawing/2014/main" id="{F9D4EF06-0E96-88A5-21C7-3F32AF83C150}"/>
                </a:ext>
              </a:extLst>
            </p:cNvPr>
            <p:cNvSpPr/>
            <p:nvPr/>
          </p:nvSpPr>
          <p:spPr>
            <a:xfrm flipH="1">
              <a:off x="8062323" y="3149500"/>
              <a:ext cx="23423" cy="195367"/>
            </a:xfrm>
            <a:custGeom>
              <a:avLst/>
              <a:gdLst/>
              <a:ahLst/>
              <a:cxnLst/>
              <a:rect l="l" t="t" r="r" b="b"/>
              <a:pathLst>
                <a:path w="968" h="8073" extrusionOk="0">
                  <a:moveTo>
                    <a:pt x="0" y="0"/>
                  </a:moveTo>
                  <a:lnTo>
                    <a:pt x="0" y="8073"/>
                  </a:lnTo>
                  <a:lnTo>
                    <a:pt x="968" y="8073"/>
                  </a:lnTo>
                  <a:lnTo>
                    <a:pt x="968" y="0"/>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 name="Google Shape;2144;p56">
              <a:extLst>
                <a:ext uri="{FF2B5EF4-FFF2-40B4-BE49-F238E27FC236}">
                  <a16:creationId xmlns:a16="http://schemas.microsoft.com/office/drawing/2014/main" id="{667FD55F-41EE-1077-5148-47C238923130}"/>
                </a:ext>
              </a:extLst>
            </p:cNvPr>
            <p:cNvSpPr/>
            <p:nvPr/>
          </p:nvSpPr>
          <p:spPr>
            <a:xfrm flipH="1">
              <a:off x="8029220" y="3149500"/>
              <a:ext cx="860463" cy="40366"/>
            </a:xfrm>
            <a:custGeom>
              <a:avLst/>
              <a:gdLst/>
              <a:ahLst/>
              <a:cxnLst/>
              <a:rect l="l" t="t" r="r" b="b"/>
              <a:pathLst>
                <a:path w="35560" h="1668" extrusionOk="0">
                  <a:moveTo>
                    <a:pt x="1" y="0"/>
                  </a:moveTo>
                  <a:lnTo>
                    <a:pt x="1" y="1668"/>
                  </a:lnTo>
                  <a:lnTo>
                    <a:pt x="35559" y="1668"/>
                  </a:lnTo>
                  <a:lnTo>
                    <a:pt x="35559" y="0"/>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 name="Google Shape;2145;p56">
              <a:extLst>
                <a:ext uri="{FF2B5EF4-FFF2-40B4-BE49-F238E27FC236}">
                  <a16:creationId xmlns:a16="http://schemas.microsoft.com/office/drawing/2014/main" id="{424860C8-9B59-850B-32AF-1AEBFE750B61}"/>
                </a:ext>
              </a:extLst>
            </p:cNvPr>
            <p:cNvSpPr/>
            <p:nvPr/>
          </p:nvSpPr>
          <p:spPr>
            <a:xfrm flipH="1">
              <a:off x="7296327" y="3640300"/>
              <a:ext cx="188886" cy="689410"/>
            </a:xfrm>
            <a:custGeom>
              <a:avLst/>
              <a:gdLst/>
              <a:ahLst/>
              <a:cxnLst/>
              <a:rect l="l" t="t" r="r" b="b"/>
              <a:pathLst>
                <a:path w="7806" h="28488" extrusionOk="0">
                  <a:moveTo>
                    <a:pt x="0" y="0"/>
                  </a:moveTo>
                  <a:lnTo>
                    <a:pt x="0" y="28487"/>
                  </a:lnTo>
                  <a:lnTo>
                    <a:pt x="7806" y="28487"/>
                  </a:lnTo>
                  <a:lnTo>
                    <a:pt x="7806" y="0"/>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 name="Google Shape;2146;p56">
              <a:extLst>
                <a:ext uri="{FF2B5EF4-FFF2-40B4-BE49-F238E27FC236}">
                  <a16:creationId xmlns:a16="http://schemas.microsoft.com/office/drawing/2014/main" id="{E3D8E1AD-99FD-0830-CD1F-B5970581482A}"/>
                </a:ext>
              </a:extLst>
            </p:cNvPr>
            <p:cNvSpPr/>
            <p:nvPr/>
          </p:nvSpPr>
          <p:spPr>
            <a:xfrm flipH="1">
              <a:off x="7296327" y="3823542"/>
              <a:ext cx="188886" cy="329386"/>
            </a:xfrm>
            <a:custGeom>
              <a:avLst/>
              <a:gdLst/>
              <a:ahLst/>
              <a:cxnLst/>
              <a:rect l="l" t="t" r="r" b="b"/>
              <a:pathLst>
                <a:path w="7806" h="13611" extrusionOk="0">
                  <a:moveTo>
                    <a:pt x="7806" y="0"/>
                  </a:moveTo>
                  <a:lnTo>
                    <a:pt x="0" y="7372"/>
                  </a:lnTo>
                  <a:lnTo>
                    <a:pt x="0" y="13610"/>
                  </a:lnTo>
                  <a:lnTo>
                    <a:pt x="7806" y="5805"/>
                  </a:lnTo>
                  <a:lnTo>
                    <a:pt x="7806" y="0"/>
                  </a:lnTo>
                  <a:close/>
                </a:path>
              </a:pathLst>
            </a:custGeom>
            <a:solidFill>
              <a:srgbClr val="C3FF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 name="Google Shape;2147;p56">
              <a:extLst>
                <a:ext uri="{FF2B5EF4-FFF2-40B4-BE49-F238E27FC236}">
                  <a16:creationId xmlns:a16="http://schemas.microsoft.com/office/drawing/2014/main" id="{DEFA1496-F563-8A7B-8E5A-BF764E4E5B91}"/>
                </a:ext>
              </a:extLst>
            </p:cNvPr>
            <p:cNvSpPr/>
            <p:nvPr/>
          </p:nvSpPr>
          <p:spPr>
            <a:xfrm flipH="1">
              <a:off x="7296327" y="3721031"/>
              <a:ext cx="188886" cy="213129"/>
            </a:xfrm>
            <a:custGeom>
              <a:avLst/>
              <a:gdLst/>
              <a:ahLst/>
              <a:cxnLst/>
              <a:rect l="l" t="t" r="r" b="b"/>
              <a:pathLst>
                <a:path w="7806" h="8807" extrusionOk="0">
                  <a:moveTo>
                    <a:pt x="7806" y="0"/>
                  </a:moveTo>
                  <a:lnTo>
                    <a:pt x="0" y="7806"/>
                  </a:lnTo>
                  <a:lnTo>
                    <a:pt x="0" y="8806"/>
                  </a:lnTo>
                  <a:lnTo>
                    <a:pt x="7806" y="1001"/>
                  </a:lnTo>
                  <a:lnTo>
                    <a:pt x="7806" y="0"/>
                  </a:lnTo>
                  <a:close/>
                </a:path>
              </a:pathLst>
            </a:custGeom>
            <a:solidFill>
              <a:srgbClr val="C3FF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 name="Google Shape;2148;p56">
              <a:extLst>
                <a:ext uri="{FF2B5EF4-FFF2-40B4-BE49-F238E27FC236}">
                  <a16:creationId xmlns:a16="http://schemas.microsoft.com/office/drawing/2014/main" id="{D67A6DF3-CE52-943B-1E6E-7CC524270612}"/>
                </a:ext>
              </a:extLst>
            </p:cNvPr>
            <p:cNvSpPr/>
            <p:nvPr/>
          </p:nvSpPr>
          <p:spPr>
            <a:xfrm flipH="1">
              <a:off x="7063861" y="3862287"/>
              <a:ext cx="188910" cy="467423"/>
            </a:xfrm>
            <a:custGeom>
              <a:avLst/>
              <a:gdLst/>
              <a:ahLst/>
              <a:cxnLst/>
              <a:rect l="l" t="t" r="r" b="b"/>
              <a:pathLst>
                <a:path w="7807" h="19315" extrusionOk="0">
                  <a:moveTo>
                    <a:pt x="1" y="1"/>
                  </a:moveTo>
                  <a:lnTo>
                    <a:pt x="1" y="19314"/>
                  </a:lnTo>
                  <a:lnTo>
                    <a:pt x="7806" y="19314"/>
                  </a:lnTo>
                  <a:lnTo>
                    <a:pt x="7806" y="1"/>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 name="Google Shape;2149;p56">
              <a:extLst>
                <a:ext uri="{FF2B5EF4-FFF2-40B4-BE49-F238E27FC236}">
                  <a16:creationId xmlns:a16="http://schemas.microsoft.com/office/drawing/2014/main" id="{2DBA0A2E-C737-90B5-555C-A063375C9167}"/>
                </a:ext>
              </a:extLst>
            </p:cNvPr>
            <p:cNvSpPr/>
            <p:nvPr/>
          </p:nvSpPr>
          <p:spPr>
            <a:xfrm flipH="1">
              <a:off x="7063861" y="4000323"/>
              <a:ext cx="188910" cy="326966"/>
            </a:xfrm>
            <a:custGeom>
              <a:avLst/>
              <a:gdLst/>
              <a:ahLst/>
              <a:cxnLst/>
              <a:rect l="l" t="t" r="r" b="b"/>
              <a:pathLst>
                <a:path w="7807" h="13511" extrusionOk="0">
                  <a:moveTo>
                    <a:pt x="7806" y="1"/>
                  </a:moveTo>
                  <a:lnTo>
                    <a:pt x="1" y="7373"/>
                  </a:lnTo>
                  <a:lnTo>
                    <a:pt x="1" y="13510"/>
                  </a:lnTo>
                  <a:lnTo>
                    <a:pt x="7806" y="5738"/>
                  </a:lnTo>
                  <a:lnTo>
                    <a:pt x="7806" y="1"/>
                  </a:lnTo>
                  <a:close/>
                </a:path>
              </a:pathLst>
            </a:custGeom>
            <a:solidFill>
              <a:srgbClr val="C3FF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 name="Google Shape;2150;p56">
              <a:extLst>
                <a:ext uri="{FF2B5EF4-FFF2-40B4-BE49-F238E27FC236}">
                  <a16:creationId xmlns:a16="http://schemas.microsoft.com/office/drawing/2014/main" id="{6F8F2A76-C092-A17D-0496-041927517598}"/>
                </a:ext>
              </a:extLst>
            </p:cNvPr>
            <p:cNvSpPr/>
            <p:nvPr/>
          </p:nvSpPr>
          <p:spPr>
            <a:xfrm flipH="1">
              <a:off x="7063861" y="3934935"/>
              <a:ext cx="188910" cy="215574"/>
            </a:xfrm>
            <a:custGeom>
              <a:avLst/>
              <a:gdLst/>
              <a:ahLst/>
              <a:cxnLst/>
              <a:rect l="l" t="t" r="r" b="b"/>
              <a:pathLst>
                <a:path w="7807" h="8908" extrusionOk="0">
                  <a:moveTo>
                    <a:pt x="7806" y="1"/>
                  </a:moveTo>
                  <a:lnTo>
                    <a:pt x="1" y="7773"/>
                  </a:lnTo>
                  <a:lnTo>
                    <a:pt x="1" y="8907"/>
                  </a:lnTo>
                  <a:lnTo>
                    <a:pt x="7806" y="1101"/>
                  </a:lnTo>
                  <a:lnTo>
                    <a:pt x="7806" y="1"/>
                  </a:lnTo>
                  <a:close/>
                </a:path>
              </a:pathLst>
            </a:custGeom>
            <a:solidFill>
              <a:srgbClr val="C3FF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 name="Google Shape;2151;p56">
              <a:extLst>
                <a:ext uri="{FF2B5EF4-FFF2-40B4-BE49-F238E27FC236}">
                  <a16:creationId xmlns:a16="http://schemas.microsoft.com/office/drawing/2014/main" id="{83E79A6C-23D6-C060-1174-7A643CA9A600}"/>
                </a:ext>
              </a:extLst>
            </p:cNvPr>
            <p:cNvSpPr/>
            <p:nvPr/>
          </p:nvSpPr>
          <p:spPr>
            <a:xfrm flipH="1">
              <a:off x="7528792" y="3309317"/>
              <a:ext cx="188087" cy="1020393"/>
            </a:xfrm>
            <a:custGeom>
              <a:avLst/>
              <a:gdLst/>
              <a:ahLst/>
              <a:cxnLst/>
              <a:rect l="l" t="t" r="r" b="b"/>
              <a:pathLst>
                <a:path w="7773" h="42165" extrusionOk="0">
                  <a:moveTo>
                    <a:pt x="1" y="1"/>
                  </a:moveTo>
                  <a:lnTo>
                    <a:pt x="1" y="42164"/>
                  </a:lnTo>
                  <a:lnTo>
                    <a:pt x="7773" y="42164"/>
                  </a:lnTo>
                  <a:lnTo>
                    <a:pt x="7773" y="1"/>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 name="Google Shape;2152;p56">
              <a:extLst>
                <a:ext uri="{FF2B5EF4-FFF2-40B4-BE49-F238E27FC236}">
                  <a16:creationId xmlns:a16="http://schemas.microsoft.com/office/drawing/2014/main" id="{5656381B-F6ED-82C1-B97A-8FA5104BF002}"/>
                </a:ext>
              </a:extLst>
            </p:cNvPr>
            <p:cNvSpPr/>
            <p:nvPr/>
          </p:nvSpPr>
          <p:spPr>
            <a:xfrm flipH="1">
              <a:off x="7528792" y="3500642"/>
              <a:ext cx="188087" cy="328563"/>
            </a:xfrm>
            <a:custGeom>
              <a:avLst/>
              <a:gdLst/>
              <a:ahLst/>
              <a:cxnLst/>
              <a:rect l="l" t="t" r="r" b="b"/>
              <a:pathLst>
                <a:path w="7773" h="13577" extrusionOk="0">
                  <a:moveTo>
                    <a:pt x="7773" y="1"/>
                  </a:moveTo>
                  <a:lnTo>
                    <a:pt x="1" y="7372"/>
                  </a:lnTo>
                  <a:lnTo>
                    <a:pt x="1" y="13577"/>
                  </a:lnTo>
                  <a:lnTo>
                    <a:pt x="7773" y="5771"/>
                  </a:lnTo>
                  <a:lnTo>
                    <a:pt x="7773" y="1"/>
                  </a:lnTo>
                  <a:close/>
                </a:path>
              </a:pathLst>
            </a:custGeom>
            <a:solidFill>
              <a:srgbClr val="C3FF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 name="Google Shape;2153;p56">
              <a:extLst>
                <a:ext uri="{FF2B5EF4-FFF2-40B4-BE49-F238E27FC236}">
                  <a16:creationId xmlns:a16="http://schemas.microsoft.com/office/drawing/2014/main" id="{DBA404C9-1108-9E1A-BDF3-28DFD66E9FFF}"/>
                </a:ext>
              </a:extLst>
            </p:cNvPr>
            <p:cNvSpPr/>
            <p:nvPr/>
          </p:nvSpPr>
          <p:spPr>
            <a:xfrm flipH="1">
              <a:off x="7528792" y="3423952"/>
              <a:ext cx="188087" cy="214751"/>
            </a:xfrm>
            <a:custGeom>
              <a:avLst/>
              <a:gdLst/>
              <a:ahLst/>
              <a:cxnLst/>
              <a:rect l="l" t="t" r="r" b="b"/>
              <a:pathLst>
                <a:path w="7773" h="8874" extrusionOk="0">
                  <a:moveTo>
                    <a:pt x="7773" y="1"/>
                  </a:moveTo>
                  <a:lnTo>
                    <a:pt x="1" y="7806"/>
                  </a:lnTo>
                  <a:lnTo>
                    <a:pt x="1" y="8874"/>
                  </a:lnTo>
                  <a:lnTo>
                    <a:pt x="7773" y="1068"/>
                  </a:lnTo>
                  <a:lnTo>
                    <a:pt x="7773" y="1"/>
                  </a:lnTo>
                  <a:close/>
                </a:path>
              </a:pathLst>
            </a:custGeom>
            <a:solidFill>
              <a:srgbClr val="C3FF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 name="Google Shape;2154;p56">
              <a:extLst>
                <a:ext uri="{FF2B5EF4-FFF2-40B4-BE49-F238E27FC236}">
                  <a16:creationId xmlns:a16="http://schemas.microsoft.com/office/drawing/2014/main" id="{CDE22658-93B2-D4E2-AEBD-AFBC719DE94C}"/>
                </a:ext>
              </a:extLst>
            </p:cNvPr>
            <p:cNvSpPr/>
            <p:nvPr/>
          </p:nvSpPr>
          <p:spPr>
            <a:xfrm flipH="1">
              <a:off x="7591754" y="3353046"/>
              <a:ext cx="61704" cy="54232"/>
            </a:xfrm>
            <a:custGeom>
              <a:avLst/>
              <a:gdLst/>
              <a:ahLst/>
              <a:cxnLst/>
              <a:rect l="l" t="t" r="r" b="b"/>
              <a:pathLst>
                <a:path w="2550" h="2241" extrusionOk="0">
                  <a:moveTo>
                    <a:pt x="1274" y="0"/>
                  </a:moveTo>
                  <a:cubicBezTo>
                    <a:pt x="604" y="0"/>
                    <a:pt x="0" y="611"/>
                    <a:pt x="182" y="1363"/>
                  </a:cubicBezTo>
                  <a:cubicBezTo>
                    <a:pt x="317" y="1926"/>
                    <a:pt x="804" y="2240"/>
                    <a:pt x="1292" y="2240"/>
                  </a:cubicBezTo>
                  <a:cubicBezTo>
                    <a:pt x="1642" y="2240"/>
                    <a:pt x="1993" y="2078"/>
                    <a:pt x="2216" y="1730"/>
                  </a:cubicBezTo>
                  <a:cubicBezTo>
                    <a:pt x="2550" y="1196"/>
                    <a:pt x="2383" y="496"/>
                    <a:pt x="1849" y="162"/>
                  </a:cubicBezTo>
                  <a:cubicBezTo>
                    <a:pt x="1664" y="50"/>
                    <a:pt x="1466" y="0"/>
                    <a:pt x="1274"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 name="Google Shape;2155;p56">
              <a:extLst>
                <a:ext uri="{FF2B5EF4-FFF2-40B4-BE49-F238E27FC236}">
                  <a16:creationId xmlns:a16="http://schemas.microsoft.com/office/drawing/2014/main" id="{5360ACF3-C62A-F1D7-0FE3-DB886E2DFC02}"/>
                </a:ext>
              </a:extLst>
            </p:cNvPr>
            <p:cNvSpPr/>
            <p:nvPr/>
          </p:nvSpPr>
          <p:spPr>
            <a:xfrm flipH="1">
              <a:off x="7360087" y="3680787"/>
              <a:ext cx="60929" cy="54232"/>
            </a:xfrm>
            <a:custGeom>
              <a:avLst/>
              <a:gdLst/>
              <a:ahLst/>
              <a:cxnLst/>
              <a:rect l="l" t="t" r="r" b="b"/>
              <a:pathLst>
                <a:path w="2518" h="2241" extrusionOk="0">
                  <a:moveTo>
                    <a:pt x="1275" y="0"/>
                  </a:moveTo>
                  <a:cubicBezTo>
                    <a:pt x="605" y="0"/>
                    <a:pt x="1" y="611"/>
                    <a:pt x="182" y="1363"/>
                  </a:cubicBezTo>
                  <a:cubicBezTo>
                    <a:pt x="299" y="1926"/>
                    <a:pt x="788" y="2240"/>
                    <a:pt x="1282" y="2240"/>
                  </a:cubicBezTo>
                  <a:cubicBezTo>
                    <a:pt x="1637" y="2240"/>
                    <a:pt x="1994" y="2078"/>
                    <a:pt x="2217" y="1730"/>
                  </a:cubicBezTo>
                  <a:cubicBezTo>
                    <a:pt x="2517" y="1196"/>
                    <a:pt x="2384" y="496"/>
                    <a:pt x="1850" y="162"/>
                  </a:cubicBezTo>
                  <a:cubicBezTo>
                    <a:pt x="1664" y="50"/>
                    <a:pt x="1467" y="0"/>
                    <a:pt x="1275"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 name="Google Shape;2156;p56">
              <a:extLst>
                <a:ext uri="{FF2B5EF4-FFF2-40B4-BE49-F238E27FC236}">
                  <a16:creationId xmlns:a16="http://schemas.microsoft.com/office/drawing/2014/main" id="{D43BEB47-ED32-49DD-ED05-2F37D166A4A2}"/>
                </a:ext>
              </a:extLst>
            </p:cNvPr>
            <p:cNvSpPr/>
            <p:nvPr/>
          </p:nvSpPr>
          <p:spPr>
            <a:xfrm flipH="1">
              <a:off x="7127622" y="3903136"/>
              <a:ext cx="61050" cy="53869"/>
            </a:xfrm>
            <a:custGeom>
              <a:avLst/>
              <a:gdLst/>
              <a:ahLst/>
              <a:cxnLst/>
              <a:rect l="l" t="t" r="r" b="b"/>
              <a:pathLst>
                <a:path w="2523" h="2226" extrusionOk="0">
                  <a:moveTo>
                    <a:pt x="1225" y="1"/>
                  </a:moveTo>
                  <a:cubicBezTo>
                    <a:pt x="574" y="1"/>
                    <a:pt x="0" y="606"/>
                    <a:pt x="154" y="1348"/>
                  </a:cubicBezTo>
                  <a:cubicBezTo>
                    <a:pt x="290" y="1911"/>
                    <a:pt x="776" y="2226"/>
                    <a:pt x="1264" y="2226"/>
                  </a:cubicBezTo>
                  <a:cubicBezTo>
                    <a:pt x="1614" y="2226"/>
                    <a:pt x="1966" y="2063"/>
                    <a:pt x="2189" y="1715"/>
                  </a:cubicBezTo>
                  <a:cubicBezTo>
                    <a:pt x="2522" y="1181"/>
                    <a:pt x="2355" y="481"/>
                    <a:pt x="1822" y="181"/>
                  </a:cubicBezTo>
                  <a:cubicBezTo>
                    <a:pt x="1628" y="56"/>
                    <a:pt x="1423" y="1"/>
                    <a:pt x="1225"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 name="Google Shape;2157;p56">
              <a:extLst>
                <a:ext uri="{FF2B5EF4-FFF2-40B4-BE49-F238E27FC236}">
                  <a16:creationId xmlns:a16="http://schemas.microsoft.com/office/drawing/2014/main" id="{A041509D-F3FB-5325-D731-E1082E225A49}"/>
                </a:ext>
              </a:extLst>
            </p:cNvPr>
            <p:cNvSpPr/>
            <p:nvPr/>
          </p:nvSpPr>
          <p:spPr>
            <a:xfrm flipH="1">
              <a:off x="7158304" y="3380368"/>
              <a:ext cx="464132" cy="772561"/>
            </a:xfrm>
            <a:custGeom>
              <a:avLst/>
              <a:gdLst/>
              <a:ahLst/>
              <a:cxnLst/>
              <a:rect l="l" t="t" r="r" b="b"/>
              <a:pathLst>
                <a:path w="19181" h="31924" fill="none" extrusionOk="0">
                  <a:moveTo>
                    <a:pt x="19181" y="22717"/>
                  </a:moveTo>
                  <a:lnTo>
                    <a:pt x="9274" y="31923"/>
                  </a:lnTo>
                  <a:lnTo>
                    <a:pt x="9574" y="13543"/>
                  </a:lnTo>
                  <a:lnTo>
                    <a:pt x="0" y="19481"/>
                  </a:lnTo>
                  <a:lnTo>
                    <a:pt x="0" y="0"/>
                  </a:lnTo>
                </a:path>
              </a:pathLst>
            </a:custGeom>
            <a:noFill/>
            <a:ln w="10850" cap="flat" cmpd="sng">
              <a:solidFill>
                <a:srgbClr val="263238"/>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03" name="Google Shape;2158;p56">
              <a:extLst>
                <a:ext uri="{FF2B5EF4-FFF2-40B4-BE49-F238E27FC236}">
                  <a16:creationId xmlns:a16="http://schemas.microsoft.com/office/drawing/2014/main" id="{E13B9544-53AF-4077-92C2-77E88969EDDE}"/>
                </a:ext>
              </a:extLst>
            </p:cNvPr>
            <p:cNvGrpSpPr/>
            <p:nvPr/>
          </p:nvGrpSpPr>
          <p:grpSpPr>
            <a:xfrm>
              <a:off x="7290677" y="1080521"/>
              <a:ext cx="1805642" cy="3422364"/>
              <a:chOff x="7290677" y="1080521"/>
              <a:chExt cx="1805642" cy="3422364"/>
            </a:xfrm>
          </p:grpSpPr>
          <p:sp>
            <p:nvSpPr>
              <p:cNvPr id="1004" name="Google Shape;2159;p56">
                <a:extLst>
                  <a:ext uri="{FF2B5EF4-FFF2-40B4-BE49-F238E27FC236}">
                    <a16:creationId xmlns:a16="http://schemas.microsoft.com/office/drawing/2014/main" id="{1C8BDC35-2C82-636E-ED19-2C15F36B7A1C}"/>
                  </a:ext>
                </a:extLst>
              </p:cNvPr>
              <p:cNvSpPr/>
              <p:nvPr/>
            </p:nvSpPr>
            <p:spPr>
              <a:xfrm flipH="1">
                <a:off x="8415861" y="4129479"/>
                <a:ext cx="23423" cy="195391"/>
              </a:xfrm>
              <a:custGeom>
                <a:avLst/>
                <a:gdLst/>
                <a:ahLst/>
                <a:cxnLst/>
                <a:rect l="l" t="t" r="r" b="b"/>
                <a:pathLst>
                  <a:path w="968" h="8074" extrusionOk="0">
                    <a:moveTo>
                      <a:pt x="0" y="1"/>
                    </a:moveTo>
                    <a:lnTo>
                      <a:pt x="0" y="8073"/>
                    </a:lnTo>
                    <a:lnTo>
                      <a:pt x="968" y="8073"/>
                    </a:lnTo>
                    <a:lnTo>
                      <a:pt x="968" y="1"/>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 name="Google Shape;2160;p56">
                <a:extLst>
                  <a:ext uri="{FF2B5EF4-FFF2-40B4-BE49-F238E27FC236}">
                    <a16:creationId xmlns:a16="http://schemas.microsoft.com/office/drawing/2014/main" id="{A66B9230-30E6-8064-08CD-4D4BED9BCB60}"/>
                  </a:ext>
                </a:extLst>
              </p:cNvPr>
              <p:cNvSpPr/>
              <p:nvPr/>
            </p:nvSpPr>
            <p:spPr>
              <a:xfrm flipH="1">
                <a:off x="8384380" y="2073423"/>
                <a:ext cx="711939" cy="301338"/>
              </a:xfrm>
              <a:custGeom>
                <a:avLst/>
                <a:gdLst/>
                <a:ahLst/>
                <a:cxnLst/>
                <a:rect l="l" t="t" r="r" b="b"/>
                <a:pathLst>
                  <a:path w="29422" h="12452" extrusionOk="0">
                    <a:moveTo>
                      <a:pt x="1868" y="1"/>
                    </a:moveTo>
                    <a:lnTo>
                      <a:pt x="0" y="3637"/>
                    </a:lnTo>
                    <a:lnTo>
                      <a:pt x="2569" y="5305"/>
                    </a:lnTo>
                    <a:cubicBezTo>
                      <a:pt x="2569" y="5305"/>
                      <a:pt x="3814" y="6758"/>
                      <a:pt x="5367" y="6758"/>
                    </a:cubicBezTo>
                    <a:cubicBezTo>
                      <a:pt x="5575" y="6758"/>
                      <a:pt x="5788" y="6732"/>
                      <a:pt x="6005" y="6672"/>
                    </a:cubicBezTo>
                    <a:cubicBezTo>
                      <a:pt x="6005" y="6672"/>
                      <a:pt x="12543" y="10942"/>
                      <a:pt x="17246" y="12043"/>
                    </a:cubicBezTo>
                    <a:cubicBezTo>
                      <a:pt x="18515" y="12331"/>
                      <a:pt x="19522" y="12451"/>
                      <a:pt x="20343" y="12451"/>
                    </a:cubicBezTo>
                    <a:cubicBezTo>
                      <a:pt x="22563" y="12451"/>
                      <a:pt x="23419" y="11570"/>
                      <a:pt x="24418" y="10742"/>
                    </a:cubicBezTo>
                    <a:cubicBezTo>
                      <a:pt x="25786" y="9641"/>
                      <a:pt x="29421" y="4337"/>
                      <a:pt x="29421" y="4337"/>
                    </a:cubicBezTo>
                    <a:lnTo>
                      <a:pt x="23584" y="2803"/>
                    </a:lnTo>
                    <a:cubicBezTo>
                      <a:pt x="23584" y="2803"/>
                      <a:pt x="20915" y="6706"/>
                      <a:pt x="20282" y="7106"/>
                    </a:cubicBezTo>
                    <a:cubicBezTo>
                      <a:pt x="20218" y="7148"/>
                      <a:pt x="20068" y="7169"/>
                      <a:pt x="19845" y="7169"/>
                    </a:cubicBezTo>
                    <a:cubicBezTo>
                      <a:pt x="17954" y="7169"/>
                      <a:pt x="10842" y="5710"/>
                      <a:pt x="7172" y="3770"/>
                    </a:cubicBezTo>
                    <a:lnTo>
                      <a:pt x="5071" y="1102"/>
                    </a:lnTo>
                    <a:lnTo>
                      <a:pt x="1868" y="1"/>
                    </a:lnTo>
                    <a:close/>
                  </a:path>
                </a:pathLst>
              </a:custGeom>
              <a:solidFill>
                <a:srgbClr val="B55B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 name="Google Shape;2161;p56">
                <a:extLst>
                  <a:ext uri="{FF2B5EF4-FFF2-40B4-BE49-F238E27FC236}">
                    <a16:creationId xmlns:a16="http://schemas.microsoft.com/office/drawing/2014/main" id="{337E632B-4353-B0F9-5940-39CEC40BCD53}"/>
                  </a:ext>
                </a:extLst>
              </p:cNvPr>
              <p:cNvSpPr/>
              <p:nvPr/>
            </p:nvSpPr>
            <p:spPr>
              <a:xfrm flipH="1">
                <a:off x="7290677" y="1080521"/>
                <a:ext cx="625578" cy="801625"/>
              </a:xfrm>
              <a:custGeom>
                <a:avLst/>
                <a:gdLst/>
                <a:ahLst/>
                <a:cxnLst/>
                <a:rect l="l" t="t" r="r" b="b"/>
                <a:pathLst>
                  <a:path w="25853" h="33125" extrusionOk="0">
                    <a:moveTo>
                      <a:pt x="19781" y="1"/>
                    </a:moveTo>
                    <a:lnTo>
                      <a:pt x="19114" y="4170"/>
                    </a:lnTo>
                    <a:lnTo>
                      <a:pt x="20348" y="7840"/>
                    </a:lnTo>
                    <a:cubicBezTo>
                      <a:pt x="19448" y="14878"/>
                      <a:pt x="14044" y="21483"/>
                      <a:pt x="14044" y="21483"/>
                    </a:cubicBezTo>
                    <a:cubicBezTo>
                      <a:pt x="10508" y="24118"/>
                      <a:pt x="1" y="27320"/>
                      <a:pt x="1" y="27320"/>
                    </a:cubicBezTo>
                    <a:lnTo>
                      <a:pt x="468" y="33124"/>
                    </a:lnTo>
                    <a:cubicBezTo>
                      <a:pt x="468" y="33124"/>
                      <a:pt x="13977" y="29555"/>
                      <a:pt x="18314" y="24251"/>
                    </a:cubicBezTo>
                    <a:cubicBezTo>
                      <a:pt x="22650" y="18914"/>
                      <a:pt x="23317" y="8707"/>
                      <a:pt x="23317" y="8707"/>
                    </a:cubicBezTo>
                    <a:cubicBezTo>
                      <a:pt x="25852" y="5271"/>
                      <a:pt x="23751" y="901"/>
                      <a:pt x="23751" y="901"/>
                    </a:cubicBezTo>
                    <a:lnTo>
                      <a:pt x="19781" y="1"/>
                    </a:lnTo>
                    <a:close/>
                  </a:path>
                </a:pathLst>
              </a:custGeom>
              <a:solidFill>
                <a:srgbClr val="B55B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 name="Google Shape;2162;p56">
                <a:extLst>
                  <a:ext uri="{FF2B5EF4-FFF2-40B4-BE49-F238E27FC236}">
                    <a16:creationId xmlns:a16="http://schemas.microsoft.com/office/drawing/2014/main" id="{BEAD51AE-D362-C70A-9985-BA92C2F2FAB6}"/>
                  </a:ext>
                </a:extLst>
              </p:cNvPr>
              <p:cNvSpPr/>
              <p:nvPr/>
            </p:nvSpPr>
            <p:spPr>
              <a:xfrm flipH="1">
                <a:off x="7682144" y="1663354"/>
                <a:ext cx="883862" cy="1018772"/>
              </a:xfrm>
              <a:custGeom>
                <a:avLst/>
                <a:gdLst/>
                <a:ahLst/>
                <a:cxnLst/>
                <a:rect l="l" t="t" r="r" b="b"/>
                <a:pathLst>
                  <a:path w="36527" h="42098" extrusionOk="0">
                    <a:moveTo>
                      <a:pt x="32190" y="1"/>
                    </a:moveTo>
                    <a:cubicBezTo>
                      <a:pt x="32190" y="1"/>
                      <a:pt x="26919" y="1535"/>
                      <a:pt x="22383" y="1535"/>
                    </a:cubicBezTo>
                    <a:cubicBezTo>
                      <a:pt x="16312" y="1535"/>
                      <a:pt x="10241" y="6105"/>
                      <a:pt x="6938" y="7406"/>
                    </a:cubicBezTo>
                    <a:cubicBezTo>
                      <a:pt x="3636" y="8707"/>
                      <a:pt x="0" y="19915"/>
                      <a:pt x="0" y="19915"/>
                    </a:cubicBezTo>
                    <a:lnTo>
                      <a:pt x="7606" y="23984"/>
                    </a:lnTo>
                    <a:lnTo>
                      <a:pt x="9040" y="19781"/>
                    </a:lnTo>
                    <a:cubicBezTo>
                      <a:pt x="9040" y="19781"/>
                      <a:pt x="11075" y="35292"/>
                      <a:pt x="11075" y="42097"/>
                    </a:cubicBezTo>
                    <a:lnTo>
                      <a:pt x="30622" y="41797"/>
                    </a:lnTo>
                    <a:lnTo>
                      <a:pt x="29755" y="10942"/>
                    </a:lnTo>
                    <a:lnTo>
                      <a:pt x="36526" y="7706"/>
                    </a:lnTo>
                    <a:lnTo>
                      <a:pt x="32190" y="1"/>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 name="Google Shape;2163;p56">
                <a:extLst>
                  <a:ext uri="{FF2B5EF4-FFF2-40B4-BE49-F238E27FC236}">
                    <a16:creationId xmlns:a16="http://schemas.microsoft.com/office/drawing/2014/main" id="{C05A9DE6-D179-0DF6-33E6-C975EF1C8D91}"/>
                  </a:ext>
                </a:extLst>
              </p:cNvPr>
              <p:cNvSpPr/>
              <p:nvPr/>
            </p:nvSpPr>
            <p:spPr>
              <a:xfrm flipH="1">
                <a:off x="7682144" y="1663354"/>
                <a:ext cx="883862" cy="1018772"/>
              </a:xfrm>
              <a:custGeom>
                <a:avLst/>
                <a:gdLst/>
                <a:ahLst/>
                <a:cxnLst/>
                <a:rect l="l" t="t" r="r" b="b"/>
                <a:pathLst>
                  <a:path w="36527" h="42098" extrusionOk="0">
                    <a:moveTo>
                      <a:pt x="32190" y="1"/>
                    </a:moveTo>
                    <a:cubicBezTo>
                      <a:pt x="32190" y="1"/>
                      <a:pt x="26919" y="1535"/>
                      <a:pt x="22383" y="1535"/>
                    </a:cubicBezTo>
                    <a:cubicBezTo>
                      <a:pt x="16312" y="1535"/>
                      <a:pt x="10241" y="6105"/>
                      <a:pt x="6938" y="7406"/>
                    </a:cubicBezTo>
                    <a:cubicBezTo>
                      <a:pt x="3636" y="8707"/>
                      <a:pt x="0" y="19915"/>
                      <a:pt x="0" y="19915"/>
                    </a:cubicBezTo>
                    <a:lnTo>
                      <a:pt x="7606" y="23984"/>
                    </a:lnTo>
                    <a:lnTo>
                      <a:pt x="9040" y="19781"/>
                    </a:lnTo>
                    <a:cubicBezTo>
                      <a:pt x="9040" y="19781"/>
                      <a:pt x="11075" y="35292"/>
                      <a:pt x="11075" y="42097"/>
                    </a:cubicBezTo>
                    <a:lnTo>
                      <a:pt x="30622" y="41797"/>
                    </a:lnTo>
                    <a:lnTo>
                      <a:pt x="29755" y="10942"/>
                    </a:lnTo>
                    <a:lnTo>
                      <a:pt x="36526" y="7706"/>
                    </a:lnTo>
                    <a:lnTo>
                      <a:pt x="32190"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 name="Google Shape;2164;p56">
                <a:extLst>
                  <a:ext uri="{FF2B5EF4-FFF2-40B4-BE49-F238E27FC236}">
                    <a16:creationId xmlns:a16="http://schemas.microsoft.com/office/drawing/2014/main" id="{90E776D5-9E67-3814-7567-4043411D8E61}"/>
                  </a:ext>
                </a:extLst>
              </p:cNvPr>
              <p:cNvSpPr/>
              <p:nvPr/>
            </p:nvSpPr>
            <p:spPr>
              <a:xfrm flipH="1">
                <a:off x="7965473" y="1180806"/>
                <a:ext cx="473811" cy="451717"/>
              </a:xfrm>
              <a:custGeom>
                <a:avLst/>
                <a:gdLst/>
                <a:ahLst/>
                <a:cxnLst/>
                <a:rect l="l" t="t" r="r" b="b"/>
                <a:pathLst>
                  <a:path w="19581" h="18666" extrusionOk="0">
                    <a:moveTo>
                      <a:pt x="10768" y="1"/>
                    </a:moveTo>
                    <a:cubicBezTo>
                      <a:pt x="10448" y="1"/>
                      <a:pt x="10027" y="56"/>
                      <a:pt x="9474" y="193"/>
                    </a:cubicBezTo>
                    <a:cubicBezTo>
                      <a:pt x="6838" y="793"/>
                      <a:pt x="4704" y="2595"/>
                      <a:pt x="3669" y="5063"/>
                    </a:cubicBezTo>
                    <a:cubicBezTo>
                      <a:pt x="0" y="6364"/>
                      <a:pt x="2869" y="10667"/>
                      <a:pt x="2869" y="10667"/>
                    </a:cubicBezTo>
                    <a:cubicBezTo>
                      <a:pt x="634" y="13769"/>
                      <a:pt x="3803" y="15004"/>
                      <a:pt x="3803" y="15004"/>
                    </a:cubicBezTo>
                    <a:cubicBezTo>
                      <a:pt x="4538" y="18314"/>
                      <a:pt x="7963" y="18665"/>
                      <a:pt x="9386" y="18665"/>
                    </a:cubicBezTo>
                    <a:cubicBezTo>
                      <a:pt x="9769" y="18665"/>
                      <a:pt x="10007" y="18640"/>
                      <a:pt x="10007" y="18640"/>
                    </a:cubicBezTo>
                    <a:lnTo>
                      <a:pt x="14744" y="5197"/>
                    </a:lnTo>
                    <a:cubicBezTo>
                      <a:pt x="14744" y="5197"/>
                      <a:pt x="19581" y="3996"/>
                      <a:pt x="18680" y="1327"/>
                    </a:cubicBezTo>
                    <a:cubicBezTo>
                      <a:pt x="18370" y="374"/>
                      <a:pt x="17380" y="68"/>
                      <a:pt x="16234" y="68"/>
                    </a:cubicBezTo>
                    <a:cubicBezTo>
                      <a:pt x="14173" y="68"/>
                      <a:pt x="11608" y="1060"/>
                      <a:pt x="11608" y="1060"/>
                    </a:cubicBezTo>
                    <a:cubicBezTo>
                      <a:pt x="11608" y="1060"/>
                      <a:pt x="12160" y="1"/>
                      <a:pt x="10768"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 name="Google Shape;2165;p56">
                <a:extLst>
                  <a:ext uri="{FF2B5EF4-FFF2-40B4-BE49-F238E27FC236}">
                    <a16:creationId xmlns:a16="http://schemas.microsoft.com/office/drawing/2014/main" id="{0C3B0CC9-5649-AE21-27CC-CF59429A6362}"/>
                  </a:ext>
                </a:extLst>
              </p:cNvPr>
              <p:cNvSpPr/>
              <p:nvPr/>
            </p:nvSpPr>
            <p:spPr>
              <a:xfrm flipH="1">
                <a:off x="8004213" y="1305750"/>
                <a:ext cx="331022" cy="465971"/>
              </a:xfrm>
              <a:custGeom>
                <a:avLst/>
                <a:gdLst/>
                <a:ahLst/>
                <a:cxnLst/>
                <a:rect l="l" t="t" r="r" b="b"/>
                <a:pathLst>
                  <a:path w="13680" h="19255" extrusionOk="0">
                    <a:moveTo>
                      <a:pt x="10411" y="0"/>
                    </a:moveTo>
                    <a:cubicBezTo>
                      <a:pt x="8025" y="1457"/>
                      <a:pt x="5251" y="1725"/>
                      <a:pt x="3536" y="1725"/>
                    </a:cubicBezTo>
                    <a:cubicBezTo>
                      <a:pt x="2543" y="1725"/>
                      <a:pt x="1905" y="1635"/>
                      <a:pt x="1905" y="1635"/>
                    </a:cubicBezTo>
                    <a:lnTo>
                      <a:pt x="1905" y="1635"/>
                    </a:lnTo>
                    <a:cubicBezTo>
                      <a:pt x="4340" y="2869"/>
                      <a:pt x="3572" y="6939"/>
                      <a:pt x="3572" y="6939"/>
                    </a:cubicBezTo>
                    <a:cubicBezTo>
                      <a:pt x="2858" y="6609"/>
                      <a:pt x="2276" y="6473"/>
                      <a:pt x="1812" y="6473"/>
                    </a:cubicBezTo>
                    <a:cubicBezTo>
                      <a:pt x="68" y="6473"/>
                      <a:pt x="1" y="8404"/>
                      <a:pt x="871" y="9274"/>
                    </a:cubicBezTo>
                    <a:cubicBezTo>
                      <a:pt x="1535" y="9959"/>
                      <a:pt x="2549" y="10088"/>
                      <a:pt x="3219" y="10088"/>
                    </a:cubicBezTo>
                    <a:cubicBezTo>
                      <a:pt x="3626" y="10088"/>
                      <a:pt x="3906" y="10041"/>
                      <a:pt x="3906" y="10041"/>
                    </a:cubicBezTo>
                    <a:cubicBezTo>
                      <a:pt x="4473" y="12743"/>
                      <a:pt x="4506" y="15511"/>
                      <a:pt x="4006" y="18213"/>
                    </a:cubicBezTo>
                    <a:cubicBezTo>
                      <a:pt x="4006" y="18213"/>
                      <a:pt x="5641" y="18814"/>
                      <a:pt x="9076" y="19214"/>
                    </a:cubicBezTo>
                    <a:cubicBezTo>
                      <a:pt x="9337" y="19242"/>
                      <a:pt x="9576" y="19255"/>
                      <a:pt x="9796" y="19255"/>
                    </a:cubicBezTo>
                    <a:cubicBezTo>
                      <a:pt x="12473" y="19255"/>
                      <a:pt x="12245" y="17346"/>
                      <a:pt x="12245" y="17346"/>
                    </a:cubicBezTo>
                    <a:cubicBezTo>
                      <a:pt x="10144" y="16712"/>
                      <a:pt x="9277" y="14711"/>
                      <a:pt x="9076" y="13443"/>
                    </a:cubicBezTo>
                    <a:cubicBezTo>
                      <a:pt x="9043" y="13210"/>
                      <a:pt x="9010" y="12976"/>
                      <a:pt x="8976" y="12709"/>
                    </a:cubicBezTo>
                    <a:cubicBezTo>
                      <a:pt x="8976" y="12709"/>
                      <a:pt x="12746" y="12142"/>
                      <a:pt x="13213" y="8173"/>
                    </a:cubicBezTo>
                    <a:cubicBezTo>
                      <a:pt x="13680" y="4170"/>
                      <a:pt x="10411" y="0"/>
                      <a:pt x="10411" y="0"/>
                    </a:cubicBezTo>
                    <a:close/>
                  </a:path>
                </a:pathLst>
              </a:custGeom>
              <a:solidFill>
                <a:srgbClr val="B55B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 name="Google Shape;2166;p56">
                <a:extLst>
                  <a:ext uri="{FF2B5EF4-FFF2-40B4-BE49-F238E27FC236}">
                    <a16:creationId xmlns:a16="http://schemas.microsoft.com/office/drawing/2014/main" id="{A6AFC7C3-1EB4-2BD4-3AFE-4326F67226AF}"/>
                  </a:ext>
                </a:extLst>
              </p:cNvPr>
              <p:cNvSpPr/>
              <p:nvPr/>
            </p:nvSpPr>
            <p:spPr>
              <a:xfrm flipH="1">
                <a:off x="8097833" y="1488170"/>
                <a:ext cx="62986" cy="28290"/>
              </a:xfrm>
              <a:custGeom>
                <a:avLst/>
                <a:gdLst/>
                <a:ahLst/>
                <a:cxnLst/>
                <a:rect l="l" t="t" r="r" b="b"/>
                <a:pathLst>
                  <a:path w="2603" h="1169" fill="none" extrusionOk="0">
                    <a:moveTo>
                      <a:pt x="2602" y="368"/>
                    </a:moveTo>
                    <a:cubicBezTo>
                      <a:pt x="2602" y="368"/>
                      <a:pt x="1401" y="1168"/>
                      <a:pt x="0" y="1"/>
                    </a:cubicBezTo>
                  </a:path>
                </a:pathLst>
              </a:custGeom>
              <a:noFill/>
              <a:ln w="7500" cap="rnd" cmpd="sng">
                <a:solidFill>
                  <a:srgbClr val="26323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 name="Google Shape;2167;p56">
                <a:extLst>
                  <a:ext uri="{FF2B5EF4-FFF2-40B4-BE49-F238E27FC236}">
                    <a16:creationId xmlns:a16="http://schemas.microsoft.com/office/drawing/2014/main" id="{859935E8-9FC4-7EC0-FA37-6F73F7405498}"/>
                  </a:ext>
                </a:extLst>
              </p:cNvPr>
              <p:cNvSpPr/>
              <p:nvPr/>
            </p:nvSpPr>
            <p:spPr>
              <a:xfrm flipH="1">
                <a:off x="8148696" y="1398291"/>
                <a:ext cx="20205" cy="27031"/>
              </a:xfrm>
              <a:custGeom>
                <a:avLst/>
                <a:gdLst/>
                <a:ahLst/>
                <a:cxnLst/>
                <a:rect l="l" t="t" r="r" b="b"/>
                <a:pathLst>
                  <a:path w="835" h="1117" extrusionOk="0">
                    <a:moveTo>
                      <a:pt x="362" y="1"/>
                    </a:moveTo>
                    <a:cubicBezTo>
                      <a:pt x="341" y="1"/>
                      <a:pt x="320" y="5"/>
                      <a:pt x="301" y="12"/>
                    </a:cubicBezTo>
                    <a:cubicBezTo>
                      <a:pt x="101" y="46"/>
                      <a:pt x="1" y="346"/>
                      <a:pt x="101" y="646"/>
                    </a:cubicBezTo>
                    <a:cubicBezTo>
                      <a:pt x="163" y="924"/>
                      <a:pt x="339" y="1117"/>
                      <a:pt x="524" y="1117"/>
                    </a:cubicBezTo>
                    <a:cubicBezTo>
                      <a:pt x="539" y="1117"/>
                      <a:pt x="553" y="1116"/>
                      <a:pt x="568" y="1113"/>
                    </a:cubicBezTo>
                    <a:cubicBezTo>
                      <a:pt x="735" y="1046"/>
                      <a:pt x="835" y="780"/>
                      <a:pt x="768" y="479"/>
                    </a:cubicBezTo>
                    <a:cubicBezTo>
                      <a:pt x="709" y="214"/>
                      <a:pt x="520" y="1"/>
                      <a:pt x="362"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 name="Google Shape;2168;p56">
                <a:extLst>
                  <a:ext uri="{FF2B5EF4-FFF2-40B4-BE49-F238E27FC236}">
                    <a16:creationId xmlns:a16="http://schemas.microsoft.com/office/drawing/2014/main" id="{61E31999-95C2-41BC-7E93-6F5D49447FC5}"/>
                  </a:ext>
                </a:extLst>
              </p:cNvPr>
              <p:cNvSpPr/>
              <p:nvPr/>
            </p:nvSpPr>
            <p:spPr>
              <a:xfrm flipH="1">
                <a:off x="8069594" y="1368622"/>
                <a:ext cx="20205" cy="27031"/>
              </a:xfrm>
              <a:custGeom>
                <a:avLst/>
                <a:gdLst/>
                <a:ahLst/>
                <a:cxnLst/>
                <a:rect l="l" t="t" r="r" b="b"/>
                <a:pathLst>
                  <a:path w="835" h="1117" extrusionOk="0">
                    <a:moveTo>
                      <a:pt x="339" y="0"/>
                    </a:moveTo>
                    <a:cubicBezTo>
                      <a:pt x="326" y="0"/>
                      <a:pt x="313" y="2"/>
                      <a:pt x="301" y="4"/>
                    </a:cubicBezTo>
                    <a:cubicBezTo>
                      <a:pt x="101" y="37"/>
                      <a:pt x="1" y="338"/>
                      <a:pt x="101" y="638"/>
                    </a:cubicBezTo>
                    <a:cubicBezTo>
                      <a:pt x="160" y="903"/>
                      <a:pt x="323" y="1116"/>
                      <a:pt x="498" y="1116"/>
                    </a:cubicBezTo>
                    <a:cubicBezTo>
                      <a:pt x="521" y="1116"/>
                      <a:pt x="545" y="1113"/>
                      <a:pt x="568" y="1105"/>
                    </a:cubicBezTo>
                    <a:cubicBezTo>
                      <a:pt x="735" y="1072"/>
                      <a:pt x="835" y="771"/>
                      <a:pt x="768" y="471"/>
                    </a:cubicBezTo>
                    <a:cubicBezTo>
                      <a:pt x="706" y="193"/>
                      <a:pt x="501" y="0"/>
                      <a:pt x="339"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 name="Google Shape;2169;p56">
                <a:extLst>
                  <a:ext uri="{FF2B5EF4-FFF2-40B4-BE49-F238E27FC236}">
                    <a16:creationId xmlns:a16="http://schemas.microsoft.com/office/drawing/2014/main" id="{165B8A82-A7F4-E404-F949-B65E75073E6A}"/>
                  </a:ext>
                </a:extLst>
              </p:cNvPr>
              <p:cNvSpPr/>
              <p:nvPr/>
            </p:nvSpPr>
            <p:spPr>
              <a:xfrm flipH="1">
                <a:off x="8172095" y="1359837"/>
                <a:ext cx="25867" cy="30686"/>
              </a:xfrm>
              <a:custGeom>
                <a:avLst/>
                <a:gdLst/>
                <a:ahLst/>
                <a:cxnLst/>
                <a:rect l="l" t="t" r="r" b="b"/>
                <a:pathLst>
                  <a:path w="1069" h="1268" fill="none" extrusionOk="0">
                    <a:moveTo>
                      <a:pt x="1068" y="0"/>
                    </a:moveTo>
                    <a:cubicBezTo>
                      <a:pt x="501" y="167"/>
                      <a:pt x="68" y="667"/>
                      <a:pt x="1" y="1268"/>
                    </a:cubicBezTo>
                  </a:path>
                </a:pathLst>
              </a:custGeom>
              <a:noFill/>
              <a:ln w="10000" cap="rnd" cmpd="sng">
                <a:solidFill>
                  <a:srgbClr val="26323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 name="Google Shape;2170;p56">
                <a:extLst>
                  <a:ext uri="{FF2B5EF4-FFF2-40B4-BE49-F238E27FC236}">
                    <a16:creationId xmlns:a16="http://schemas.microsoft.com/office/drawing/2014/main" id="{9E7E445B-3896-CA68-1AFB-8FD3B5115D36}"/>
                  </a:ext>
                </a:extLst>
              </p:cNvPr>
              <p:cNvSpPr/>
              <p:nvPr/>
            </p:nvSpPr>
            <p:spPr>
              <a:xfrm flipH="1">
                <a:off x="8064755" y="1321093"/>
                <a:ext cx="33102" cy="13746"/>
              </a:xfrm>
              <a:custGeom>
                <a:avLst/>
                <a:gdLst/>
                <a:ahLst/>
                <a:cxnLst/>
                <a:rect l="l" t="t" r="r" b="b"/>
                <a:pathLst>
                  <a:path w="1368" h="568" fill="none" extrusionOk="0">
                    <a:moveTo>
                      <a:pt x="1368" y="567"/>
                    </a:moveTo>
                    <a:cubicBezTo>
                      <a:pt x="1368" y="567"/>
                      <a:pt x="634" y="0"/>
                      <a:pt x="0" y="467"/>
                    </a:cubicBezTo>
                  </a:path>
                </a:pathLst>
              </a:custGeom>
              <a:noFill/>
              <a:ln w="10000" cap="rnd" cmpd="sng">
                <a:solidFill>
                  <a:srgbClr val="26323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 name="Google Shape;2171;p56">
                <a:extLst>
                  <a:ext uri="{FF2B5EF4-FFF2-40B4-BE49-F238E27FC236}">
                    <a16:creationId xmlns:a16="http://schemas.microsoft.com/office/drawing/2014/main" id="{A518A01A-B6D3-B939-F3C4-95D0AF3C4C8C}"/>
                  </a:ext>
                </a:extLst>
              </p:cNvPr>
              <p:cNvSpPr/>
              <p:nvPr/>
            </p:nvSpPr>
            <p:spPr>
              <a:xfrm flipH="1">
                <a:off x="8051035" y="1397759"/>
                <a:ext cx="53283" cy="62146"/>
              </a:xfrm>
              <a:custGeom>
                <a:avLst/>
                <a:gdLst/>
                <a:ahLst/>
                <a:cxnLst/>
                <a:rect l="l" t="t" r="r" b="b"/>
                <a:pathLst>
                  <a:path w="2202" h="2568" extrusionOk="0">
                    <a:moveTo>
                      <a:pt x="0" y="1"/>
                    </a:moveTo>
                    <a:lnTo>
                      <a:pt x="801" y="2536"/>
                    </a:lnTo>
                    <a:cubicBezTo>
                      <a:pt x="891" y="2557"/>
                      <a:pt x="981" y="2568"/>
                      <a:pt x="1070" y="2568"/>
                    </a:cubicBezTo>
                    <a:cubicBezTo>
                      <a:pt x="1540" y="2568"/>
                      <a:pt x="1977" y="2279"/>
                      <a:pt x="2202" y="1802"/>
                    </a:cubicBezTo>
                    <a:lnTo>
                      <a:pt x="0" y="1"/>
                    </a:lnTo>
                    <a:close/>
                  </a:path>
                </a:pathLst>
              </a:custGeom>
              <a:solidFill>
                <a:srgbClr val="A0272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 name="Google Shape;2172;p56">
                <a:extLst>
                  <a:ext uri="{FF2B5EF4-FFF2-40B4-BE49-F238E27FC236}">
                    <a16:creationId xmlns:a16="http://schemas.microsoft.com/office/drawing/2014/main" id="{5540EE19-7F35-FE8B-A82B-1708EC6D1D33}"/>
                  </a:ext>
                </a:extLst>
              </p:cNvPr>
              <p:cNvSpPr/>
              <p:nvPr/>
            </p:nvSpPr>
            <p:spPr>
              <a:xfrm flipH="1">
                <a:off x="8115594" y="1613308"/>
                <a:ext cx="43604" cy="19263"/>
              </a:xfrm>
              <a:custGeom>
                <a:avLst/>
                <a:gdLst/>
                <a:ahLst/>
                <a:cxnLst/>
                <a:rect l="l" t="t" r="r" b="b"/>
                <a:pathLst>
                  <a:path w="1802" h="796" extrusionOk="0">
                    <a:moveTo>
                      <a:pt x="1701" y="0"/>
                    </a:moveTo>
                    <a:cubicBezTo>
                      <a:pt x="1701" y="0"/>
                      <a:pt x="634" y="234"/>
                      <a:pt x="0" y="301"/>
                    </a:cubicBezTo>
                    <a:cubicBezTo>
                      <a:pt x="406" y="625"/>
                      <a:pt x="920" y="796"/>
                      <a:pt x="1438" y="796"/>
                    </a:cubicBezTo>
                    <a:cubicBezTo>
                      <a:pt x="1560" y="796"/>
                      <a:pt x="1681" y="787"/>
                      <a:pt x="1801" y="768"/>
                    </a:cubicBezTo>
                    <a:cubicBezTo>
                      <a:pt x="1768" y="501"/>
                      <a:pt x="1735" y="267"/>
                      <a:pt x="1701" y="0"/>
                    </a:cubicBez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 name="Google Shape;2173;p56">
                <a:extLst>
                  <a:ext uri="{FF2B5EF4-FFF2-40B4-BE49-F238E27FC236}">
                    <a16:creationId xmlns:a16="http://schemas.microsoft.com/office/drawing/2014/main" id="{488E0928-2222-D48A-3122-2E79BA351D9C}"/>
                  </a:ext>
                </a:extLst>
              </p:cNvPr>
              <p:cNvSpPr/>
              <p:nvPr/>
            </p:nvSpPr>
            <p:spPr>
              <a:xfrm flipH="1">
                <a:off x="8070393" y="1766760"/>
                <a:ext cx="88539" cy="106504"/>
              </a:xfrm>
              <a:custGeom>
                <a:avLst/>
                <a:gdLst/>
                <a:ahLst/>
                <a:cxnLst/>
                <a:rect l="l" t="t" r="r" b="b"/>
                <a:pathLst>
                  <a:path w="3659" h="4401" extrusionOk="0">
                    <a:moveTo>
                      <a:pt x="2897" y="0"/>
                    </a:moveTo>
                    <a:cubicBezTo>
                      <a:pt x="1549" y="0"/>
                      <a:pt x="0" y="1525"/>
                      <a:pt x="56" y="2165"/>
                    </a:cubicBezTo>
                    <a:cubicBezTo>
                      <a:pt x="156" y="2933"/>
                      <a:pt x="1657" y="4400"/>
                      <a:pt x="1657" y="4400"/>
                    </a:cubicBezTo>
                    <a:lnTo>
                      <a:pt x="3625" y="4200"/>
                    </a:lnTo>
                    <a:lnTo>
                      <a:pt x="3658" y="197"/>
                    </a:lnTo>
                    <a:cubicBezTo>
                      <a:pt x="3422" y="60"/>
                      <a:pt x="3163" y="0"/>
                      <a:pt x="2897"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9" name="Google Shape;2174;p56">
                <a:extLst>
                  <a:ext uri="{FF2B5EF4-FFF2-40B4-BE49-F238E27FC236}">
                    <a16:creationId xmlns:a16="http://schemas.microsoft.com/office/drawing/2014/main" id="{17EE7754-15A7-4E6C-4C0C-A171102573CB}"/>
                  </a:ext>
                </a:extLst>
              </p:cNvPr>
              <p:cNvSpPr/>
              <p:nvPr/>
            </p:nvSpPr>
            <p:spPr>
              <a:xfrm flipH="1">
                <a:off x="7972732" y="1858696"/>
                <a:ext cx="139668" cy="471464"/>
              </a:xfrm>
              <a:custGeom>
                <a:avLst/>
                <a:gdLst/>
                <a:ahLst/>
                <a:cxnLst/>
                <a:rect l="l" t="t" r="r" b="b"/>
                <a:pathLst>
                  <a:path w="5772" h="19482" extrusionOk="0">
                    <a:moveTo>
                      <a:pt x="1402" y="1"/>
                    </a:moveTo>
                    <a:lnTo>
                      <a:pt x="1" y="168"/>
                    </a:lnTo>
                    <a:lnTo>
                      <a:pt x="1469" y="16746"/>
                    </a:lnTo>
                    <a:lnTo>
                      <a:pt x="4170" y="19482"/>
                    </a:lnTo>
                    <a:lnTo>
                      <a:pt x="5772" y="16246"/>
                    </a:lnTo>
                    <a:cubicBezTo>
                      <a:pt x="4371" y="10842"/>
                      <a:pt x="1402" y="1"/>
                      <a:pt x="1402"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 name="Google Shape;2175;p56">
                <a:extLst>
                  <a:ext uri="{FF2B5EF4-FFF2-40B4-BE49-F238E27FC236}">
                    <a16:creationId xmlns:a16="http://schemas.microsoft.com/office/drawing/2014/main" id="{BD71EC42-FE61-22E2-E9CD-11F96EC5D440}"/>
                  </a:ext>
                </a:extLst>
              </p:cNvPr>
              <p:cNvSpPr/>
              <p:nvPr/>
            </p:nvSpPr>
            <p:spPr>
              <a:xfrm flipH="1">
                <a:off x="7709584" y="2565844"/>
                <a:ext cx="731321" cy="1693637"/>
              </a:xfrm>
              <a:custGeom>
                <a:avLst/>
                <a:gdLst/>
                <a:ahLst/>
                <a:cxnLst/>
                <a:rect l="l" t="t" r="r" b="b"/>
                <a:pathLst>
                  <a:path w="30223" h="69985" extrusionOk="0">
                    <a:moveTo>
                      <a:pt x="25319" y="1"/>
                    </a:moveTo>
                    <a:lnTo>
                      <a:pt x="5771" y="835"/>
                    </a:lnTo>
                    <a:cubicBezTo>
                      <a:pt x="5771" y="835"/>
                      <a:pt x="6205" y="25152"/>
                      <a:pt x="5838" y="31090"/>
                    </a:cubicBezTo>
                    <a:cubicBezTo>
                      <a:pt x="5438" y="36994"/>
                      <a:pt x="4437" y="52805"/>
                      <a:pt x="0" y="65481"/>
                    </a:cubicBezTo>
                    <a:lnTo>
                      <a:pt x="5671" y="68116"/>
                    </a:lnTo>
                    <a:cubicBezTo>
                      <a:pt x="5671" y="68116"/>
                      <a:pt x="12910" y="52739"/>
                      <a:pt x="14611" y="42264"/>
                    </a:cubicBezTo>
                    <a:cubicBezTo>
                      <a:pt x="16312" y="31757"/>
                      <a:pt x="16946" y="18080"/>
                      <a:pt x="16946" y="18080"/>
                    </a:cubicBezTo>
                    <a:cubicBezTo>
                      <a:pt x="16946" y="18080"/>
                      <a:pt x="18847" y="26286"/>
                      <a:pt x="19748" y="33959"/>
                    </a:cubicBezTo>
                    <a:cubicBezTo>
                      <a:pt x="19948" y="35560"/>
                      <a:pt x="20081" y="37127"/>
                      <a:pt x="20182" y="38629"/>
                    </a:cubicBezTo>
                    <a:cubicBezTo>
                      <a:pt x="20649" y="47168"/>
                      <a:pt x="22483" y="69984"/>
                      <a:pt x="22483" y="69984"/>
                    </a:cubicBezTo>
                    <a:lnTo>
                      <a:pt x="28454" y="69050"/>
                    </a:lnTo>
                    <a:cubicBezTo>
                      <a:pt x="28454" y="69050"/>
                      <a:pt x="30222" y="44800"/>
                      <a:pt x="29955" y="37528"/>
                    </a:cubicBezTo>
                    <a:cubicBezTo>
                      <a:pt x="29688" y="30256"/>
                      <a:pt x="27220" y="9207"/>
                      <a:pt x="25319"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 name="Google Shape;2176;p56">
                <a:extLst>
                  <a:ext uri="{FF2B5EF4-FFF2-40B4-BE49-F238E27FC236}">
                    <a16:creationId xmlns:a16="http://schemas.microsoft.com/office/drawing/2014/main" id="{647E821C-4020-D9AD-E5D0-E887442FCB09}"/>
                  </a:ext>
                </a:extLst>
              </p:cNvPr>
              <p:cNvSpPr/>
              <p:nvPr/>
            </p:nvSpPr>
            <p:spPr>
              <a:xfrm flipH="1">
                <a:off x="7770126" y="4278817"/>
                <a:ext cx="94467" cy="135641"/>
              </a:xfrm>
              <a:custGeom>
                <a:avLst/>
                <a:gdLst/>
                <a:ahLst/>
                <a:cxnLst/>
                <a:rect l="l" t="t" r="r" b="b"/>
                <a:pathLst>
                  <a:path w="3904" h="5605" extrusionOk="0">
                    <a:moveTo>
                      <a:pt x="3570" y="1"/>
                    </a:moveTo>
                    <a:lnTo>
                      <a:pt x="0" y="234"/>
                    </a:lnTo>
                    <a:lnTo>
                      <a:pt x="367" y="5605"/>
                    </a:lnTo>
                    <a:lnTo>
                      <a:pt x="3903" y="4804"/>
                    </a:lnTo>
                    <a:lnTo>
                      <a:pt x="3570" y="1"/>
                    </a:lnTo>
                    <a:close/>
                  </a:path>
                </a:pathLst>
              </a:custGeom>
              <a:solidFill>
                <a:srgbClr val="B55B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 name="Google Shape;2177;p56">
                <a:extLst>
                  <a:ext uri="{FF2B5EF4-FFF2-40B4-BE49-F238E27FC236}">
                    <a16:creationId xmlns:a16="http://schemas.microsoft.com/office/drawing/2014/main" id="{A572479D-9E5D-0D68-EF47-1620B9359112}"/>
                  </a:ext>
                </a:extLst>
              </p:cNvPr>
              <p:cNvSpPr/>
              <p:nvPr/>
            </p:nvSpPr>
            <p:spPr>
              <a:xfrm flipH="1">
                <a:off x="7728966" y="4218293"/>
                <a:ext cx="183248" cy="92033"/>
              </a:xfrm>
              <a:custGeom>
                <a:avLst/>
                <a:gdLst/>
                <a:ahLst/>
                <a:cxnLst/>
                <a:rect l="l" t="t" r="r" b="b"/>
                <a:pathLst>
                  <a:path w="7573" h="3803" extrusionOk="0">
                    <a:moveTo>
                      <a:pt x="7572" y="0"/>
                    </a:moveTo>
                    <a:lnTo>
                      <a:pt x="0" y="1434"/>
                    </a:lnTo>
                    <a:lnTo>
                      <a:pt x="367" y="3803"/>
                    </a:lnTo>
                    <a:lnTo>
                      <a:pt x="7406" y="2502"/>
                    </a:lnTo>
                    <a:lnTo>
                      <a:pt x="7572" y="0"/>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 name="Google Shape;2178;p56">
                <a:extLst>
                  <a:ext uri="{FF2B5EF4-FFF2-40B4-BE49-F238E27FC236}">
                    <a16:creationId xmlns:a16="http://schemas.microsoft.com/office/drawing/2014/main" id="{726B48B2-8E9A-B097-5707-B047F44D2F88}"/>
                  </a:ext>
                </a:extLst>
              </p:cNvPr>
              <p:cNvSpPr/>
              <p:nvPr/>
            </p:nvSpPr>
            <p:spPr>
              <a:xfrm flipH="1">
                <a:off x="8333541" y="4194069"/>
                <a:ext cx="131586" cy="143700"/>
              </a:xfrm>
              <a:custGeom>
                <a:avLst/>
                <a:gdLst/>
                <a:ahLst/>
                <a:cxnLst/>
                <a:rect l="l" t="t" r="r" b="b"/>
                <a:pathLst>
                  <a:path w="5438" h="5938" extrusionOk="0">
                    <a:moveTo>
                      <a:pt x="2236" y="0"/>
                    </a:moveTo>
                    <a:lnTo>
                      <a:pt x="1" y="4637"/>
                    </a:lnTo>
                    <a:lnTo>
                      <a:pt x="3370" y="5938"/>
                    </a:lnTo>
                    <a:lnTo>
                      <a:pt x="5438" y="1468"/>
                    </a:lnTo>
                    <a:lnTo>
                      <a:pt x="2236" y="0"/>
                    </a:lnTo>
                    <a:close/>
                  </a:path>
                </a:pathLst>
              </a:custGeom>
              <a:solidFill>
                <a:srgbClr val="B55B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 name="Google Shape;2179;p56">
                <a:extLst>
                  <a:ext uri="{FF2B5EF4-FFF2-40B4-BE49-F238E27FC236}">
                    <a16:creationId xmlns:a16="http://schemas.microsoft.com/office/drawing/2014/main" id="{BEDACA9E-A2EE-0C1F-682E-EAF7A74EC79D}"/>
                  </a:ext>
                </a:extLst>
              </p:cNvPr>
              <p:cNvSpPr/>
              <p:nvPr/>
            </p:nvSpPr>
            <p:spPr>
              <a:xfrm flipH="1">
                <a:off x="8257657" y="4306623"/>
                <a:ext cx="259131" cy="166060"/>
              </a:xfrm>
              <a:custGeom>
                <a:avLst/>
                <a:gdLst/>
                <a:ahLst/>
                <a:cxnLst/>
                <a:rect l="l" t="t" r="r" b="b"/>
                <a:pathLst>
                  <a:path w="10709" h="6862" extrusionOk="0">
                    <a:moveTo>
                      <a:pt x="2125" y="0"/>
                    </a:moveTo>
                    <a:cubicBezTo>
                      <a:pt x="1902" y="0"/>
                      <a:pt x="1691" y="124"/>
                      <a:pt x="1569" y="320"/>
                    </a:cubicBezTo>
                    <a:lnTo>
                      <a:pt x="201" y="2454"/>
                    </a:lnTo>
                    <a:cubicBezTo>
                      <a:pt x="1" y="2788"/>
                      <a:pt x="134" y="3255"/>
                      <a:pt x="501" y="3422"/>
                    </a:cubicBezTo>
                    <a:cubicBezTo>
                      <a:pt x="2469" y="4256"/>
                      <a:pt x="7873" y="6524"/>
                      <a:pt x="8440" y="6657"/>
                    </a:cubicBezTo>
                    <a:cubicBezTo>
                      <a:pt x="8784" y="6756"/>
                      <a:pt x="9120" y="6862"/>
                      <a:pt x="9428" y="6862"/>
                    </a:cubicBezTo>
                    <a:cubicBezTo>
                      <a:pt x="9747" y="6862"/>
                      <a:pt x="10037" y="6747"/>
                      <a:pt x="10275" y="6391"/>
                    </a:cubicBezTo>
                    <a:cubicBezTo>
                      <a:pt x="10709" y="5657"/>
                      <a:pt x="10075" y="5190"/>
                      <a:pt x="8807" y="4489"/>
                    </a:cubicBezTo>
                    <a:cubicBezTo>
                      <a:pt x="7840" y="3956"/>
                      <a:pt x="7006" y="2521"/>
                      <a:pt x="6706" y="1954"/>
                    </a:cubicBezTo>
                    <a:cubicBezTo>
                      <a:pt x="6606" y="1787"/>
                      <a:pt x="6472" y="1654"/>
                      <a:pt x="6305" y="1587"/>
                    </a:cubicBezTo>
                    <a:lnTo>
                      <a:pt x="2369" y="53"/>
                    </a:lnTo>
                    <a:cubicBezTo>
                      <a:pt x="2289" y="17"/>
                      <a:pt x="2206" y="0"/>
                      <a:pt x="2125"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 name="Google Shape;2180;p56">
                <a:extLst>
                  <a:ext uri="{FF2B5EF4-FFF2-40B4-BE49-F238E27FC236}">
                    <a16:creationId xmlns:a16="http://schemas.microsoft.com/office/drawing/2014/main" id="{63F18027-3590-6580-2035-F88A77CE6080}"/>
                  </a:ext>
                </a:extLst>
              </p:cNvPr>
              <p:cNvSpPr/>
              <p:nvPr/>
            </p:nvSpPr>
            <p:spPr>
              <a:xfrm flipH="1">
                <a:off x="7613544" y="4389121"/>
                <a:ext cx="256711" cy="113764"/>
              </a:xfrm>
              <a:custGeom>
                <a:avLst/>
                <a:gdLst/>
                <a:ahLst/>
                <a:cxnLst/>
                <a:rect l="l" t="t" r="r" b="b"/>
                <a:pathLst>
                  <a:path w="10609" h="4701" extrusionOk="0">
                    <a:moveTo>
                      <a:pt x="4834" y="0"/>
                    </a:moveTo>
                    <a:cubicBezTo>
                      <a:pt x="4790" y="0"/>
                      <a:pt x="4746" y="4"/>
                      <a:pt x="4704" y="13"/>
                    </a:cubicBezTo>
                    <a:lnTo>
                      <a:pt x="535" y="847"/>
                    </a:lnTo>
                    <a:cubicBezTo>
                      <a:pt x="234" y="913"/>
                      <a:pt x="1" y="1180"/>
                      <a:pt x="1" y="1481"/>
                    </a:cubicBezTo>
                    <a:lnTo>
                      <a:pt x="1" y="4049"/>
                    </a:lnTo>
                    <a:cubicBezTo>
                      <a:pt x="1" y="4401"/>
                      <a:pt x="284" y="4701"/>
                      <a:pt x="647" y="4701"/>
                    </a:cubicBezTo>
                    <a:cubicBezTo>
                      <a:pt x="697" y="4701"/>
                      <a:pt x="749" y="4695"/>
                      <a:pt x="802" y="4683"/>
                    </a:cubicBezTo>
                    <a:cubicBezTo>
                      <a:pt x="2903" y="4316"/>
                      <a:pt x="8674" y="3315"/>
                      <a:pt x="9208" y="3148"/>
                    </a:cubicBezTo>
                    <a:cubicBezTo>
                      <a:pt x="9908" y="2915"/>
                      <a:pt x="10609" y="2781"/>
                      <a:pt x="10609" y="1914"/>
                    </a:cubicBezTo>
                    <a:cubicBezTo>
                      <a:pt x="10609" y="1260"/>
                      <a:pt x="10096" y="1078"/>
                      <a:pt x="9199" y="1078"/>
                    </a:cubicBezTo>
                    <a:cubicBezTo>
                      <a:pt x="8952" y="1078"/>
                      <a:pt x="8676" y="1092"/>
                      <a:pt x="8374" y="1114"/>
                    </a:cubicBezTo>
                    <a:cubicBezTo>
                      <a:pt x="8327" y="1116"/>
                      <a:pt x="8279" y="1118"/>
                      <a:pt x="8231" y="1118"/>
                    </a:cubicBezTo>
                    <a:cubicBezTo>
                      <a:pt x="7120" y="1118"/>
                      <a:pt x="5748" y="401"/>
                      <a:pt x="5205" y="113"/>
                    </a:cubicBezTo>
                    <a:cubicBezTo>
                      <a:pt x="5105" y="38"/>
                      <a:pt x="4967" y="0"/>
                      <a:pt x="4834"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 name="Google Shape;2181;p56">
                <a:extLst>
                  <a:ext uri="{FF2B5EF4-FFF2-40B4-BE49-F238E27FC236}">
                    <a16:creationId xmlns:a16="http://schemas.microsoft.com/office/drawing/2014/main" id="{757364AD-E091-6715-176B-ACA1A6540D78}"/>
                  </a:ext>
                </a:extLst>
              </p:cNvPr>
              <p:cNvSpPr/>
              <p:nvPr/>
            </p:nvSpPr>
            <p:spPr>
              <a:xfrm flipH="1">
                <a:off x="8252818" y="4148863"/>
                <a:ext cx="213107" cy="108997"/>
              </a:xfrm>
              <a:custGeom>
                <a:avLst/>
                <a:gdLst/>
                <a:ahLst/>
                <a:cxnLst/>
                <a:rect l="l" t="t" r="r" b="b"/>
                <a:pathLst>
                  <a:path w="8807" h="4504" extrusionOk="0">
                    <a:moveTo>
                      <a:pt x="734" y="0"/>
                    </a:moveTo>
                    <a:lnTo>
                      <a:pt x="0" y="2335"/>
                    </a:lnTo>
                    <a:lnTo>
                      <a:pt x="7372" y="4504"/>
                    </a:lnTo>
                    <a:lnTo>
                      <a:pt x="8807" y="1735"/>
                    </a:lnTo>
                    <a:lnTo>
                      <a:pt x="734" y="0"/>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 name="Google Shape;2182;p56">
                <a:extLst>
                  <a:ext uri="{FF2B5EF4-FFF2-40B4-BE49-F238E27FC236}">
                    <a16:creationId xmlns:a16="http://schemas.microsoft.com/office/drawing/2014/main" id="{8FCCB893-A804-4FDC-F741-4ADCCAC2AEAC}"/>
                  </a:ext>
                </a:extLst>
              </p:cNvPr>
              <p:cNvSpPr/>
              <p:nvPr/>
            </p:nvSpPr>
            <p:spPr>
              <a:xfrm flipH="1">
                <a:off x="7941251" y="2757169"/>
                <a:ext cx="108986" cy="632104"/>
              </a:xfrm>
              <a:custGeom>
                <a:avLst/>
                <a:gdLst/>
                <a:ahLst/>
                <a:cxnLst/>
                <a:rect l="l" t="t" r="r" b="b"/>
                <a:pathLst>
                  <a:path w="4504" h="26120" extrusionOk="0">
                    <a:moveTo>
                      <a:pt x="0" y="1"/>
                    </a:moveTo>
                    <a:lnTo>
                      <a:pt x="801" y="10241"/>
                    </a:lnTo>
                    <a:cubicBezTo>
                      <a:pt x="801" y="10241"/>
                      <a:pt x="2669" y="18447"/>
                      <a:pt x="3603" y="26119"/>
                    </a:cubicBezTo>
                    <a:cubicBezTo>
                      <a:pt x="4504" y="17680"/>
                      <a:pt x="1" y="2"/>
                      <a:pt x="0" y="1"/>
                    </a:cubicBez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 name="Google Shape;2183;p56">
                <a:extLst>
                  <a:ext uri="{FF2B5EF4-FFF2-40B4-BE49-F238E27FC236}">
                    <a16:creationId xmlns:a16="http://schemas.microsoft.com/office/drawing/2014/main" id="{BFFBA9F7-242D-39C9-F31C-D98094D9D2D1}"/>
                  </a:ext>
                </a:extLst>
              </p:cNvPr>
              <p:cNvSpPr/>
              <p:nvPr/>
            </p:nvSpPr>
            <p:spPr>
              <a:xfrm flipH="1">
                <a:off x="8115594" y="1716642"/>
                <a:ext cx="145306" cy="145321"/>
              </a:xfrm>
              <a:custGeom>
                <a:avLst/>
                <a:gdLst/>
                <a:ahLst/>
                <a:cxnLst/>
                <a:rect l="l" t="t" r="r" b="b"/>
                <a:pathLst>
                  <a:path w="6005" h="6005" extrusionOk="0">
                    <a:moveTo>
                      <a:pt x="1134" y="0"/>
                    </a:moveTo>
                    <a:lnTo>
                      <a:pt x="0" y="3269"/>
                    </a:lnTo>
                    <a:cubicBezTo>
                      <a:pt x="1568" y="4570"/>
                      <a:pt x="4737" y="6004"/>
                      <a:pt x="4737" y="6004"/>
                    </a:cubicBezTo>
                    <a:lnTo>
                      <a:pt x="6004" y="2235"/>
                    </a:lnTo>
                    <a:cubicBezTo>
                      <a:pt x="4270" y="1768"/>
                      <a:pt x="2602" y="1034"/>
                      <a:pt x="1134"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 name="Google Shape;2184;p56">
                <a:extLst>
                  <a:ext uri="{FF2B5EF4-FFF2-40B4-BE49-F238E27FC236}">
                    <a16:creationId xmlns:a16="http://schemas.microsoft.com/office/drawing/2014/main" id="{AAE81930-A3AC-D98C-B8AA-91F84B9AA0D5}"/>
                  </a:ext>
                </a:extLst>
              </p:cNvPr>
              <p:cNvSpPr/>
              <p:nvPr/>
            </p:nvSpPr>
            <p:spPr>
              <a:xfrm flipH="1">
                <a:off x="8014690" y="1700476"/>
                <a:ext cx="100928" cy="149387"/>
              </a:xfrm>
              <a:custGeom>
                <a:avLst/>
                <a:gdLst/>
                <a:ahLst/>
                <a:cxnLst/>
                <a:rect l="l" t="t" r="r" b="b"/>
                <a:pathLst>
                  <a:path w="4171" h="6173" extrusionOk="0">
                    <a:moveTo>
                      <a:pt x="1802" y="1"/>
                    </a:moveTo>
                    <a:cubicBezTo>
                      <a:pt x="1802" y="1"/>
                      <a:pt x="801" y="2169"/>
                      <a:pt x="0" y="2903"/>
                    </a:cubicBezTo>
                    <a:lnTo>
                      <a:pt x="2102" y="6172"/>
                    </a:lnTo>
                    <a:cubicBezTo>
                      <a:pt x="3069" y="4838"/>
                      <a:pt x="3770" y="3337"/>
                      <a:pt x="4170" y="1736"/>
                    </a:cubicBezTo>
                    <a:lnTo>
                      <a:pt x="1802"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115126714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1010"/>
        <p:cNvGrpSpPr/>
        <p:nvPr/>
      </p:nvGrpSpPr>
      <p:grpSpPr>
        <a:xfrm>
          <a:off x="0" y="0"/>
          <a:ext cx="0" cy="0"/>
          <a:chOff x="0" y="0"/>
          <a:chExt cx="0" cy="0"/>
        </a:xfrm>
      </p:grpSpPr>
      <p:sp>
        <p:nvSpPr>
          <p:cNvPr id="1011" name="Google Shape;1011;p41"/>
          <p:cNvSpPr txBox="1">
            <a:spLocks noGrp="1"/>
          </p:cNvSpPr>
          <p:nvPr>
            <p:ph type="title"/>
          </p:nvPr>
        </p:nvSpPr>
        <p:spPr>
          <a:xfrm>
            <a:off x="212566" y="74997"/>
            <a:ext cx="8700939" cy="572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2800"/>
              <a:t>Promotional Strategies</a:t>
            </a:r>
            <a:endParaRPr sz="2800"/>
          </a:p>
        </p:txBody>
      </p:sp>
      <p:sp>
        <p:nvSpPr>
          <p:cNvPr id="1012" name="Google Shape;1012;p41"/>
          <p:cNvSpPr/>
          <p:nvPr/>
        </p:nvSpPr>
        <p:spPr>
          <a:xfrm>
            <a:off x="4654525" y="829667"/>
            <a:ext cx="3796500" cy="324900"/>
          </a:xfrm>
          <a:prstGeom prst="roundRect">
            <a:avLst>
              <a:gd name="adj" fmla="val 50000"/>
            </a:avLst>
          </a:prstGeom>
          <a:solidFill>
            <a:srgbClr val="2F9C8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 name="Google Shape;1013;p41"/>
          <p:cNvSpPr/>
          <p:nvPr/>
        </p:nvSpPr>
        <p:spPr>
          <a:xfrm>
            <a:off x="713225" y="829667"/>
            <a:ext cx="3796500" cy="324900"/>
          </a:xfrm>
          <a:prstGeom prst="roundRect">
            <a:avLst>
              <a:gd name="adj" fmla="val 50000"/>
            </a:avLst>
          </a:prstGeom>
          <a:solidFill>
            <a:schemeClr val="accent2">
              <a:lumMod val="7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 name="Google Shape;1015;p41"/>
          <p:cNvSpPr txBox="1"/>
          <p:nvPr/>
        </p:nvSpPr>
        <p:spPr>
          <a:xfrm>
            <a:off x="889903" y="1218256"/>
            <a:ext cx="2319373" cy="1917117"/>
          </a:xfrm>
          <a:prstGeom prst="rect">
            <a:avLst/>
          </a:prstGeom>
          <a:noFill/>
          <a:ln>
            <a:noFill/>
          </a:ln>
        </p:spPr>
        <p:txBody>
          <a:bodyPr spcFirstLastPara="1" wrap="square" lIns="91425" tIns="91425" rIns="91425" bIns="91425" anchor="ctr" anchorCtr="0">
            <a:noAutofit/>
          </a:bodyPr>
          <a:lstStyle/>
          <a:p>
            <a:pPr marL="285750" indent="-285750">
              <a:buFont typeface="Arial" panose="020B0604020202020204" pitchFamily="34" charset="0"/>
              <a:buChar char="•"/>
            </a:pPr>
            <a:r>
              <a:rPr lang="en" sz="1400">
                <a:solidFill>
                  <a:schemeClr val="lt1"/>
                </a:solidFill>
                <a:latin typeface="Source Sans Pro"/>
                <a:ea typeface="Source Sans Pro"/>
                <a:cs typeface="Source Sans Pro"/>
              </a:rPr>
              <a:t>Clifford’s account = eligible to earn CPs</a:t>
            </a:r>
          </a:p>
          <a:p>
            <a:endParaRPr lang="en" sz="500">
              <a:solidFill>
                <a:schemeClr val="lt1"/>
              </a:solidFill>
              <a:latin typeface="Source Sans Pro"/>
              <a:ea typeface="Source Sans Pro"/>
              <a:cs typeface="Source Sans Pro"/>
            </a:endParaRPr>
          </a:p>
          <a:p>
            <a:pPr marL="285750" indent="-285750">
              <a:buFont typeface="Arial" panose="020B0604020202020204" pitchFamily="34" charset="0"/>
              <a:buChar char="•"/>
            </a:pPr>
            <a:r>
              <a:rPr lang="en" sz="1400">
                <a:solidFill>
                  <a:schemeClr val="lt1"/>
                </a:solidFill>
                <a:latin typeface="Source Sans Pro"/>
                <a:ea typeface="Source Sans Pro"/>
                <a:cs typeface="Source Sans Pro"/>
              </a:rPr>
              <a:t>Integrated in the Website account</a:t>
            </a:r>
          </a:p>
          <a:p>
            <a:endParaRPr lang="en" sz="500">
              <a:solidFill>
                <a:schemeClr val="lt1"/>
              </a:solidFill>
              <a:latin typeface="Source Sans Pro"/>
              <a:ea typeface="Source Sans Pro"/>
              <a:cs typeface="Source Sans Pro"/>
            </a:endParaRPr>
          </a:p>
          <a:p>
            <a:pPr marL="285750" indent="-285750">
              <a:buFont typeface="Arial" panose="020B0604020202020204" pitchFamily="34" charset="0"/>
              <a:buChar char="•"/>
            </a:pPr>
            <a:r>
              <a:rPr lang="en" sz="1400">
                <a:solidFill>
                  <a:schemeClr val="lt1"/>
                </a:solidFill>
                <a:latin typeface="Source Sans Pro"/>
                <a:ea typeface="Source Sans Pro"/>
                <a:cs typeface="Source Sans Pro"/>
              </a:rPr>
              <a:t>1 CP for every $1 spent</a:t>
            </a:r>
          </a:p>
          <a:p>
            <a:endParaRPr lang="en" sz="500">
              <a:solidFill>
                <a:schemeClr val="lt1"/>
              </a:solidFill>
              <a:latin typeface="Source Sans Pro"/>
              <a:ea typeface="Source Sans Pro"/>
              <a:cs typeface="Source Sans Pro"/>
            </a:endParaRPr>
          </a:p>
          <a:p>
            <a:pPr marL="285750" indent="-285750">
              <a:buFont typeface="Arial" panose="020B0604020202020204" pitchFamily="34" charset="0"/>
              <a:buChar char="•"/>
            </a:pPr>
            <a:r>
              <a:rPr lang="en" sz="1400">
                <a:solidFill>
                  <a:schemeClr val="lt1"/>
                </a:solidFill>
                <a:latin typeface="Source Sans Pro"/>
                <a:ea typeface="Source Sans Pro"/>
                <a:cs typeface="Source Sans Pro"/>
              </a:rPr>
              <a:t> 100 CP = $1 discount</a:t>
            </a:r>
          </a:p>
          <a:p>
            <a:pPr marL="285750" indent="-285750">
              <a:buFont typeface="Arial" panose="020B0604020202020204" pitchFamily="34" charset="0"/>
              <a:buChar char="•"/>
            </a:pPr>
            <a:endParaRPr lang="en" sz="1400">
              <a:solidFill>
                <a:schemeClr val="lt1"/>
              </a:solidFill>
              <a:latin typeface="Source Sans Pro"/>
              <a:ea typeface="Source Sans Pro"/>
              <a:cs typeface="Source Sans Pro"/>
            </a:endParaRPr>
          </a:p>
        </p:txBody>
      </p:sp>
      <p:sp>
        <p:nvSpPr>
          <p:cNvPr id="1026" name="Google Shape;1026;p41"/>
          <p:cNvSpPr txBox="1"/>
          <p:nvPr/>
        </p:nvSpPr>
        <p:spPr>
          <a:xfrm>
            <a:off x="692975" y="899699"/>
            <a:ext cx="3300065" cy="2244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CA">
                <a:solidFill>
                  <a:srgbClr val="FFFFFF"/>
                </a:solidFill>
                <a:latin typeface="Hammersmith One"/>
                <a:ea typeface="Hammersmith One"/>
                <a:cs typeface="Hammersmith One"/>
                <a:sym typeface="Hammersmith One"/>
              </a:rPr>
              <a:t>Cliff Points: Loyalty Program</a:t>
            </a:r>
            <a:endParaRPr lang="en-CA" sz="1800">
              <a:solidFill>
                <a:srgbClr val="FFFFFF"/>
              </a:solidFill>
              <a:latin typeface="Hammersmith One"/>
              <a:ea typeface="Hammersmith One"/>
              <a:cs typeface="Hammersmith One"/>
              <a:sym typeface="Hammersmith One"/>
            </a:endParaRPr>
          </a:p>
        </p:txBody>
      </p:sp>
      <p:sp>
        <p:nvSpPr>
          <p:cNvPr id="1027" name="Google Shape;1027;p41"/>
          <p:cNvSpPr txBox="1"/>
          <p:nvPr/>
        </p:nvSpPr>
        <p:spPr>
          <a:xfrm>
            <a:off x="5922310" y="886590"/>
            <a:ext cx="2362707" cy="2244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CA" sz="1800">
                <a:solidFill>
                  <a:schemeClr val="lt1"/>
                </a:solidFill>
                <a:latin typeface="Hammersmith One"/>
                <a:ea typeface="Hammersmith One"/>
                <a:cs typeface="Hammersmith One"/>
                <a:sym typeface="Hammersmith One"/>
              </a:rPr>
              <a:t>Targeted</a:t>
            </a:r>
            <a:r>
              <a:rPr lang="en-CA">
                <a:solidFill>
                  <a:schemeClr val="lt1"/>
                </a:solidFill>
                <a:latin typeface="Hammersmith One"/>
                <a:ea typeface="Hammersmith One"/>
                <a:cs typeface="Hammersmith One"/>
                <a:sym typeface="Hammersmith One"/>
              </a:rPr>
              <a:t> Promotion</a:t>
            </a:r>
            <a:endParaRPr lang="en-CA" sz="1800">
              <a:solidFill>
                <a:schemeClr val="lt1"/>
              </a:solidFill>
              <a:latin typeface="Hammersmith One"/>
              <a:ea typeface="Hammersmith One"/>
              <a:cs typeface="Hammersmith One"/>
              <a:sym typeface="Hammersmith One"/>
            </a:endParaRPr>
          </a:p>
        </p:txBody>
      </p:sp>
      <p:sp>
        <p:nvSpPr>
          <p:cNvPr id="1028" name="Google Shape;1028;p41"/>
          <p:cNvSpPr/>
          <p:nvPr/>
        </p:nvSpPr>
        <p:spPr>
          <a:xfrm>
            <a:off x="3422823" y="4349867"/>
            <a:ext cx="2597056" cy="177868"/>
          </a:xfrm>
          <a:custGeom>
            <a:avLst/>
            <a:gdLst/>
            <a:ahLst/>
            <a:cxnLst/>
            <a:rect l="l" t="t" r="r" b="b"/>
            <a:pathLst>
              <a:path w="161716" h="9441" extrusionOk="0">
                <a:moveTo>
                  <a:pt x="80858" y="1"/>
                </a:moveTo>
                <a:cubicBezTo>
                  <a:pt x="36193" y="1"/>
                  <a:pt x="0" y="2136"/>
                  <a:pt x="0" y="4738"/>
                </a:cubicBezTo>
                <a:cubicBezTo>
                  <a:pt x="0" y="7339"/>
                  <a:pt x="36193" y="9441"/>
                  <a:pt x="80858" y="9441"/>
                </a:cubicBezTo>
                <a:cubicBezTo>
                  <a:pt x="125523" y="9441"/>
                  <a:pt x="161716" y="7339"/>
                  <a:pt x="161716" y="4738"/>
                </a:cubicBezTo>
                <a:cubicBezTo>
                  <a:pt x="161716" y="2136"/>
                  <a:pt x="125523" y="1"/>
                  <a:pt x="80858" y="1"/>
                </a:cubicBezTo>
                <a:close/>
              </a:path>
            </a:pathLst>
          </a:custGeom>
          <a:solidFill>
            <a:srgbClr val="F5F5F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29" name="Google Shape;1029;p41"/>
          <p:cNvGrpSpPr/>
          <p:nvPr/>
        </p:nvGrpSpPr>
        <p:grpSpPr>
          <a:xfrm>
            <a:off x="3222390" y="1368123"/>
            <a:ext cx="1738209" cy="3102605"/>
            <a:chOff x="4765234" y="1949077"/>
            <a:chExt cx="1484254" cy="2649778"/>
          </a:xfrm>
        </p:grpSpPr>
        <p:sp>
          <p:nvSpPr>
            <p:cNvPr id="1030" name="Google Shape;1030;p41"/>
            <p:cNvSpPr/>
            <p:nvPr/>
          </p:nvSpPr>
          <p:spPr>
            <a:xfrm>
              <a:off x="5959077" y="4450147"/>
              <a:ext cx="290411" cy="2124"/>
            </a:xfrm>
            <a:custGeom>
              <a:avLst/>
              <a:gdLst/>
              <a:ahLst/>
              <a:cxnLst/>
              <a:rect l="l" t="t" r="r" b="b"/>
              <a:pathLst>
                <a:path w="13811" h="101" extrusionOk="0">
                  <a:moveTo>
                    <a:pt x="1" y="0"/>
                  </a:moveTo>
                  <a:lnTo>
                    <a:pt x="1" y="100"/>
                  </a:lnTo>
                  <a:lnTo>
                    <a:pt x="13811" y="100"/>
                  </a:lnTo>
                  <a:lnTo>
                    <a:pt x="13811" y="0"/>
                  </a:lnTo>
                  <a:close/>
                </a:path>
              </a:pathLst>
            </a:custGeom>
            <a:solidFill>
              <a:srgbClr val="EBEBE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 name="Google Shape;1031;p41"/>
            <p:cNvSpPr/>
            <p:nvPr/>
          </p:nvSpPr>
          <p:spPr>
            <a:xfrm>
              <a:off x="5132803" y="4473993"/>
              <a:ext cx="75762" cy="2124"/>
            </a:xfrm>
            <a:custGeom>
              <a:avLst/>
              <a:gdLst/>
              <a:ahLst/>
              <a:cxnLst/>
              <a:rect l="l" t="t" r="r" b="b"/>
              <a:pathLst>
                <a:path w="3603" h="101" extrusionOk="0">
                  <a:moveTo>
                    <a:pt x="0" y="0"/>
                  </a:moveTo>
                  <a:lnTo>
                    <a:pt x="0" y="100"/>
                  </a:lnTo>
                  <a:lnTo>
                    <a:pt x="3603" y="100"/>
                  </a:lnTo>
                  <a:lnTo>
                    <a:pt x="3603" y="0"/>
                  </a:lnTo>
                  <a:close/>
                </a:path>
              </a:pathLst>
            </a:custGeom>
            <a:solidFill>
              <a:srgbClr val="EBEBE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 name="Google Shape;1032;p41"/>
            <p:cNvSpPr/>
            <p:nvPr/>
          </p:nvSpPr>
          <p:spPr>
            <a:xfrm>
              <a:off x="5781621" y="4368769"/>
              <a:ext cx="168367" cy="2124"/>
            </a:xfrm>
            <a:custGeom>
              <a:avLst/>
              <a:gdLst/>
              <a:ahLst/>
              <a:cxnLst/>
              <a:rect l="l" t="t" r="r" b="b"/>
              <a:pathLst>
                <a:path w="8007" h="101" extrusionOk="0">
                  <a:moveTo>
                    <a:pt x="0" y="1"/>
                  </a:moveTo>
                  <a:lnTo>
                    <a:pt x="0" y="101"/>
                  </a:lnTo>
                  <a:lnTo>
                    <a:pt x="8006" y="101"/>
                  </a:lnTo>
                  <a:lnTo>
                    <a:pt x="8006" y="1"/>
                  </a:lnTo>
                  <a:close/>
                </a:path>
              </a:pathLst>
            </a:custGeom>
            <a:solidFill>
              <a:srgbClr val="EBEBE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 name="Google Shape;1033;p41"/>
            <p:cNvSpPr/>
            <p:nvPr/>
          </p:nvSpPr>
          <p:spPr>
            <a:xfrm>
              <a:off x="5104037" y="2676204"/>
              <a:ext cx="25275" cy="24581"/>
            </a:xfrm>
            <a:custGeom>
              <a:avLst/>
              <a:gdLst/>
              <a:ahLst/>
              <a:cxnLst/>
              <a:rect l="l" t="t" r="r" b="b"/>
              <a:pathLst>
                <a:path w="1202" h="1169" extrusionOk="0">
                  <a:moveTo>
                    <a:pt x="0" y="1"/>
                  </a:moveTo>
                  <a:lnTo>
                    <a:pt x="0" y="1168"/>
                  </a:lnTo>
                  <a:lnTo>
                    <a:pt x="1201" y="1168"/>
                  </a:lnTo>
                  <a:lnTo>
                    <a:pt x="1201"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 name="Google Shape;1034;p41"/>
            <p:cNvSpPr/>
            <p:nvPr/>
          </p:nvSpPr>
          <p:spPr>
            <a:xfrm>
              <a:off x="5880516" y="3009393"/>
              <a:ext cx="24581" cy="24581"/>
            </a:xfrm>
            <a:custGeom>
              <a:avLst/>
              <a:gdLst/>
              <a:ahLst/>
              <a:cxnLst/>
              <a:rect l="l" t="t" r="r" b="b"/>
              <a:pathLst>
                <a:path w="1169" h="1169" extrusionOk="0">
                  <a:moveTo>
                    <a:pt x="1" y="1"/>
                  </a:moveTo>
                  <a:lnTo>
                    <a:pt x="1" y="1168"/>
                  </a:lnTo>
                  <a:lnTo>
                    <a:pt x="1168" y="1168"/>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 name="Google Shape;1035;p41"/>
            <p:cNvSpPr/>
            <p:nvPr/>
          </p:nvSpPr>
          <p:spPr>
            <a:xfrm>
              <a:off x="5880516" y="3050776"/>
              <a:ext cx="24581" cy="24581"/>
            </a:xfrm>
            <a:custGeom>
              <a:avLst/>
              <a:gdLst/>
              <a:ahLst/>
              <a:cxnLst/>
              <a:rect l="l" t="t" r="r" b="b"/>
              <a:pathLst>
                <a:path w="1169" h="1169" extrusionOk="0">
                  <a:moveTo>
                    <a:pt x="1" y="1"/>
                  </a:moveTo>
                  <a:lnTo>
                    <a:pt x="1" y="1168"/>
                  </a:lnTo>
                  <a:lnTo>
                    <a:pt x="1168" y="1168"/>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 name="Google Shape;1036;p41"/>
            <p:cNvSpPr/>
            <p:nvPr/>
          </p:nvSpPr>
          <p:spPr>
            <a:xfrm>
              <a:off x="5840542" y="3009393"/>
              <a:ext cx="25275" cy="24581"/>
            </a:xfrm>
            <a:custGeom>
              <a:avLst/>
              <a:gdLst/>
              <a:ahLst/>
              <a:cxnLst/>
              <a:rect l="l" t="t" r="r" b="b"/>
              <a:pathLst>
                <a:path w="1202" h="1169" extrusionOk="0">
                  <a:moveTo>
                    <a:pt x="0" y="1"/>
                  </a:moveTo>
                  <a:lnTo>
                    <a:pt x="0" y="1168"/>
                  </a:lnTo>
                  <a:lnTo>
                    <a:pt x="1201" y="1168"/>
                  </a:lnTo>
                  <a:lnTo>
                    <a:pt x="1201"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 name="Google Shape;1037;p41"/>
            <p:cNvSpPr/>
            <p:nvPr/>
          </p:nvSpPr>
          <p:spPr>
            <a:xfrm>
              <a:off x="5840542" y="3050776"/>
              <a:ext cx="25275" cy="24581"/>
            </a:xfrm>
            <a:custGeom>
              <a:avLst/>
              <a:gdLst/>
              <a:ahLst/>
              <a:cxnLst/>
              <a:rect l="l" t="t" r="r" b="b"/>
              <a:pathLst>
                <a:path w="1202" h="1169" extrusionOk="0">
                  <a:moveTo>
                    <a:pt x="0" y="1"/>
                  </a:moveTo>
                  <a:lnTo>
                    <a:pt x="0" y="1168"/>
                  </a:lnTo>
                  <a:lnTo>
                    <a:pt x="1201" y="1168"/>
                  </a:lnTo>
                  <a:lnTo>
                    <a:pt x="1201"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 name="Google Shape;1038;p41"/>
            <p:cNvSpPr/>
            <p:nvPr/>
          </p:nvSpPr>
          <p:spPr>
            <a:xfrm>
              <a:off x="5840542" y="3092159"/>
              <a:ext cx="25275" cy="25275"/>
            </a:xfrm>
            <a:custGeom>
              <a:avLst/>
              <a:gdLst/>
              <a:ahLst/>
              <a:cxnLst/>
              <a:rect l="l" t="t" r="r" b="b"/>
              <a:pathLst>
                <a:path w="1202" h="1202" extrusionOk="0">
                  <a:moveTo>
                    <a:pt x="0" y="1"/>
                  </a:moveTo>
                  <a:lnTo>
                    <a:pt x="0" y="1202"/>
                  </a:lnTo>
                  <a:lnTo>
                    <a:pt x="1201" y="1202"/>
                  </a:lnTo>
                  <a:lnTo>
                    <a:pt x="1201"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 name="Google Shape;1039;p41"/>
            <p:cNvSpPr/>
            <p:nvPr/>
          </p:nvSpPr>
          <p:spPr>
            <a:xfrm>
              <a:off x="5801262" y="3009393"/>
              <a:ext cx="24560" cy="24581"/>
            </a:xfrm>
            <a:custGeom>
              <a:avLst/>
              <a:gdLst/>
              <a:ahLst/>
              <a:cxnLst/>
              <a:rect l="l" t="t" r="r" b="b"/>
              <a:pathLst>
                <a:path w="1168" h="1169" extrusionOk="0">
                  <a:moveTo>
                    <a:pt x="0" y="1"/>
                  </a:moveTo>
                  <a:lnTo>
                    <a:pt x="0" y="1168"/>
                  </a:lnTo>
                  <a:lnTo>
                    <a:pt x="1168" y="1168"/>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 name="Google Shape;1040;p41"/>
            <p:cNvSpPr/>
            <p:nvPr/>
          </p:nvSpPr>
          <p:spPr>
            <a:xfrm>
              <a:off x="5801262" y="3050776"/>
              <a:ext cx="24560" cy="24581"/>
            </a:xfrm>
            <a:custGeom>
              <a:avLst/>
              <a:gdLst/>
              <a:ahLst/>
              <a:cxnLst/>
              <a:rect l="l" t="t" r="r" b="b"/>
              <a:pathLst>
                <a:path w="1168" h="1169" extrusionOk="0">
                  <a:moveTo>
                    <a:pt x="0" y="1"/>
                  </a:moveTo>
                  <a:lnTo>
                    <a:pt x="0" y="1168"/>
                  </a:lnTo>
                  <a:lnTo>
                    <a:pt x="1168" y="1168"/>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 name="Google Shape;1041;p41"/>
            <p:cNvSpPr/>
            <p:nvPr/>
          </p:nvSpPr>
          <p:spPr>
            <a:xfrm>
              <a:off x="5801262" y="3092159"/>
              <a:ext cx="24560" cy="25275"/>
            </a:xfrm>
            <a:custGeom>
              <a:avLst/>
              <a:gdLst/>
              <a:ahLst/>
              <a:cxnLst/>
              <a:rect l="l" t="t" r="r" b="b"/>
              <a:pathLst>
                <a:path w="1168" h="1202" extrusionOk="0">
                  <a:moveTo>
                    <a:pt x="0" y="1"/>
                  </a:moveTo>
                  <a:lnTo>
                    <a:pt x="0" y="1202"/>
                  </a:lnTo>
                  <a:lnTo>
                    <a:pt x="1168" y="1202"/>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 name="Google Shape;1042;p41"/>
            <p:cNvSpPr/>
            <p:nvPr/>
          </p:nvSpPr>
          <p:spPr>
            <a:xfrm>
              <a:off x="5801262" y="3134257"/>
              <a:ext cx="24560" cy="24560"/>
            </a:xfrm>
            <a:custGeom>
              <a:avLst/>
              <a:gdLst/>
              <a:ahLst/>
              <a:cxnLst/>
              <a:rect l="l" t="t" r="r" b="b"/>
              <a:pathLst>
                <a:path w="1168" h="1168" extrusionOk="0">
                  <a:moveTo>
                    <a:pt x="0" y="0"/>
                  </a:moveTo>
                  <a:lnTo>
                    <a:pt x="0" y="1168"/>
                  </a:lnTo>
                  <a:lnTo>
                    <a:pt x="1168" y="1168"/>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 name="Google Shape;1043;p41"/>
            <p:cNvSpPr/>
            <p:nvPr/>
          </p:nvSpPr>
          <p:spPr>
            <a:xfrm>
              <a:off x="5801262" y="3175640"/>
              <a:ext cx="24560" cy="25275"/>
            </a:xfrm>
            <a:custGeom>
              <a:avLst/>
              <a:gdLst/>
              <a:ahLst/>
              <a:cxnLst/>
              <a:rect l="l" t="t" r="r" b="b"/>
              <a:pathLst>
                <a:path w="1168" h="1202" extrusionOk="0">
                  <a:moveTo>
                    <a:pt x="0" y="0"/>
                  </a:moveTo>
                  <a:lnTo>
                    <a:pt x="0" y="1201"/>
                  </a:lnTo>
                  <a:lnTo>
                    <a:pt x="1168" y="1201"/>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 name="Google Shape;1044;p41"/>
            <p:cNvSpPr/>
            <p:nvPr/>
          </p:nvSpPr>
          <p:spPr>
            <a:xfrm>
              <a:off x="5801262" y="3217717"/>
              <a:ext cx="24560" cy="24581"/>
            </a:xfrm>
            <a:custGeom>
              <a:avLst/>
              <a:gdLst/>
              <a:ahLst/>
              <a:cxnLst/>
              <a:rect l="l" t="t" r="r" b="b"/>
              <a:pathLst>
                <a:path w="1168" h="1169" extrusionOk="0">
                  <a:moveTo>
                    <a:pt x="0" y="1"/>
                  </a:moveTo>
                  <a:lnTo>
                    <a:pt x="0" y="1168"/>
                  </a:lnTo>
                  <a:lnTo>
                    <a:pt x="1168" y="1168"/>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 name="Google Shape;1045;p41"/>
            <p:cNvSpPr/>
            <p:nvPr/>
          </p:nvSpPr>
          <p:spPr>
            <a:xfrm>
              <a:off x="5801262" y="3259100"/>
              <a:ext cx="24560" cy="24581"/>
            </a:xfrm>
            <a:custGeom>
              <a:avLst/>
              <a:gdLst/>
              <a:ahLst/>
              <a:cxnLst/>
              <a:rect l="l" t="t" r="r" b="b"/>
              <a:pathLst>
                <a:path w="1168" h="1169" extrusionOk="0">
                  <a:moveTo>
                    <a:pt x="0" y="1"/>
                  </a:moveTo>
                  <a:lnTo>
                    <a:pt x="0" y="1168"/>
                  </a:lnTo>
                  <a:lnTo>
                    <a:pt x="1168" y="1168"/>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 name="Google Shape;1046;p41"/>
            <p:cNvSpPr/>
            <p:nvPr/>
          </p:nvSpPr>
          <p:spPr>
            <a:xfrm>
              <a:off x="5801262" y="3300483"/>
              <a:ext cx="24560" cy="25275"/>
            </a:xfrm>
            <a:custGeom>
              <a:avLst/>
              <a:gdLst/>
              <a:ahLst/>
              <a:cxnLst/>
              <a:rect l="l" t="t" r="r" b="b"/>
              <a:pathLst>
                <a:path w="1168" h="1202" extrusionOk="0">
                  <a:moveTo>
                    <a:pt x="0" y="1"/>
                  </a:moveTo>
                  <a:lnTo>
                    <a:pt x="0" y="1202"/>
                  </a:lnTo>
                  <a:lnTo>
                    <a:pt x="1168" y="1202"/>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 name="Google Shape;1047;p41"/>
            <p:cNvSpPr/>
            <p:nvPr/>
          </p:nvSpPr>
          <p:spPr>
            <a:xfrm>
              <a:off x="5801262" y="3342581"/>
              <a:ext cx="24560" cy="24560"/>
            </a:xfrm>
            <a:custGeom>
              <a:avLst/>
              <a:gdLst/>
              <a:ahLst/>
              <a:cxnLst/>
              <a:rect l="l" t="t" r="r" b="b"/>
              <a:pathLst>
                <a:path w="1168" h="1168" extrusionOk="0">
                  <a:moveTo>
                    <a:pt x="0" y="0"/>
                  </a:moveTo>
                  <a:lnTo>
                    <a:pt x="0" y="1168"/>
                  </a:lnTo>
                  <a:lnTo>
                    <a:pt x="1168" y="1168"/>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 name="Google Shape;1048;p41"/>
            <p:cNvSpPr/>
            <p:nvPr/>
          </p:nvSpPr>
          <p:spPr>
            <a:xfrm>
              <a:off x="5801262" y="3383965"/>
              <a:ext cx="24560" cy="25275"/>
            </a:xfrm>
            <a:custGeom>
              <a:avLst/>
              <a:gdLst/>
              <a:ahLst/>
              <a:cxnLst/>
              <a:rect l="l" t="t" r="r" b="b"/>
              <a:pathLst>
                <a:path w="1168" h="1202" extrusionOk="0">
                  <a:moveTo>
                    <a:pt x="0" y="0"/>
                  </a:moveTo>
                  <a:lnTo>
                    <a:pt x="0" y="1201"/>
                  </a:lnTo>
                  <a:lnTo>
                    <a:pt x="1168" y="1201"/>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 name="Google Shape;1049;p41"/>
            <p:cNvSpPr/>
            <p:nvPr/>
          </p:nvSpPr>
          <p:spPr>
            <a:xfrm>
              <a:off x="5801262" y="3426042"/>
              <a:ext cx="24560" cy="24581"/>
            </a:xfrm>
            <a:custGeom>
              <a:avLst/>
              <a:gdLst/>
              <a:ahLst/>
              <a:cxnLst/>
              <a:rect l="l" t="t" r="r" b="b"/>
              <a:pathLst>
                <a:path w="1168" h="1169" extrusionOk="0">
                  <a:moveTo>
                    <a:pt x="0" y="1"/>
                  </a:moveTo>
                  <a:lnTo>
                    <a:pt x="0" y="1168"/>
                  </a:lnTo>
                  <a:lnTo>
                    <a:pt x="1168" y="1168"/>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 name="Google Shape;1050;p41"/>
            <p:cNvSpPr/>
            <p:nvPr/>
          </p:nvSpPr>
          <p:spPr>
            <a:xfrm>
              <a:off x="5801262" y="3467425"/>
              <a:ext cx="24560" cy="24581"/>
            </a:xfrm>
            <a:custGeom>
              <a:avLst/>
              <a:gdLst/>
              <a:ahLst/>
              <a:cxnLst/>
              <a:rect l="l" t="t" r="r" b="b"/>
              <a:pathLst>
                <a:path w="1168" h="1169" extrusionOk="0">
                  <a:moveTo>
                    <a:pt x="0" y="1"/>
                  </a:moveTo>
                  <a:lnTo>
                    <a:pt x="0" y="1168"/>
                  </a:lnTo>
                  <a:lnTo>
                    <a:pt x="1168" y="1168"/>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 name="Google Shape;1051;p41"/>
            <p:cNvSpPr/>
            <p:nvPr/>
          </p:nvSpPr>
          <p:spPr>
            <a:xfrm>
              <a:off x="5801262" y="3508808"/>
              <a:ext cx="24560" cy="25275"/>
            </a:xfrm>
            <a:custGeom>
              <a:avLst/>
              <a:gdLst/>
              <a:ahLst/>
              <a:cxnLst/>
              <a:rect l="l" t="t" r="r" b="b"/>
              <a:pathLst>
                <a:path w="1168" h="1202" extrusionOk="0">
                  <a:moveTo>
                    <a:pt x="0" y="1"/>
                  </a:moveTo>
                  <a:lnTo>
                    <a:pt x="0" y="1202"/>
                  </a:lnTo>
                  <a:lnTo>
                    <a:pt x="1168" y="1202"/>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 name="Google Shape;1052;p41"/>
            <p:cNvSpPr/>
            <p:nvPr/>
          </p:nvSpPr>
          <p:spPr>
            <a:xfrm>
              <a:off x="5801262" y="3550906"/>
              <a:ext cx="24560" cy="24560"/>
            </a:xfrm>
            <a:custGeom>
              <a:avLst/>
              <a:gdLst/>
              <a:ahLst/>
              <a:cxnLst/>
              <a:rect l="l" t="t" r="r" b="b"/>
              <a:pathLst>
                <a:path w="1168" h="1168" extrusionOk="0">
                  <a:moveTo>
                    <a:pt x="0" y="0"/>
                  </a:moveTo>
                  <a:lnTo>
                    <a:pt x="0" y="1168"/>
                  </a:lnTo>
                  <a:lnTo>
                    <a:pt x="1168" y="1168"/>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 name="Google Shape;1053;p41"/>
            <p:cNvSpPr/>
            <p:nvPr/>
          </p:nvSpPr>
          <p:spPr>
            <a:xfrm>
              <a:off x="5801262" y="3592289"/>
              <a:ext cx="24560" cy="24560"/>
            </a:xfrm>
            <a:custGeom>
              <a:avLst/>
              <a:gdLst/>
              <a:ahLst/>
              <a:cxnLst/>
              <a:rect l="l" t="t" r="r" b="b"/>
              <a:pathLst>
                <a:path w="1168" h="1168" extrusionOk="0">
                  <a:moveTo>
                    <a:pt x="0" y="0"/>
                  </a:moveTo>
                  <a:lnTo>
                    <a:pt x="0" y="1168"/>
                  </a:lnTo>
                  <a:lnTo>
                    <a:pt x="1168" y="1168"/>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 name="Google Shape;1054;p41"/>
            <p:cNvSpPr/>
            <p:nvPr/>
          </p:nvSpPr>
          <p:spPr>
            <a:xfrm>
              <a:off x="5801262" y="3633672"/>
              <a:ext cx="24560" cy="25275"/>
            </a:xfrm>
            <a:custGeom>
              <a:avLst/>
              <a:gdLst/>
              <a:ahLst/>
              <a:cxnLst/>
              <a:rect l="l" t="t" r="r" b="b"/>
              <a:pathLst>
                <a:path w="1168" h="1202" extrusionOk="0">
                  <a:moveTo>
                    <a:pt x="0" y="0"/>
                  </a:moveTo>
                  <a:lnTo>
                    <a:pt x="0" y="1201"/>
                  </a:lnTo>
                  <a:lnTo>
                    <a:pt x="1168" y="1201"/>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 name="Google Shape;1055;p41"/>
            <p:cNvSpPr/>
            <p:nvPr/>
          </p:nvSpPr>
          <p:spPr>
            <a:xfrm>
              <a:off x="5801262" y="3675749"/>
              <a:ext cx="24560" cy="24581"/>
            </a:xfrm>
            <a:custGeom>
              <a:avLst/>
              <a:gdLst/>
              <a:ahLst/>
              <a:cxnLst/>
              <a:rect l="l" t="t" r="r" b="b"/>
              <a:pathLst>
                <a:path w="1168" h="1169" extrusionOk="0">
                  <a:moveTo>
                    <a:pt x="0" y="1"/>
                  </a:moveTo>
                  <a:lnTo>
                    <a:pt x="0" y="1168"/>
                  </a:lnTo>
                  <a:lnTo>
                    <a:pt x="1168" y="1168"/>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 name="Google Shape;1056;p41"/>
            <p:cNvSpPr/>
            <p:nvPr/>
          </p:nvSpPr>
          <p:spPr>
            <a:xfrm>
              <a:off x="5801262" y="3717132"/>
              <a:ext cx="24560" cy="25275"/>
            </a:xfrm>
            <a:custGeom>
              <a:avLst/>
              <a:gdLst/>
              <a:ahLst/>
              <a:cxnLst/>
              <a:rect l="l" t="t" r="r" b="b"/>
              <a:pathLst>
                <a:path w="1168" h="1202" extrusionOk="0">
                  <a:moveTo>
                    <a:pt x="0" y="1"/>
                  </a:moveTo>
                  <a:lnTo>
                    <a:pt x="0" y="1202"/>
                  </a:lnTo>
                  <a:lnTo>
                    <a:pt x="1168" y="1202"/>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 name="Google Shape;1057;p41"/>
            <p:cNvSpPr/>
            <p:nvPr/>
          </p:nvSpPr>
          <p:spPr>
            <a:xfrm>
              <a:off x="5729703" y="3325738"/>
              <a:ext cx="24581" cy="24581"/>
            </a:xfrm>
            <a:custGeom>
              <a:avLst/>
              <a:gdLst/>
              <a:ahLst/>
              <a:cxnLst/>
              <a:rect l="l" t="t" r="r" b="b"/>
              <a:pathLst>
                <a:path w="1169" h="1169" extrusionOk="0">
                  <a:moveTo>
                    <a:pt x="1" y="1"/>
                  </a:moveTo>
                  <a:lnTo>
                    <a:pt x="1" y="1168"/>
                  </a:lnTo>
                  <a:lnTo>
                    <a:pt x="1168" y="1168"/>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 name="Google Shape;1058;p41"/>
            <p:cNvSpPr/>
            <p:nvPr/>
          </p:nvSpPr>
          <p:spPr>
            <a:xfrm>
              <a:off x="5729703" y="3367121"/>
              <a:ext cx="24581" cy="25275"/>
            </a:xfrm>
            <a:custGeom>
              <a:avLst/>
              <a:gdLst/>
              <a:ahLst/>
              <a:cxnLst/>
              <a:rect l="l" t="t" r="r" b="b"/>
              <a:pathLst>
                <a:path w="1169" h="1202" extrusionOk="0">
                  <a:moveTo>
                    <a:pt x="1" y="1"/>
                  </a:moveTo>
                  <a:lnTo>
                    <a:pt x="1" y="1202"/>
                  </a:lnTo>
                  <a:lnTo>
                    <a:pt x="1168" y="1202"/>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 name="Google Shape;1059;p41"/>
            <p:cNvSpPr/>
            <p:nvPr/>
          </p:nvSpPr>
          <p:spPr>
            <a:xfrm>
              <a:off x="5729703" y="3409219"/>
              <a:ext cx="24581" cy="24560"/>
            </a:xfrm>
            <a:custGeom>
              <a:avLst/>
              <a:gdLst/>
              <a:ahLst/>
              <a:cxnLst/>
              <a:rect l="l" t="t" r="r" b="b"/>
              <a:pathLst>
                <a:path w="1169" h="1168" extrusionOk="0">
                  <a:moveTo>
                    <a:pt x="1" y="0"/>
                  </a:moveTo>
                  <a:lnTo>
                    <a:pt x="1" y="1168"/>
                  </a:lnTo>
                  <a:lnTo>
                    <a:pt x="1168" y="1168"/>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 name="Google Shape;1060;p41"/>
            <p:cNvSpPr/>
            <p:nvPr/>
          </p:nvSpPr>
          <p:spPr>
            <a:xfrm>
              <a:off x="5729703" y="3450602"/>
              <a:ext cx="24581" cy="24560"/>
            </a:xfrm>
            <a:custGeom>
              <a:avLst/>
              <a:gdLst/>
              <a:ahLst/>
              <a:cxnLst/>
              <a:rect l="l" t="t" r="r" b="b"/>
              <a:pathLst>
                <a:path w="1169" h="1168" extrusionOk="0">
                  <a:moveTo>
                    <a:pt x="1" y="0"/>
                  </a:moveTo>
                  <a:lnTo>
                    <a:pt x="1" y="1168"/>
                  </a:lnTo>
                  <a:lnTo>
                    <a:pt x="1168" y="1168"/>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 name="Google Shape;1061;p41"/>
            <p:cNvSpPr/>
            <p:nvPr/>
          </p:nvSpPr>
          <p:spPr>
            <a:xfrm>
              <a:off x="5729703" y="3491985"/>
              <a:ext cx="24581" cy="25275"/>
            </a:xfrm>
            <a:custGeom>
              <a:avLst/>
              <a:gdLst/>
              <a:ahLst/>
              <a:cxnLst/>
              <a:rect l="l" t="t" r="r" b="b"/>
              <a:pathLst>
                <a:path w="1169" h="1202" extrusionOk="0">
                  <a:moveTo>
                    <a:pt x="1" y="0"/>
                  </a:moveTo>
                  <a:lnTo>
                    <a:pt x="1" y="1201"/>
                  </a:lnTo>
                  <a:lnTo>
                    <a:pt x="1168" y="1201"/>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2" name="Google Shape;1062;p41"/>
            <p:cNvSpPr/>
            <p:nvPr/>
          </p:nvSpPr>
          <p:spPr>
            <a:xfrm>
              <a:off x="5729703" y="3534062"/>
              <a:ext cx="24581" cy="24581"/>
            </a:xfrm>
            <a:custGeom>
              <a:avLst/>
              <a:gdLst/>
              <a:ahLst/>
              <a:cxnLst/>
              <a:rect l="l" t="t" r="r" b="b"/>
              <a:pathLst>
                <a:path w="1169" h="1169" extrusionOk="0">
                  <a:moveTo>
                    <a:pt x="1" y="1"/>
                  </a:moveTo>
                  <a:lnTo>
                    <a:pt x="1" y="1168"/>
                  </a:lnTo>
                  <a:lnTo>
                    <a:pt x="1168" y="1168"/>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 name="Google Shape;1063;p41"/>
            <p:cNvSpPr/>
            <p:nvPr/>
          </p:nvSpPr>
          <p:spPr>
            <a:xfrm>
              <a:off x="5729703" y="3575445"/>
              <a:ext cx="24581" cy="24581"/>
            </a:xfrm>
            <a:custGeom>
              <a:avLst/>
              <a:gdLst/>
              <a:ahLst/>
              <a:cxnLst/>
              <a:rect l="l" t="t" r="r" b="b"/>
              <a:pathLst>
                <a:path w="1169" h="1169" extrusionOk="0">
                  <a:moveTo>
                    <a:pt x="1" y="1"/>
                  </a:moveTo>
                  <a:lnTo>
                    <a:pt x="1" y="1168"/>
                  </a:lnTo>
                  <a:lnTo>
                    <a:pt x="1168" y="1168"/>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 name="Google Shape;1064;p41"/>
            <p:cNvSpPr/>
            <p:nvPr/>
          </p:nvSpPr>
          <p:spPr>
            <a:xfrm>
              <a:off x="5729703" y="3616829"/>
              <a:ext cx="24581" cy="25275"/>
            </a:xfrm>
            <a:custGeom>
              <a:avLst/>
              <a:gdLst/>
              <a:ahLst/>
              <a:cxnLst/>
              <a:rect l="l" t="t" r="r" b="b"/>
              <a:pathLst>
                <a:path w="1169" h="1202" extrusionOk="0">
                  <a:moveTo>
                    <a:pt x="1" y="1"/>
                  </a:moveTo>
                  <a:lnTo>
                    <a:pt x="1" y="1202"/>
                  </a:lnTo>
                  <a:lnTo>
                    <a:pt x="1168" y="1202"/>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 name="Google Shape;1065;p41"/>
            <p:cNvSpPr/>
            <p:nvPr/>
          </p:nvSpPr>
          <p:spPr>
            <a:xfrm>
              <a:off x="5729703" y="3658927"/>
              <a:ext cx="24581" cy="24560"/>
            </a:xfrm>
            <a:custGeom>
              <a:avLst/>
              <a:gdLst/>
              <a:ahLst/>
              <a:cxnLst/>
              <a:rect l="l" t="t" r="r" b="b"/>
              <a:pathLst>
                <a:path w="1169" h="1168" extrusionOk="0">
                  <a:moveTo>
                    <a:pt x="1" y="0"/>
                  </a:moveTo>
                  <a:lnTo>
                    <a:pt x="1" y="1168"/>
                  </a:lnTo>
                  <a:lnTo>
                    <a:pt x="1168" y="1168"/>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 name="Google Shape;1066;p41"/>
            <p:cNvSpPr/>
            <p:nvPr/>
          </p:nvSpPr>
          <p:spPr>
            <a:xfrm>
              <a:off x="5729703" y="3700310"/>
              <a:ext cx="24581" cy="25275"/>
            </a:xfrm>
            <a:custGeom>
              <a:avLst/>
              <a:gdLst/>
              <a:ahLst/>
              <a:cxnLst/>
              <a:rect l="l" t="t" r="r" b="b"/>
              <a:pathLst>
                <a:path w="1169" h="1202" extrusionOk="0">
                  <a:moveTo>
                    <a:pt x="1" y="0"/>
                  </a:moveTo>
                  <a:lnTo>
                    <a:pt x="1" y="1201"/>
                  </a:lnTo>
                  <a:lnTo>
                    <a:pt x="1168" y="1201"/>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 name="Google Shape;1067;p41"/>
            <p:cNvSpPr/>
            <p:nvPr/>
          </p:nvSpPr>
          <p:spPr>
            <a:xfrm>
              <a:off x="5729703" y="3825174"/>
              <a:ext cx="24581" cy="25254"/>
            </a:xfrm>
            <a:custGeom>
              <a:avLst/>
              <a:gdLst/>
              <a:ahLst/>
              <a:cxnLst/>
              <a:rect l="l" t="t" r="r" b="b"/>
              <a:pathLst>
                <a:path w="1169" h="1201" extrusionOk="0">
                  <a:moveTo>
                    <a:pt x="1" y="0"/>
                  </a:moveTo>
                  <a:lnTo>
                    <a:pt x="1" y="1201"/>
                  </a:lnTo>
                  <a:lnTo>
                    <a:pt x="1168" y="1201"/>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 name="Google Shape;1068;p41"/>
            <p:cNvSpPr/>
            <p:nvPr/>
          </p:nvSpPr>
          <p:spPr>
            <a:xfrm>
              <a:off x="5690423" y="3325738"/>
              <a:ext cx="24581" cy="24581"/>
            </a:xfrm>
            <a:custGeom>
              <a:avLst/>
              <a:gdLst/>
              <a:ahLst/>
              <a:cxnLst/>
              <a:rect l="l" t="t" r="r" b="b"/>
              <a:pathLst>
                <a:path w="1169" h="1169" extrusionOk="0">
                  <a:moveTo>
                    <a:pt x="1" y="1"/>
                  </a:moveTo>
                  <a:lnTo>
                    <a:pt x="1" y="1168"/>
                  </a:lnTo>
                  <a:lnTo>
                    <a:pt x="1168" y="1168"/>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 name="Google Shape;1069;p41"/>
            <p:cNvSpPr/>
            <p:nvPr/>
          </p:nvSpPr>
          <p:spPr>
            <a:xfrm>
              <a:off x="5690423" y="3367121"/>
              <a:ext cx="24581" cy="25275"/>
            </a:xfrm>
            <a:custGeom>
              <a:avLst/>
              <a:gdLst/>
              <a:ahLst/>
              <a:cxnLst/>
              <a:rect l="l" t="t" r="r" b="b"/>
              <a:pathLst>
                <a:path w="1169" h="1202" extrusionOk="0">
                  <a:moveTo>
                    <a:pt x="1" y="1"/>
                  </a:moveTo>
                  <a:lnTo>
                    <a:pt x="1" y="1202"/>
                  </a:lnTo>
                  <a:lnTo>
                    <a:pt x="1168" y="1202"/>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 name="Google Shape;1070;p41"/>
            <p:cNvSpPr/>
            <p:nvPr/>
          </p:nvSpPr>
          <p:spPr>
            <a:xfrm>
              <a:off x="5690423" y="3409219"/>
              <a:ext cx="24581" cy="24560"/>
            </a:xfrm>
            <a:custGeom>
              <a:avLst/>
              <a:gdLst/>
              <a:ahLst/>
              <a:cxnLst/>
              <a:rect l="l" t="t" r="r" b="b"/>
              <a:pathLst>
                <a:path w="1169" h="1168" extrusionOk="0">
                  <a:moveTo>
                    <a:pt x="1" y="0"/>
                  </a:moveTo>
                  <a:lnTo>
                    <a:pt x="1" y="1168"/>
                  </a:lnTo>
                  <a:lnTo>
                    <a:pt x="1168" y="1168"/>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 name="Google Shape;1071;p41"/>
            <p:cNvSpPr/>
            <p:nvPr/>
          </p:nvSpPr>
          <p:spPr>
            <a:xfrm>
              <a:off x="5690423" y="3450602"/>
              <a:ext cx="24581" cy="24560"/>
            </a:xfrm>
            <a:custGeom>
              <a:avLst/>
              <a:gdLst/>
              <a:ahLst/>
              <a:cxnLst/>
              <a:rect l="l" t="t" r="r" b="b"/>
              <a:pathLst>
                <a:path w="1169" h="1168" extrusionOk="0">
                  <a:moveTo>
                    <a:pt x="1" y="0"/>
                  </a:moveTo>
                  <a:lnTo>
                    <a:pt x="1" y="1168"/>
                  </a:lnTo>
                  <a:lnTo>
                    <a:pt x="1168" y="1168"/>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 name="Google Shape;1072;p41"/>
            <p:cNvSpPr/>
            <p:nvPr/>
          </p:nvSpPr>
          <p:spPr>
            <a:xfrm>
              <a:off x="5690423" y="3491985"/>
              <a:ext cx="24581" cy="25275"/>
            </a:xfrm>
            <a:custGeom>
              <a:avLst/>
              <a:gdLst/>
              <a:ahLst/>
              <a:cxnLst/>
              <a:rect l="l" t="t" r="r" b="b"/>
              <a:pathLst>
                <a:path w="1169" h="1202" extrusionOk="0">
                  <a:moveTo>
                    <a:pt x="1" y="0"/>
                  </a:moveTo>
                  <a:lnTo>
                    <a:pt x="1" y="1201"/>
                  </a:lnTo>
                  <a:lnTo>
                    <a:pt x="1168" y="1201"/>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 name="Google Shape;1073;p41"/>
            <p:cNvSpPr/>
            <p:nvPr/>
          </p:nvSpPr>
          <p:spPr>
            <a:xfrm>
              <a:off x="5690423" y="3534062"/>
              <a:ext cx="24581" cy="24581"/>
            </a:xfrm>
            <a:custGeom>
              <a:avLst/>
              <a:gdLst/>
              <a:ahLst/>
              <a:cxnLst/>
              <a:rect l="l" t="t" r="r" b="b"/>
              <a:pathLst>
                <a:path w="1169" h="1169" extrusionOk="0">
                  <a:moveTo>
                    <a:pt x="1" y="1"/>
                  </a:moveTo>
                  <a:lnTo>
                    <a:pt x="1" y="1168"/>
                  </a:lnTo>
                  <a:lnTo>
                    <a:pt x="1168" y="1168"/>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 name="Google Shape;1074;p41"/>
            <p:cNvSpPr/>
            <p:nvPr/>
          </p:nvSpPr>
          <p:spPr>
            <a:xfrm>
              <a:off x="5690423" y="3575445"/>
              <a:ext cx="24581" cy="24581"/>
            </a:xfrm>
            <a:custGeom>
              <a:avLst/>
              <a:gdLst/>
              <a:ahLst/>
              <a:cxnLst/>
              <a:rect l="l" t="t" r="r" b="b"/>
              <a:pathLst>
                <a:path w="1169" h="1169" extrusionOk="0">
                  <a:moveTo>
                    <a:pt x="1" y="1"/>
                  </a:moveTo>
                  <a:lnTo>
                    <a:pt x="1" y="1168"/>
                  </a:lnTo>
                  <a:lnTo>
                    <a:pt x="1168" y="1168"/>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 name="Google Shape;1075;p41"/>
            <p:cNvSpPr/>
            <p:nvPr/>
          </p:nvSpPr>
          <p:spPr>
            <a:xfrm>
              <a:off x="5690423" y="3616829"/>
              <a:ext cx="24581" cy="25275"/>
            </a:xfrm>
            <a:custGeom>
              <a:avLst/>
              <a:gdLst/>
              <a:ahLst/>
              <a:cxnLst/>
              <a:rect l="l" t="t" r="r" b="b"/>
              <a:pathLst>
                <a:path w="1169" h="1202" extrusionOk="0">
                  <a:moveTo>
                    <a:pt x="1" y="1"/>
                  </a:moveTo>
                  <a:lnTo>
                    <a:pt x="1" y="1202"/>
                  </a:lnTo>
                  <a:lnTo>
                    <a:pt x="1168" y="1202"/>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 name="Google Shape;1076;p41"/>
            <p:cNvSpPr/>
            <p:nvPr/>
          </p:nvSpPr>
          <p:spPr>
            <a:xfrm>
              <a:off x="5690423" y="3658927"/>
              <a:ext cx="24581" cy="24560"/>
            </a:xfrm>
            <a:custGeom>
              <a:avLst/>
              <a:gdLst/>
              <a:ahLst/>
              <a:cxnLst/>
              <a:rect l="l" t="t" r="r" b="b"/>
              <a:pathLst>
                <a:path w="1169" h="1168" extrusionOk="0">
                  <a:moveTo>
                    <a:pt x="1" y="0"/>
                  </a:moveTo>
                  <a:lnTo>
                    <a:pt x="1" y="1168"/>
                  </a:lnTo>
                  <a:lnTo>
                    <a:pt x="1168" y="1168"/>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 name="Google Shape;1077;p41"/>
            <p:cNvSpPr/>
            <p:nvPr/>
          </p:nvSpPr>
          <p:spPr>
            <a:xfrm>
              <a:off x="5690423" y="3783770"/>
              <a:ext cx="24581" cy="24581"/>
            </a:xfrm>
            <a:custGeom>
              <a:avLst/>
              <a:gdLst/>
              <a:ahLst/>
              <a:cxnLst/>
              <a:rect l="l" t="t" r="r" b="b"/>
              <a:pathLst>
                <a:path w="1169" h="1169" extrusionOk="0">
                  <a:moveTo>
                    <a:pt x="1" y="1"/>
                  </a:moveTo>
                  <a:lnTo>
                    <a:pt x="1" y="1168"/>
                  </a:lnTo>
                  <a:lnTo>
                    <a:pt x="1168" y="1168"/>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8" name="Google Shape;1078;p41"/>
            <p:cNvSpPr/>
            <p:nvPr/>
          </p:nvSpPr>
          <p:spPr>
            <a:xfrm>
              <a:off x="5690423" y="3825174"/>
              <a:ext cx="24581" cy="25254"/>
            </a:xfrm>
            <a:custGeom>
              <a:avLst/>
              <a:gdLst/>
              <a:ahLst/>
              <a:cxnLst/>
              <a:rect l="l" t="t" r="r" b="b"/>
              <a:pathLst>
                <a:path w="1169" h="1201" extrusionOk="0">
                  <a:moveTo>
                    <a:pt x="1" y="0"/>
                  </a:moveTo>
                  <a:lnTo>
                    <a:pt x="1" y="1201"/>
                  </a:lnTo>
                  <a:lnTo>
                    <a:pt x="1168" y="1201"/>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 name="Google Shape;1079;p41"/>
            <p:cNvSpPr/>
            <p:nvPr/>
          </p:nvSpPr>
          <p:spPr>
            <a:xfrm>
              <a:off x="5651143" y="3325738"/>
              <a:ext cx="24581" cy="24581"/>
            </a:xfrm>
            <a:custGeom>
              <a:avLst/>
              <a:gdLst/>
              <a:ahLst/>
              <a:cxnLst/>
              <a:rect l="l" t="t" r="r" b="b"/>
              <a:pathLst>
                <a:path w="1169" h="1169" extrusionOk="0">
                  <a:moveTo>
                    <a:pt x="1" y="1"/>
                  </a:moveTo>
                  <a:lnTo>
                    <a:pt x="1" y="1168"/>
                  </a:lnTo>
                  <a:lnTo>
                    <a:pt x="1168" y="1168"/>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 name="Google Shape;1080;p41"/>
            <p:cNvSpPr/>
            <p:nvPr/>
          </p:nvSpPr>
          <p:spPr>
            <a:xfrm>
              <a:off x="5651143" y="3367121"/>
              <a:ext cx="24581" cy="25275"/>
            </a:xfrm>
            <a:custGeom>
              <a:avLst/>
              <a:gdLst/>
              <a:ahLst/>
              <a:cxnLst/>
              <a:rect l="l" t="t" r="r" b="b"/>
              <a:pathLst>
                <a:path w="1169" h="1202" extrusionOk="0">
                  <a:moveTo>
                    <a:pt x="1" y="1"/>
                  </a:moveTo>
                  <a:lnTo>
                    <a:pt x="1" y="1202"/>
                  </a:lnTo>
                  <a:lnTo>
                    <a:pt x="1168" y="1202"/>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 name="Google Shape;1081;p41"/>
            <p:cNvSpPr/>
            <p:nvPr/>
          </p:nvSpPr>
          <p:spPr>
            <a:xfrm>
              <a:off x="5651143" y="3409219"/>
              <a:ext cx="24581" cy="24560"/>
            </a:xfrm>
            <a:custGeom>
              <a:avLst/>
              <a:gdLst/>
              <a:ahLst/>
              <a:cxnLst/>
              <a:rect l="l" t="t" r="r" b="b"/>
              <a:pathLst>
                <a:path w="1169" h="1168" extrusionOk="0">
                  <a:moveTo>
                    <a:pt x="1" y="0"/>
                  </a:moveTo>
                  <a:lnTo>
                    <a:pt x="1" y="1168"/>
                  </a:lnTo>
                  <a:lnTo>
                    <a:pt x="1168" y="1168"/>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 name="Google Shape;1082;p41"/>
            <p:cNvSpPr/>
            <p:nvPr/>
          </p:nvSpPr>
          <p:spPr>
            <a:xfrm>
              <a:off x="5651143" y="3450602"/>
              <a:ext cx="24581" cy="24560"/>
            </a:xfrm>
            <a:custGeom>
              <a:avLst/>
              <a:gdLst/>
              <a:ahLst/>
              <a:cxnLst/>
              <a:rect l="l" t="t" r="r" b="b"/>
              <a:pathLst>
                <a:path w="1169" h="1168" extrusionOk="0">
                  <a:moveTo>
                    <a:pt x="1" y="0"/>
                  </a:moveTo>
                  <a:lnTo>
                    <a:pt x="1" y="1168"/>
                  </a:lnTo>
                  <a:lnTo>
                    <a:pt x="1168" y="1168"/>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 name="Google Shape;1083;p41"/>
            <p:cNvSpPr/>
            <p:nvPr/>
          </p:nvSpPr>
          <p:spPr>
            <a:xfrm>
              <a:off x="5651143" y="3491985"/>
              <a:ext cx="24581" cy="25275"/>
            </a:xfrm>
            <a:custGeom>
              <a:avLst/>
              <a:gdLst/>
              <a:ahLst/>
              <a:cxnLst/>
              <a:rect l="l" t="t" r="r" b="b"/>
              <a:pathLst>
                <a:path w="1169" h="1202" extrusionOk="0">
                  <a:moveTo>
                    <a:pt x="1" y="0"/>
                  </a:moveTo>
                  <a:lnTo>
                    <a:pt x="1" y="1201"/>
                  </a:lnTo>
                  <a:lnTo>
                    <a:pt x="1168" y="1201"/>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 name="Google Shape;1084;p41"/>
            <p:cNvSpPr/>
            <p:nvPr/>
          </p:nvSpPr>
          <p:spPr>
            <a:xfrm>
              <a:off x="5651143" y="3534062"/>
              <a:ext cx="24581" cy="24581"/>
            </a:xfrm>
            <a:custGeom>
              <a:avLst/>
              <a:gdLst/>
              <a:ahLst/>
              <a:cxnLst/>
              <a:rect l="l" t="t" r="r" b="b"/>
              <a:pathLst>
                <a:path w="1169" h="1169" extrusionOk="0">
                  <a:moveTo>
                    <a:pt x="1" y="1"/>
                  </a:moveTo>
                  <a:lnTo>
                    <a:pt x="1" y="1168"/>
                  </a:lnTo>
                  <a:lnTo>
                    <a:pt x="1168" y="1168"/>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 name="Google Shape;1085;p41"/>
            <p:cNvSpPr/>
            <p:nvPr/>
          </p:nvSpPr>
          <p:spPr>
            <a:xfrm>
              <a:off x="5651143" y="3575445"/>
              <a:ext cx="24581" cy="24581"/>
            </a:xfrm>
            <a:custGeom>
              <a:avLst/>
              <a:gdLst/>
              <a:ahLst/>
              <a:cxnLst/>
              <a:rect l="l" t="t" r="r" b="b"/>
              <a:pathLst>
                <a:path w="1169" h="1169" extrusionOk="0">
                  <a:moveTo>
                    <a:pt x="1" y="1"/>
                  </a:moveTo>
                  <a:lnTo>
                    <a:pt x="1" y="1168"/>
                  </a:lnTo>
                  <a:lnTo>
                    <a:pt x="1168" y="1168"/>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 name="Google Shape;1086;p41"/>
            <p:cNvSpPr/>
            <p:nvPr/>
          </p:nvSpPr>
          <p:spPr>
            <a:xfrm>
              <a:off x="5651143" y="3616829"/>
              <a:ext cx="24581" cy="25275"/>
            </a:xfrm>
            <a:custGeom>
              <a:avLst/>
              <a:gdLst/>
              <a:ahLst/>
              <a:cxnLst/>
              <a:rect l="l" t="t" r="r" b="b"/>
              <a:pathLst>
                <a:path w="1169" h="1202" extrusionOk="0">
                  <a:moveTo>
                    <a:pt x="1" y="1"/>
                  </a:moveTo>
                  <a:lnTo>
                    <a:pt x="1" y="1202"/>
                  </a:lnTo>
                  <a:lnTo>
                    <a:pt x="1168" y="1202"/>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 name="Google Shape;1087;p41"/>
            <p:cNvSpPr/>
            <p:nvPr/>
          </p:nvSpPr>
          <p:spPr>
            <a:xfrm>
              <a:off x="5244315" y="2693048"/>
              <a:ext cx="25275" cy="24560"/>
            </a:xfrm>
            <a:custGeom>
              <a:avLst/>
              <a:gdLst/>
              <a:ahLst/>
              <a:cxnLst/>
              <a:rect l="l" t="t" r="r" b="b"/>
              <a:pathLst>
                <a:path w="1202" h="1168" extrusionOk="0">
                  <a:moveTo>
                    <a:pt x="1" y="0"/>
                  </a:moveTo>
                  <a:lnTo>
                    <a:pt x="1" y="1168"/>
                  </a:lnTo>
                  <a:lnTo>
                    <a:pt x="1202" y="1168"/>
                  </a:lnTo>
                  <a:lnTo>
                    <a:pt x="1202"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 name="Google Shape;1088;p41"/>
            <p:cNvSpPr/>
            <p:nvPr/>
          </p:nvSpPr>
          <p:spPr>
            <a:xfrm>
              <a:off x="5205034" y="2693048"/>
              <a:ext cx="24581" cy="24560"/>
            </a:xfrm>
            <a:custGeom>
              <a:avLst/>
              <a:gdLst/>
              <a:ahLst/>
              <a:cxnLst/>
              <a:rect l="l" t="t" r="r" b="b"/>
              <a:pathLst>
                <a:path w="1169" h="1168" extrusionOk="0">
                  <a:moveTo>
                    <a:pt x="1" y="0"/>
                  </a:moveTo>
                  <a:lnTo>
                    <a:pt x="1" y="1168"/>
                  </a:lnTo>
                  <a:lnTo>
                    <a:pt x="1168" y="1168"/>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 name="Google Shape;1089;p41"/>
            <p:cNvSpPr/>
            <p:nvPr/>
          </p:nvSpPr>
          <p:spPr>
            <a:xfrm>
              <a:off x="5427405" y="3217717"/>
              <a:ext cx="24560" cy="24581"/>
            </a:xfrm>
            <a:custGeom>
              <a:avLst/>
              <a:gdLst/>
              <a:ahLst/>
              <a:cxnLst/>
              <a:rect l="l" t="t" r="r" b="b"/>
              <a:pathLst>
                <a:path w="1168" h="1169" extrusionOk="0">
                  <a:moveTo>
                    <a:pt x="0" y="1"/>
                  </a:moveTo>
                  <a:lnTo>
                    <a:pt x="0" y="1168"/>
                  </a:lnTo>
                  <a:lnTo>
                    <a:pt x="1168" y="1168"/>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 name="Google Shape;1090;p41"/>
            <p:cNvSpPr/>
            <p:nvPr/>
          </p:nvSpPr>
          <p:spPr>
            <a:xfrm>
              <a:off x="5427405" y="3259100"/>
              <a:ext cx="24560" cy="24581"/>
            </a:xfrm>
            <a:custGeom>
              <a:avLst/>
              <a:gdLst/>
              <a:ahLst/>
              <a:cxnLst/>
              <a:rect l="l" t="t" r="r" b="b"/>
              <a:pathLst>
                <a:path w="1168" h="1169" extrusionOk="0">
                  <a:moveTo>
                    <a:pt x="0" y="1"/>
                  </a:moveTo>
                  <a:lnTo>
                    <a:pt x="0" y="1168"/>
                  </a:lnTo>
                  <a:lnTo>
                    <a:pt x="1168" y="1168"/>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 name="Google Shape;1091;p41"/>
            <p:cNvSpPr/>
            <p:nvPr/>
          </p:nvSpPr>
          <p:spPr>
            <a:xfrm>
              <a:off x="5427405" y="3300483"/>
              <a:ext cx="24560" cy="25275"/>
            </a:xfrm>
            <a:custGeom>
              <a:avLst/>
              <a:gdLst/>
              <a:ahLst/>
              <a:cxnLst/>
              <a:rect l="l" t="t" r="r" b="b"/>
              <a:pathLst>
                <a:path w="1168" h="1202" extrusionOk="0">
                  <a:moveTo>
                    <a:pt x="0" y="1"/>
                  </a:moveTo>
                  <a:lnTo>
                    <a:pt x="0" y="1202"/>
                  </a:lnTo>
                  <a:lnTo>
                    <a:pt x="1168" y="1202"/>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 name="Google Shape;1092;p41"/>
            <p:cNvSpPr/>
            <p:nvPr/>
          </p:nvSpPr>
          <p:spPr>
            <a:xfrm>
              <a:off x="5427405" y="3342581"/>
              <a:ext cx="24560" cy="24560"/>
            </a:xfrm>
            <a:custGeom>
              <a:avLst/>
              <a:gdLst/>
              <a:ahLst/>
              <a:cxnLst/>
              <a:rect l="l" t="t" r="r" b="b"/>
              <a:pathLst>
                <a:path w="1168" h="1168" extrusionOk="0">
                  <a:moveTo>
                    <a:pt x="0" y="0"/>
                  </a:moveTo>
                  <a:lnTo>
                    <a:pt x="0" y="1168"/>
                  </a:lnTo>
                  <a:lnTo>
                    <a:pt x="1168" y="1168"/>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 name="Google Shape;1093;p41"/>
            <p:cNvSpPr/>
            <p:nvPr/>
          </p:nvSpPr>
          <p:spPr>
            <a:xfrm>
              <a:off x="5427405" y="3383965"/>
              <a:ext cx="24560" cy="25275"/>
            </a:xfrm>
            <a:custGeom>
              <a:avLst/>
              <a:gdLst/>
              <a:ahLst/>
              <a:cxnLst/>
              <a:rect l="l" t="t" r="r" b="b"/>
              <a:pathLst>
                <a:path w="1168" h="1202" extrusionOk="0">
                  <a:moveTo>
                    <a:pt x="0" y="0"/>
                  </a:moveTo>
                  <a:lnTo>
                    <a:pt x="0" y="1201"/>
                  </a:lnTo>
                  <a:lnTo>
                    <a:pt x="1168" y="1201"/>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 name="Google Shape;1094;p41"/>
            <p:cNvSpPr/>
            <p:nvPr/>
          </p:nvSpPr>
          <p:spPr>
            <a:xfrm>
              <a:off x="5427405" y="3426042"/>
              <a:ext cx="24560" cy="24581"/>
            </a:xfrm>
            <a:custGeom>
              <a:avLst/>
              <a:gdLst/>
              <a:ahLst/>
              <a:cxnLst/>
              <a:rect l="l" t="t" r="r" b="b"/>
              <a:pathLst>
                <a:path w="1168" h="1169" extrusionOk="0">
                  <a:moveTo>
                    <a:pt x="0" y="1"/>
                  </a:moveTo>
                  <a:lnTo>
                    <a:pt x="0" y="1168"/>
                  </a:lnTo>
                  <a:lnTo>
                    <a:pt x="1168" y="1168"/>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 name="Google Shape;1095;p41"/>
            <p:cNvSpPr/>
            <p:nvPr/>
          </p:nvSpPr>
          <p:spPr>
            <a:xfrm>
              <a:off x="5427405" y="3467425"/>
              <a:ext cx="24560" cy="24581"/>
            </a:xfrm>
            <a:custGeom>
              <a:avLst/>
              <a:gdLst/>
              <a:ahLst/>
              <a:cxnLst/>
              <a:rect l="l" t="t" r="r" b="b"/>
              <a:pathLst>
                <a:path w="1168" h="1169" extrusionOk="0">
                  <a:moveTo>
                    <a:pt x="0" y="1"/>
                  </a:moveTo>
                  <a:lnTo>
                    <a:pt x="0" y="1168"/>
                  </a:lnTo>
                  <a:lnTo>
                    <a:pt x="1168" y="1168"/>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 name="Google Shape;1096;p41"/>
            <p:cNvSpPr/>
            <p:nvPr/>
          </p:nvSpPr>
          <p:spPr>
            <a:xfrm>
              <a:off x="5427405" y="3550906"/>
              <a:ext cx="24560" cy="24560"/>
            </a:xfrm>
            <a:custGeom>
              <a:avLst/>
              <a:gdLst/>
              <a:ahLst/>
              <a:cxnLst/>
              <a:rect l="l" t="t" r="r" b="b"/>
              <a:pathLst>
                <a:path w="1168" h="1168" extrusionOk="0">
                  <a:moveTo>
                    <a:pt x="0" y="0"/>
                  </a:moveTo>
                  <a:lnTo>
                    <a:pt x="0" y="1168"/>
                  </a:lnTo>
                  <a:lnTo>
                    <a:pt x="1168" y="1168"/>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 name="Google Shape;1097;p41"/>
            <p:cNvSpPr/>
            <p:nvPr/>
          </p:nvSpPr>
          <p:spPr>
            <a:xfrm>
              <a:off x="5427405" y="3592289"/>
              <a:ext cx="24560" cy="24560"/>
            </a:xfrm>
            <a:custGeom>
              <a:avLst/>
              <a:gdLst/>
              <a:ahLst/>
              <a:cxnLst/>
              <a:rect l="l" t="t" r="r" b="b"/>
              <a:pathLst>
                <a:path w="1168" h="1168" extrusionOk="0">
                  <a:moveTo>
                    <a:pt x="0" y="0"/>
                  </a:moveTo>
                  <a:lnTo>
                    <a:pt x="0" y="1168"/>
                  </a:lnTo>
                  <a:lnTo>
                    <a:pt x="1168" y="1168"/>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 name="Google Shape;1098;p41"/>
            <p:cNvSpPr/>
            <p:nvPr/>
          </p:nvSpPr>
          <p:spPr>
            <a:xfrm>
              <a:off x="5427405" y="3633672"/>
              <a:ext cx="24560" cy="25275"/>
            </a:xfrm>
            <a:custGeom>
              <a:avLst/>
              <a:gdLst/>
              <a:ahLst/>
              <a:cxnLst/>
              <a:rect l="l" t="t" r="r" b="b"/>
              <a:pathLst>
                <a:path w="1168" h="1202" extrusionOk="0">
                  <a:moveTo>
                    <a:pt x="0" y="0"/>
                  </a:moveTo>
                  <a:lnTo>
                    <a:pt x="0" y="1201"/>
                  </a:lnTo>
                  <a:lnTo>
                    <a:pt x="1168" y="1201"/>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 name="Google Shape;1099;p41"/>
            <p:cNvSpPr/>
            <p:nvPr/>
          </p:nvSpPr>
          <p:spPr>
            <a:xfrm>
              <a:off x="5427405" y="3675749"/>
              <a:ext cx="24560" cy="24581"/>
            </a:xfrm>
            <a:custGeom>
              <a:avLst/>
              <a:gdLst/>
              <a:ahLst/>
              <a:cxnLst/>
              <a:rect l="l" t="t" r="r" b="b"/>
              <a:pathLst>
                <a:path w="1168" h="1169" extrusionOk="0">
                  <a:moveTo>
                    <a:pt x="0" y="1"/>
                  </a:moveTo>
                  <a:lnTo>
                    <a:pt x="0" y="1168"/>
                  </a:lnTo>
                  <a:lnTo>
                    <a:pt x="1168" y="1168"/>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 name="Google Shape;1100;p41"/>
            <p:cNvSpPr/>
            <p:nvPr/>
          </p:nvSpPr>
          <p:spPr>
            <a:xfrm>
              <a:off x="5427405" y="3717132"/>
              <a:ext cx="24560" cy="25275"/>
            </a:xfrm>
            <a:custGeom>
              <a:avLst/>
              <a:gdLst/>
              <a:ahLst/>
              <a:cxnLst/>
              <a:rect l="l" t="t" r="r" b="b"/>
              <a:pathLst>
                <a:path w="1168" h="1202" extrusionOk="0">
                  <a:moveTo>
                    <a:pt x="0" y="1"/>
                  </a:moveTo>
                  <a:lnTo>
                    <a:pt x="0" y="1202"/>
                  </a:lnTo>
                  <a:lnTo>
                    <a:pt x="1168" y="1202"/>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 name="Google Shape;1101;p41"/>
            <p:cNvSpPr/>
            <p:nvPr/>
          </p:nvSpPr>
          <p:spPr>
            <a:xfrm>
              <a:off x="5427405" y="3759230"/>
              <a:ext cx="24560" cy="24560"/>
            </a:xfrm>
            <a:custGeom>
              <a:avLst/>
              <a:gdLst/>
              <a:ahLst/>
              <a:cxnLst/>
              <a:rect l="l" t="t" r="r" b="b"/>
              <a:pathLst>
                <a:path w="1168" h="1168" extrusionOk="0">
                  <a:moveTo>
                    <a:pt x="0" y="0"/>
                  </a:moveTo>
                  <a:lnTo>
                    <a:pt x="0" y="1168"/>
                  </a:lnTo>
                  <a:lnTo>
                    <a:pt x="1168" y="1168"/>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 name="Google Shape;1102;p41"/>
            <p:cNvSpPr/>
            <p:nvPr/>
          </p:nvSpPr>
          <p:spPr>
            <a:xfrm>
              <a:off x="5427405" y="3800613"/>
              <a:ext cx="24560" cy="24560"/>
            </a:xfrm>
            <a:custGeom>
              <a:avLst/>
              <a:gdLst/>
              <a:ahLst/>
              <a:cxnLst/>
              <a:rect l="l" t="t" r="r" b="b"/>
              <a:pathLst>
                <a:path w="1168" h="1168" extrusionOk="0">
                  <a:moveTo>
                    <a:pt x="0" y="0"/>
                  </a:moveTo>
                  <a:lnTo>
                    <a:pt x="0" y="1168"/>
                  </a:lnTo>
                  <a:lnTo>
                    <a:pt x="1168" y="1168"/>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 name="Google Shape;1103;p41"/>
            <p:cNvSpPr/>
            <p:nvPr/>
          </p:nvSpPr>
          <p:spPr>
            <a:xfrm>
              <a:off x="5427405" y="3841996"/>
              <a:ext cx="24560" cy="25275"/>
            </a:xfrm>
            <a:custGeom>
              <a:avLst/>
              <a:gdLst/>
              <a:ahLst/>
              <a:cxnLst/>
              <a:rect l="l" t="t" r="r" b="b"/>
              <a:pathLst>
                <a:path w="1168" h="1202" extrusionOk="0">
                  <a:moveTo>
                    <a:pt x="0" y="1"/>
                  </a:moveTo>
                  <a:lnTo>
                    <a:pt x="0" y="1201"/>
                  </a:lnTo>
                  <a:lnTo>
                    <a:pt x="1168" y="1201"/>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 name="Google Shape;1104;p41"/>
            <p:cNvSpPr/>
            <p:nvPr/>
          </p:nvSpPr>
          <p:spPr>
            <a:xfrm>
              <a:off x="5388125" y="3550906"/>
              <a:ext cx="24560" cy="24560"/>
            </a:xfrm>
            <a:custGeom>
              <a:avLst/>
              <a:gdLst/>
              <a:ahLst/>
              <a:cxnLst/>
              <a:rect l="l" t="t" r="r" b="b"/>
              <a:pathLst>
                <a:path w="1168" h="1168" extrusionOk="0">
                  <a:moveTo>
                    <a:pt x="0" y="0"/>
                  </a:moveTo>
                  <a:lnTo>
                    <a:pt x="0" y="1168"/>
                  </a:lnTo>
                  <a:lnTo>
                    <a:pt x="1168" y="1168"/>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 name="Google Shape;1105;p41"/>
            <p:cNvSpPr/>
            <p:nvPr/>
          </p:nvSpPr>
          <p:spPr>
            <a:xfrm>
              <a:off x="5388125" y="3592289"/>
              <a:ext cx="24560" cy="24560"/>
            </a:xfrm>
            <a:custGeom>
              <a:avLst/>
              <a:gdLst/>
              <a:ahLst/>
              <a:cxnLst/>
              <a:rect l="l" t="t" r="r" b="b"/>
              <a:pathLst>
                <a:path w="1168" h="1168" extrusionOk="0">
                  <a:moveTo>
                    <a:pt x="0" y="0"/>
                  </a:moveTo>
                  <a:lnTo>
                    <a:pt x="0" y="1168"/>
                  </a:lnTo>
                  <a:lnTo>
                    <a:pt x="1168" y="1168"/>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 name="Google Shape;1106;p41"/>
            <p:cNvSpPr/>
            <p:nvPr/>
          </p:nvSpPr>
          <p:spPr>
            <a:xfrm>
              <a:off x="5388125" y="3633672"/>
              <a:ext cx="24560" cy="25275"/>
            </a:xfrm>
            <a:custGeom>
              <a:avLst/>
              <a:gdLst/>
              <a:ahLst/>
              <a:cxnLst/>
              <a:rect l="l" t="t" r="r" b="b"/>
              <a:pathLst>
                <a:path w="1168" h="1202" extrusionOk="0">
                  <a:moveTo>
                    <a:pt x="0" y="0"/>
                  </a:moveTo>
                  <a:lnTo>
                    <a:pt x="0" y="1201"/>
                  </a:lnTo>
                  <a:lnTo>
                    <a:pt x="1168" y="1201"/>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 name="Google Shape;1107;p41"/>
            <p:cNvSpPr/>
            <p:nvPr/>
          </p:nvSpPr>
          <p:spPr>
            <a:xfrm>
              <a:off x="5388125" y="3675749"/>
              <a:ext cx="24560" cy="24581"/>
            </a:xfrm>
            <a:custGeom>
              <a:avLst/>
              <a:gdLst/>
              <a:ahLst/>
              <a:cxnLst/>
              <a:rect l="l" t="t" r="r" b="b"/>
              <a:pathLst>
                <a:path w="1168" h="1169" extrusionOk="0">
                  <a:moveTo>
                    <a:pt x="0" y="1"/>
                  </a:moveTo>
                  <a:lnTo>
                    <a:pt x="0" y="1168"/>
                  </a:lnTo>
                  <a:lnTo>
                    <a:pt x="1168" y="1168"/>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 name="Google Shape;1108;p41"/>
            <p:cNvSpPr/>
            <p:nvPr/>
          </p:nvSpPr>
          <p:spPr>
            <a:xfrm>
              <a:off x="5388125" y="3717132"/>
              <a:ext cx="24560" cy="25275"/>
            </a:xfrm>
            <a:custGeom>
              <a:avLst/>
              <a:gdLst/>
              <a:ahLst/>
              <a:cxnLst/>
              <a:rect l="l" t="t" r="r" b="b"/>
              <a:pathLst>
                <a:path w="1168" h="1202" extrusionOk="0">
                  <a:moveTo>
                    <a:pt x="0" y="1"/>
                  </a:moveTo>
                  <a:lnTo>
                    <a:pt x="0" y="1202"/>
                  </a:lnTo>
                  <a:lnTo>
                    <a:pt x="1168" y="1202"/>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 name="Google Shape;1109;p41"/>
            <p:cNvSpPr/>
            <p:nvPr/>
          </p:nvSpPr>
          <p:spPr>
            <a:xfrm>
              <a:off x="5388125" y="3759230"/>
              <a:ext cx="24560" cy="24560"/>
            </a:xfrm>
            <a:custGeom>
              <a:avLst/>
              <a:gdLst/>
              <a:ahLst/>
              <a:cxnLst/>
              <a:rect l="l" t="t" r="r" b="b"/>
              <a:pathLst>
                <a:path w="1168" h="1168" extrusionOk="0">
                  <a:moveTo>
                    <a:pt x="0" y="0"/>
                  </a:moveTo>
                  <a:lnTo>
                    <a:pt x="0" y="1168"/>
                  </a:lnTo>
                  <a:lnTo>
                    <a:pt x="1168" y="1168"/>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 name="Google Shape;1110;p41"/>
            <p:cNvSpPr/>
            <p:nvPr/>
          </p:nvSpPr>
          <p:spPr>
            <a:xfrm>
              <a:off x="5388125" y="3800613"/>
              <a:ext cx="24560" cy="24560"/>
            </a:xfrm>
            <a:custGeom>
              <a:avLst/>
              <a:gdLst/>
              <a:ahLst/>
              <a:cxnLst/>
              <a:rect l="l" t="t" r="r" b="b"/>
              <a:pathLst>
                <a:path w="1168" h="1168" extrusionOk="0">
                  <a:moveTo>
                    <a:pt x="0" y="0"/>
                  </a:moveTo>
                  <a:lnTo>
                    <a:pt x="0" y="1168"/>
                  </a:lnTo>
                  <a:lnTo>
                    <a:pt x="1168" y="1168"/>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 name="Google Shape;1111;p41"/>
            <p:cNvSpPr/>
            <p:nvPr/>
          </p:nvSpPr>
          <p:spPr>
            <a:xfrm>
              <a:off x="5388125" y="3841996"/>
              <a:ext cx="24560" cy="25275"/>
            </a:xfrm>
            <a:custGeom>
              <a:avLst/>
              <a:gdLst/>
              <a:ahLst/>
              <a:cxnLst/>
              <a:rect l="l" t="t" r="r" b="b"/>
              <a:pathLst>
                <a:path w="1168" h="1202" extrusionOk="0">
                  <a:moveTo>
                    <a:pt x="0" y="1"/>
                  </a:moveTo>
                  <a:lnTo>
                    <a:pt x="0" y="1201"/>
                  </a:lnTo>
                  <a:lnTo>
                    <a:pt x="1168" y="1201"/>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 name="Google Shape;1112;p41"/>
            <p:cNvSpPr/>
            <p:nvPr/>
          </p:nvSpPr>
          <p:spPr>
            <a:xfrm>
              <a:off x="4765234" y="2373464"/>
              <a:ext cx="210464" cy="196145"/>
            </a:xfrm>
            <a:custGeom>
              <a:avLst/>
              <a:gdLst/>
              <a:ahLst/>
              <a:cxnLst/>
              <a:rect l="l" t="t" r="r" b="b"/>
              <a:pathLst>
                <a:path w="10009" h="9328" extrusionOk="0">
                  <a:moveTo>
                    <a:pt x="640" y="1"/>
                  </a:moveTo>
                  <a:cubicBezTo>
                    <a:pt x="580" y="1"/>
                    <a:pt x="533" y="7"/>
                    <a:pt x="501" y="21"/>
                  </a:cubicBezTo>
                  <a:cubicBezTo>
                    <a:pt x="1" y="221"/>
                    <a:pt x="68" y="4524"/>
                    <a:pt x="501" y="4624"/>
                  </a:cubicBezTo>
                  <a:cubicBezTo>
                    <a:pt x="902" y="4758"/>
                    <a:pt x="4337" y="5792"/>
                    <a:pt x="4337" y="5792"/>
                  </a:cubicBezTo>
                  <a:lnTo>
                    <a:pt x="8707" y="9328"/>
                  </a:lnTo>
                  <a:lnTo>
                    <a:pt x="10008" y="6759"/>
                  </a:lnTo>
                  <a:lnTo>
                    <a:pt x="5905" y="3924"/>
                  </a:lnTo>
                  <a:cubicBezTo>
                    <a:pt x="5905" y="3924"/>
                    <a:pt x="5305" y="1655"/>
                    <a:pt x="5004" y="1422"/>
                  </a:cubicBezTo>
                  <a:cubicBezTo>
                    <a:pt x="4756" y="1204"/>
                    <a:pt x="1463" y="1"/>
                    <a:pt x="640" y="1"/>
                  </a:cubicBezTo>
                  <a:close/>
                </a:path>
              </a:pathLst>
            </a:custGeom>
            <a:solidFill>
              <a:srgbClr val="E4897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 name="Google Shape;1113;p41"/>
            <p:cNvSpPr/>
            <p:nvPr/>
          </p:nvSpPr>
          <p:spPr>
            <a:xfrm>
              <a:off x="4899919" y="2335319"/>
              <a:ext cx="611648" cy="402887"/>
            </a:xfrm>
            <a:custGeom>
              <a:avLst/>
              <a:gdLst/>
              <a:ahLst/>
              <a:cxnLst/>
              <a:rect l="l" t="t" r="r" b="b"/>
              <a:pathLst>
                <a:path w="29088" h="19160" extrusionOk="0">
                  <a:moveTo>
                    <a:pt x="28421" y="0"/>
                  </a:moveTo>
                  <a:cubicBezTo>
                    <a:pt x="25144" y="900"/>
                    <a:pt x="18462" y="13064"/>
                    <a:pt x="14040" y="13064"/>
                  </a:cubicBezTo>
                  <a:cubicBezTo>
                    <a:pt x="13871" y="13064"/>
                    <a:pt x="13706" y="13046"/>
                    <a:pt x="13543" y="13010"/>
                  </a:cubicBezTo>
                  <a:cubicBezTo>
                    <a:pt x="9174" y="11976"/>
                    <a:pt x="1902" y="7139"/>
                    <a:pt x="1902" y="7139"/>
                  </a:cubicBezTo>
                  <a:lnTo>
                    <a:pt x="0" y="10575"/>
                  </a:lnTo>
                  <a:cubicBezTo>
                    <a:pt x="0" y="10575"/>
                    <a:pt x="10008" y="18714"/>
                    <a:pt x="14611" y="19147"/>
                  </a:cubicBezTo>
                  <a:cubicBezTo>
                    <a:pt x="14702" y="19156"/>
                    <a:pt x="14796" y="19160"/>
                    <a:pt x="14891" y="19160"/>
                  </a:cubicBezTo>
                  <a:cubicBezTo>
                    <a:pt x="17443" y="19160"/>
                    <a:pt x="21403" y="16213"/>
                    <a:pt x="24618" y="13577"/>
                  </a:cubicBezTo>
                  <a:cubicBezTo>
                    <a:pt x="26286" y="12076"/>
                    <a:pt x="27887" y="10641"/>
                    <a:pt x="28588" y="9941"/>
                  </a:cubicBezTo>
                  <a:cubicBezTo>
                    <a:pt x="28888" y="9641"/>
                    <a:pt x="29088" y="9474"/>
                    <a:pt x="29088" y="9474"/>
                  </a:cubicBezTo>
                  <a:lnTo>
                    <a:pt x="28421" y="0"/>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 name="Google Shape;1114;p41"/>
            <p:cNvSpPr/>
            <p:nvPr/>
          </p:nvSpPr>
          <p:spPr>
            <a:xfrm>
              <a:off x="4905960" y="2334674"/>
              <a:ext cx="611648" cy="402887"/>
            </a:xfrm>
            <a:custGeom>
              <a:avLst/>
              <a:gdLst/>
              <a:ahLst/>
              <a:cxnLst/>
              <a:rect l="l" t="t" r="r" b="b"/>
              <a:pathLst>
                <a:path w="29088" h="19160" extrusionOk="0">
                  <a:moveTo>
                    <a:pt x="28421" y="0"/>
                  </a:moveTo>
                  <a:cubicBezTo>
                    <a:pt x="25144" y="900"/>
                    <a:pt x="18462" y="13064"/>
                    <a:pt x="14040" y="13064"/>
                  </a:cubicBezTo>
                  <a:cubicBezTo>
                    <a:pt x="13871" y="13064"/>
                    <a:pt x="13706" y="13046"/>
                    <a:pt x="13543" y="13010"/>
                  </a:cubicBezTo>
                  <a:cubicBezTo>
                    <a:pt x="9174" y="11976"/>
                    <a:pt x="1902" y="7139"/>
                    <a:pt x="1902" y="7139"/>
                  </a:cubicBezTo>
                  <a:lnTo>
                    <a:pt x="0" y="10575"/>
                  </a:lnTo>
                  <a:cubicBezTo>
                    <a:pt x="0" y="10575"/>
                    <a:pt x="10008" y="18714"/>
                    <a:pt x="14611" y="19147"/>
                  </a:cubicBezTo>
                  <a:cubicBezTo>
                    <a:pt x="14702" y="19156"/>
                    <a:pt x="14796" y="19160"/>
                    <a:pt x="14891" y="19160"/>
                  </a:cubicBezTo>
                  <a:cubicBezTo>
                    <a:pt x="17443" y="19160"/>
                    <a:pt x="21403" y="16213"/>
                    <a:pt x="24618" y="13577"/>
                  </a:cubicBezTo>
                  <a:cubicBezTo>
                    <a:pt x="26286" y="12076"/>
                    <a:pt x="27887" y="10641"/>
                    <a:pt x="28588" y="9941"/>
                  </a:cubicBezTo>
                  <a:cubicBezTo>
                    <a:pt x="28888" y="9641"/>
                    <a:pt x="29088" y="9474"/>
                    <a:pt x="29088" y="9474"/>
                  </a:cubicBezTo>
                  <a:lnTo>
                    <a:pt x="28421"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 name="Google Shape;1115;p41"/>
            <p:cNvSpPr/>
            <p:nvPr/>
          </p:nvSpPr>
          <p:spPr>
            <a:xfrm>
              <a:off x="4889405" y="2470698"/>
              <a:ext cx="65942" cy="108039"/>
            </a:xfrm>
            <a:custGeom>
              <a:avLst/>
              <a:gdLst/>
              <a:ahLst/>
              <a:cxnLst/>
              <a:rect l="l" t="t" r="r" b="b"/>
              <a:pathLst>
                <a:path w="3136" h="5138" extrusionOk="0">
                  <a:moveTo>
                    <a:pt x="1968" y="0"/>
                  </a:moveTo>
                  <a:lnTo>
                    <a:pt x="0" y="3870"/>
                  </a:lnTo>
                  <a:lnTo>
                    <a:pt x="834" y="5137"/>
                  </a:lnTo>
                  <a:lnTo>
                    <a:pt x="3136" y="567"/>
                  </a:lnTo>
                  <a:lnTo>
                    <a:pt x="1968" y="0"/>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 name="Google Shape;1116;p41"/>
            <p:cNvSpPr/>
            <p:nvPr/>
          </p:nvSpPr>
          <p:spPr>
            <a:xfrm>
              <a:off x="4889405" y="2470698"/>
              <a:ext cx="65942" cy="108039"/>
            </a:xfrm>
            <a:custGeom>
              <a:avLst/>
              <a:gdLst/>
              <a:ahLst/>
              <a:cxnLst/>
              <a:rect l="l" t="t" r="r" b="b"/>
              <a:pathLst>
                <a:path w="3136" h="5138" extrusionOk="0">
                  <a:moveTo>
                    <a:pt x="1968" y="0"/>
                  </a:moveTo>
                  <a:lnTo>
                    <a:pt x="0" y="3870"/>
                  </a:lnTo>
                  <a:lnTo>
                    <a:pt x="834" y="5137"/>
                  </a:lnTo>
                  <a:lnTo>
                    <a:pt x="3136" y="567"/>
                  </a:lnTo>
                  <a:lnTo>
                    <a:pt x="1968"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 name="Google Shape;1117;p41"/>
            <p:cNvSpPr/>
            <p:nvPr/>
          </p:nvSpPr>
          <p:spPr>
            <a:xfrm>
              <a:off x="5417585" y="2479109"/>
              <a:ext cx="84173" cy="141704"/>
            </a:xfrm>
            <a:custGeom>
              <a:avLst/>
              <a:gdLst/>
              <a:ahLst/>
              <a:cxnLst/>
              <a:rect l="l" t="t" r="r" b="b"/>
              <a:pathLst>
                <a:path w="4003" h="6739" extrusionOk="0">
                  <a:moveTo>
                    <a:pt x="3402" y="1"/>
                  </a:moveTo>
                  <a:cubicBezTo>
                    <a:pt x="3402" y="1"/>
                    <a:pt x="834" y="3036"/>
                    <a:pt x="0" y="6739"/>
                  </a:cubicBezTo>
                  <a:cubicBezTo>
                    <a:pt x="1801" y="5238"/>
                    <a:pt x="3269" y="3803"/>
                    <a:pt x="4003" y="3103"/>
                  </a:cubicBezTo>
                  <a:lnTo>
                    <a:pt x="3402" y="1"/>
                  </a:ln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 name="Google Shape;1118;p41"/>
            <p:cNvSpPr/>
            <p:nvPr/>
          </p:nvSpPr>
          <p:spPr>
            <a:xfrm>
              <a:off x="5424587" y="4380692"/>
              <a:ext cx="84888" cy="160650"/>
            </a:xfrm>
            <a:custGeom>
              <a:avLst/>
              <a:gdLst/>
              <a:ahLst/>
              <a:cxnLst/>
              <a:rect l="l" t="t" r="r" b="b"/>
              <a:pathLst>
                <a:path w="4037" h="7640" extrusionOk="0">
                  <a:moveTo>
                    <a:pt x="3403" y="1"/>
                  </a:moveTo>
                  <a:lnTo>
                    <a:pt x="1" y="334"/>
                  </a:lnTo>
                  <a:lnTo>
                    <a:pt x="634" y="7640"/>
                  </a:lnTo>
                  <a:lnTo>
                    <a:pt x="4037" y="7273"/>
                  </a:lnTo>
                  <a:lnTo>
                    <a:pt x="3403" y="1"/>
                  </a:lnTo>
                  <a:close/>
                </a:path>
              </a:pathLst>
            </a:custGeom>
            <a:solidFill>
              <a:srgbClr val="E4897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 name="Google Shape;1119;p41"/>
            <p:cNvSpPr/>
            <p:nvPr/>
          </p:nvSpPr>
          <p:spPr>
            <a:xfrm>
              <a:off x="5789339" y="4368769"/>
              <a:ext cx="75068" cy="159956"/>
            </a:xfrm>
            <a:custGeom>
              <a:avLst/>
              <a:gdLst/>
              <a:ahLst/>
              <a:cxnLst/>
              <a:rect l="l" t="t" r="r" b="b"/>
              <a:pathLst>
                <a:path w="3570" h="7607" extrusionOk="0">
                  <a:moveTo>
                    <a:pt x="0" y="1"/>
                  </a:moveTo>
                  <a:lnTo>
                    <a:pt x="267" y="7606"/>
                  </a:lnTo>
                  <a:lnTo>
                    <a:pt x="3570" y="7606"/>
                  </a:lnTo>
                  <a:lnTo>
                    <a:pt x="3303" y="1"/>
                  </a:lnTo>
                  <a:close/>
                </a:path>
              </a:pathLst>
            </a:custGeom>
            <a:solidFill>
              <a:srgbClr val="E4897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 name="Google Shape;1120;p41"/>
            <p:cNvSpPr/>
            <p:nvPr/>
          </p:nvSpPr>
          <p:spPr>
            <a:xfrm>
              <a:off x="5651858" y="4520843"/>
              <a:ext cx="237800" cy="78012"/>
            </a:xfrm>
            <a:custGeom>
              <a:avLst/>
              <a:gdLst/>
              <a:ahLst/>
              <a:cxnLst/>
              <a:rect l="l" t="t" r="r" b="b"/>
              <a:pathLst>
                <a:path w="11309" h="3710" extrusionOk="0">
                  <a:moveTo>
                    <a:pt x="6281" y="1"/>
                  </a:moveTo>
                  <a:cubicBezTo>
                    <a:pt x="6087" y="1"/>
                    <a:pt x="5920" y="92"/>
                    <a:pt x="5804" y="207"/>
                  </a:cubicBezTo>
                  <a:cubicBezTo>
                    <a:pt x="5004" y="941"/>
                    <a:pt x="3103" y="1709"/>
                    <a:pt x="567" y="2242"/>
                  </a:cubicBezTo>
                  <a:cubicBezTo>
                    <a:pt x="0" y="2376"/>
                    <a:pt x="200" y="3710"/>
                    <a:pt x="1568" y="3710"/>
                  </a:cubicBezTo>
                  <a:cubicBezTo>
                    <a:pt x="2936" y="3710"/>
                    <a:pt x="5938" y="3610"/>
                    <a:pt x="6939" y="3610"/>
                  </a:cubicBezTo>
                  <a:cubicBezTo>
                    <a:pt x="8573" y="3610"/>
                    <a:pt x="9507" y="3710"/>
                    <a:pt x="10775" y="3710"/>
                  </a:cubicBezTo>
                  <a:cubicBezTo>
                    <a:pt x="11075" y="3710"/>
                    <a:pt x="11308" y="3443"/>
                    <a:pt x="11275" y="3143"/>
                  </a:cubicBezTo>
                  <a:lnTo>
                    <a:pt x="10608" y="207"/>
                  </a:lnTo>
                  <a:cubicBezTo>
                    <a:pt x="10575" y="74"/>
                    <a:pt x="10474" y="7"/>
                    <a:pt x="10341" y="7"/>
                  </a:cubicBezTo>
                  <a:lnTo>
                    <a:pt x="6372" y="7"/>
                  </a:lnTo>
                  <a:cubicBezTo>
                    <a:pt x="6341" y="3"/>
                    <a:pt x="6311" y="1"/>
                    <a:pt x="6281" y="1"/>
                  </a:cubicBezTo>
                  <a:close/>
                </a:path>
              </a:pathLst>
            </a:custGeom>
            <a:solidFill>
              <a:srgbClr val="2E353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 name="Google Shape;1121;p41"/>
            <p:cNvSpPr/>
            <p:nvPr/>
          </p:nvSpPr>
          <p:spPr>
            <a:xfrm>
              <a:off x="5745853" y="4515292"/>
              <a:ext cx="36483" cy="17642"/>
            </a:xfrm>
            <a:custGeom>
              <a:avLst/>
              <a:gdLst/>
              <a:ahLst/>
              <a:cxnLst/>
              <a:rect l="l" t="t" r="r" b="b"/>
              <a:pathLst>
                <a:path w="1735" h="839" extrusionOk="0">
                  <a:moveTo>
                    <a:pt x="278" y="156"/>
                  </a:moveTo>
                  <a:cubicBezTo>
                    <a:pt x="293" y="156"/>
                    <a:pt x="312" y="160"/>
                    <a:pt x="334" y="171"/>
                  </a:cubicBezTo>
                  <a:cubicBezTo>
                    <a:pt x="701" y="238"/>
                    <a:pt x="1101" y="371"/>
                    <a:pt x="1435" y="605"/>
                  </a:cubicBezTo>
                  <a:cubicBezTo>
                    <a:pt x="1281" y="661"/>
                    <a:pt x="1117" y="687"/>
                    <a:pt x="950" y="687"/>
                  </a:cubicBezTo>
                  <a:cubicBezTo>
                    <a:pt x="717" y="687"/>
                    <a:pt x="481" y="635"/>
                    <a:pt x="267" y="538"/>
                  </a:cubicBezTo>
                  <a:cubicBezTo>
                    <a:pt x="200" y="471"/>
                    <a:pt x="167" y="371"/>
                    <a:pt x="167" y="271"/>
                  </a:cubicBezTo>
                  <a:cubicBezTo>
                    <a:pt x="167" y="205"/>
                    <a:pt x="200" y="171"/>
                    <a:pt x="234" y="171"/>
                  </a:cubicBezTo>
                  <a:cubicBezTo>
                    <a:pt x="234" y="171"/>
                    <a:pt x="249" y="156"/>
                    <a:pt x="278" y="156"/>
                  </a:cubicBezTo>
                  <a:close/>
                  <a:moveTo>
                    <a:pt x="308" y="1"/>
                  </a:moveTo>
                  <a:cubicBezTo>
                    <a:pt x="241" y="1"/>
                    <a:pt x="181" y="12"/>
                    <a:pt x="134" y="38"/>
                  </a:cubicBezTo>
                  <a:cubicBezTo>
                    <a:pt x="67" y="71"/>
                    <a:pt x="0" y="171"/>
                    <a:pt x="0" y="238"/>
                  </a:cubicBezTo>
                  <a:cubicBezTo>
                    <a:pt x="0" y="405"/>
                    <a:pt x="67" y="572"/>
                    <a:pt x="167" y="672"/>
                  </a:cubicBezTo>
                  <a:cubicBezTo>
                    <a:pt x="367" y="805"/>
                    <a:pt x="567" y="838"/>
                    <a:pt x="801" y="838"/>
                  </a:cubicBezTo>
                  <a:cubicBezTo>
                    <a:pt x="1101" y="838"/>
                    <a:pt x="1368" y="772"/>
                    <a:pt x="1668" y="705"/>
                  </a:cubicBezTo>
                  <a:cubicBezTo>
                    <a:pt x="1701" y="705"/>
                    <a:pt x="1735" y="672"/>
                    <a:pt x="1735" y="638"/>
                  </a:cubicBezTo>
                  <a:cubicBezTo>
                    <a:pt x="1735" y="605"/>
                    <a:pt x="1701" y="572"/>
                    <a:pt x="1701" y="572"/>
                  </a:cubicBezTo>
                  <a:cubicBezTo>
                    <a:pt x="1585" y="514"/>
                    <a:pt x="762" y="1"/>
                    <a:pt x="308" y="1"/>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 name="Google Shape;1122;p41"/>
            <p:cNvSpPr/>
            <p:nvPr/>
          </p:nvSpPr>
          <p:spPr>
            <a:xfrm>
              <a:off x="5758470" y="4499689"/>
              <a:ext cx="23866" cy="31142"/>
            </a:xfrm>
            <a:custGeom>
              <a:avLst/>
              <a:gdLst/>
              <a:ahLst/>
              <a:cxnLst/>
              <a:rect l="l" t="t" r="r" b="b"/>
              <a:pathLst>
                <a:path w="1135" h="1481" extrusionOk="0">
                  <a:moveTo>
                    <a:pt x="434" y="133"/>
                  </a:moveTo>
                  <a:cubicBezTo>
                    <a:pt x="470" y="133"/>
                    <a:pt x="519" y="164"/>
                    <a:pt x="568" y="213"/>
                  </a:cubicBezTo>
                  <a:cubicBezTo>
                    <a:pt x="801" y="480"/>
                    <a:pt x="935" y="847"/>
                    <a:pt x="935" y="1213"/>
                  </a:cubicBezTo>
                  <a:cubicBezTo>
                    <a:pt x="601" y="980"/>
                    <a:pt x="201" y="413"/>
                    <a:pt x="234" y="213"/>
                  </a:cubicBezTo>
                  <a:cubicBezTo>
                    <a:pt x="234" y="179"/>
                    <a:pt x="234" y="146"/>
                    <a:pt x="334" y="146"/>
                  </a:cubicBezTo>
                  <a:lnTo>
                    <a:pt x="401" y="146"/>
                  </a:lnTo>
                  <a:cubicBezTo>
                    <a:pt x="410" y="137"/>
                    <a:pt x="421" y="133"/>
                    <a:pt x="434" y="133"/>
                  </a:cubicBezTo>
                  <a:close/>
                  <a:moveTo>
                    <a:pt x="414" y="0"/>
                  </a:moveTo>
                  <a:cubicBezTo>
                    <a:pt x="386" y="0"/>
                    <a:pt x="359" y="4"/>
                    <a:pt x="334" y="13"/>
                  </a:cubicBezTo>
                  <a:cubicBezTo>
                    <a:pt x="201" y="13"/>
                    <a:pt x="101" y="79"/>
                    <a:pt x="67" y="213"/>
                  </a:cubicBezTo>
                  <a:cubicBezTo>
                    <a:pt x="1" y="546"/>
                    <a:pt x="668" y="1280"/>
                    <a:pt x="1001" y="1447"/>
                  </a:cubicBezTo>
                  <a:lnTo>
                    <a:pt x="1035" y="1447"/>
                  </a:lnTo>
                  <a:cubicBezTo>
                    <a:pt x="1068" y="1480"/>
                    <a:pt x="1068" y="1480"/>
                    <a:pt x="1101" y="1480"/>
                  </a:cubicBezTo>
                  <a:cubicBezTo>
                    <a:pt x="1101" y="1447"/>
                    <a:pt x="1135" y="1414"/>
                    <a:pt x="1135" y="1414"/>
                  </a:cubicBezTo>
                  <a:cubicBezTo>
                    <a:pt x="1135" y="1347"/>
                    <a:pt x="1035" y="413"/>
                    <a:pt x="668" y="113"/>
                  </a:cubicBezTo>
                  <a:cubicBezTo>
                    <a:pt x="593" y="38"/>
                    <a:pt x="499" y="0"/>
                    <a:pt x="414"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 name="Google Shape;1123;p41"/>
            <p:cNvSpPr/>
            <p:nvPr/>
          </p:nvSpPr>
          <p:spPr>
            <a:xfrm>
              <a:off x="5296927" y="4518740"/>
              <a:ext cx="237800" cy="78012"/>
            </a:xfrm>
            <a:custGeom>
              <a:avLst/>
              <a:gdLst/>
              <a:ahLst/>
              <a:cxnLst/>
              <a:rect l="l" t="t" r="r" b="b"/>
              <a:pathLst>
                <a:path w="11309" h="3710" extrusionOk="0">
                  <a:moveTo>
                    <a:pt x="6260" y="1"/>
                  </a:moveTo>
                  <a:cubicBezTo>
                    <a:pt x="6087" y="1"/>
                    <a:pt x="5921" y="92"/>
                    <a:pt x="5805" y="207"/>
                  </a:cubicBezTo>
                  <a:cubicBezTo>
                    <a:pt x="5004" y="941"/>
                    <a:pt x="3103" y="1675"/>
                    <a:pt x="568" y="2242"/>
                  </a:cubicBezTo>
                  <a:cubicBezTo>
                    <a:pt x="1" y="2376"/>
                    <a:pt x="167" y="3710"/>
                    <a:pt x="1568" y="3710"/>
                  </a:cubicBezTo>
                  <a:cubicBezTo>
                    <a:pt x="2936" y="3710"/>
                    <a:pt x="5938" y="3610"/>
                    <a:pt x="6939" y="3610"/>
                  </a:cubicBezTo>
                  <a:cubicBezTo>
                    <a:pt x="8540" y="3610"/>
                    <a:pt x="9507" y="3710"/>
                    <a:pt x="10775" y="3710"/>
                  </a:cubicBezTo>
                  <a:cubicBezTo>
                    <a:pt x="11075" y="3710"/>
                    <a:pt x="11309" y="3443"/>
                    <a:pt x="11275" y="3143"/>
                  </a:cubicBezTo>
                  <a:lnTo>
                    <a:pt x="10608" y="207"/>
                  </a:lnTo>
                  <a:cubicBezTo>
                    <a:pt x="10579" y="92"/>
                    <a:pt x="10500" y="1"/>
                    <a:pt x="10392" y="1"/>
                  </a:cubicBezTo>
                  <a:cubicBezTo>
                    <a:pt x="10376" y="1"/>
                    <a:pt x="10359" y="3"/>
                    <a:pt x="10341" y="7"/>
                  </a:cubicBezTo>
                  <a:lnTo>
                    <a:pt x="6338" y="7"/>
                  </a:lnTo>
                  <a:cubicBezTo>
                    <a:pt x="6312" y="3"/>
                    <a:pt x="6286" y="1"/>
                    <a:pt x="6260" y="1"/>
                  </a:cubicBezTo>
                  <a:close/>
                </a:path>
              </a:pathLst>
            </a:custGeom>
            <a:solidFill>
              <a:srgbClr val="2E353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 name="Google Shape;1124;p41"/>
            <p:cNvSpPr/>
            <p:nvPr/>
          </p:nvSpPr>
          <p:spPr>
            <a:xfrm>
              <a:off x="5390922" y="4513189"/>
              <a:ext cx="36504" cy="17642"/>
            </a:xfrm>
            <a:custGeom>
              <a:avLst/>
              <a:gdLst/>
              <a:ahLst/>
              <a:cxnLst/>
              <a:rect l="l" t="t" r="r" b="b"/>
              <a:pathLst>
                <a:path w="1736" h="839" extrusionOk="0">
                  <a:moveTo>
                    <a:pt x="301" y="138"/>
                  </a:moveTo>
                  <a:cubicBezTo>
                    <a:pt x="701" y="205"/>
                    <a:pt x="1101" y="371"/>
                    <a:pt x="1435" y="605"/>
                  </a:cubicBezTo>
                  <a:cubicBezTo>
                    <a:pt x="1260" y="649"/>
                    <a:pt x="1085" y="673"/>
                    <a:pt x="913" y="673"/>
                  </a:cubicBezTo>
                  <a:cubicBezTo>
                    <a:pt x="691" y="673"/>
                    <a:pt x="474" y="632"/>
                    <a:pt x="267" y="538"/>
                  </a:cubicBezTo>
                  <a:cubicBezTo>
                    <a:pt x="201" y="471"/>
                    <a:pt x="134" y="371"/>
                    <a:pt x="167" y="238"/>
                  </a:cubicBezTo>
                  <a:cubicBezTo>
                    <a:pt x="167" y="205"/>
                    <a:pt x="201" y="171"/>
                    <a:pt x="201" y="171"/>
                  </a:cubicBezTo>
                  <a:cubicBezTo>
                    <a:pt x="234" y="138"/>
                    <a:pt x="267" y="138"/>
                    <a:pt x="301" y="138"/>
                  </a:cubicBezTo>
                  <a:close/>
                  <a:moveTo>
                    <a:pt x="308" y="0"/>
                  </a:moveTo>
                  <a:cubicBezTo>
                    <a:pt x="241" y="0"/>
                    <a:pt x="181" y="12"/>
                    <a:pt x="134" y="38"/>
                  </a:cubicBezTo>
                  <a:cubicBezTo>
                    <a:pt x="67" y="71"/>
                    <a:pt x="0" y="138"/>
                    <a:pt x="0" y="238"/>
                  </a:cubicBezTo>
                  <a:cubicBezTo>
                    <a:pt x="0" y="405"/>
                    <a:pt x="34" y="571"/>
                    <a:pt x="167" y="672"/>
                  </a:cubicBezTo>
                  <a:cubicBezTo>
                    <a:pt x="367" y="772"/>
                    <a:pt x="568" y="838"/>
                    <a:pt x="801" y="838"/>
                  </a:cubicBezTo>
                  <a:cubicBezTo>
                    <a:pt x="1101" y="805"/>
                    <a:pt x="1368" y="772"/>
                    <a:pt x="1668" y="705"/>
                  </a:cubicBezTo>
                  <a:cubicBezTo>
                    <a:pt x="1702" y="705"/>
                    <a:pt x="1702" y="672"/>
                    <a:pt x="1702" y="638"/>
                  </a:cubicBezTo>
                  <a:cubicBezTo>
                    <a:pt x="1735" y="605"/>
                    <a:pt x="1702" y="571"/>
                    <a:pt x="1668" y="571"/>
                  </a:cubicBezTo>
                  <a:cubicBezTo>
                    <a:pt x="1581" y="513"/>
                    <a:pt x="761" y="0"/>
                    <a:pt x="308"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 name="Google Shape;1125;p41"/>
            <p:cNvSpPr/>
            <p:nvPr/>
          </p:nvSpPr>
          <p:spPr>
            <a:xfrm>
              <a:off x="5403538" y="4497586"/>
              <a:ext cx="23172" cy="31142"/>
            </a:xfrm>
            <a:custGeom>
              <a:avLst/>
              <a:gdLst/>
              <a:ahLst/>
              <a:cxnLst/>
              <a:rect l="l" t="t" r="r" b="b"/>
              <a:pathLst>
                <a:path w="1102" h="1481" extrusionOk="0">
                  <a:moveTo>
                    <a:pt x="368" y="113"/>
                  </a:moveTo>
                  <a:cubicBezTo>
                    <a:pt x="435" y="113"/>
                    <a:pt x="501" y="146"/>
                    <a:pt x="568" y="179"/>
                  </a:cubicBezTo>
                  <a:cubicBezTo>
                    <a:pt x="768" y="480"/>
                    <a:pt x="902" y="846"/>
                    <a:pt x="935" y="1213"/>
                  </a:cubicBezTo>
                  <a:cubicBezTo>
                    <a:pt x="601" y="980"/>
                    <a:pt x="201" y="413"/>
                    <a:pt x="234" y="213"/>
                  </a:cubicBezTo>
                  <a:cubicBezTo>
                    <a:pt x="234" y="179"/>
                    <a:pt x="234" y="113"/>
                    <a:pt x="334" y="113"/>
                  </a:cubicBezTo>
                  <a:close/>
                  <a:moveTo>
                    <a:pt x="415" y="0"/>
                  </a:moveTo>
                  <a:cubicBezTo>
                    <a:pt x="387" y="0"/>
                    <a:pt x="360" y="4"/>
                    <a:pt x="334" y="13"/>
                  </a:cubicBezTo>
                  <a:cubicBezTo>
                    <a:pt x="201" y="13"/>
                    <a:pt x="101" y="79"/>
                    <a:pt x="68" y="213"/>
                  </a:cubicBezTo>
                  <a:cubicBezTo>
                    <a:pt x="1" y="546"/>
                    <a:pt x="668" y="1280"/>
                    <a:pt x="1002" y="1447"/>
                  </a:cubicBezTo>
                  <a:lnTo>
                    <a:pt x="1035" y="1447"/>
                  </a:lnTo>
                  <a:cubicBezTo>
                    <a:pt x="1035" y="1480"/>
                    <a:pt x="1068" y="1480"/>
                    <a:pt x="1068" y="1480"/>
                  </a:cubicBezTo>
                  <a:cubicBezTo>
                    <a:pt x="1102" y="1447"/>
                    <a:pt x="1102" y="1414"/>
                    <a:pt x="1102" y="1414"/>
                  </a:cubicBezTo>
                  <a:cubicBezTo>
                    <a:pt x="1102" y="1347"/>
                    <a:pt x="1035" y="413"/>
                    <a:pt x="668" y="113"/>
                  </a:cubicBezTo>
                  <a:cubicBezTo>
                    <a:pt x="593" y="38"/>
                    <a:pt x="499" y="0"/>
                    <a:pt x="415"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 name="Google Shape;1126;p41"/>
            <p:cNvSpPr/>
            <p:nvPr/>
          </p:nvSpPr>
          <p:spPr>
            <a:xfrm>
              <a:off x="5424587" y="4380692"/>
              <a:ext cx="77886" cy="86297"/>
            </a:xfrm>
            <a:custGeom>
              <a:avLst/>
              <a:gdLst/>
              <a:ahLst/>
              <a:cxnLst/>
              <a:rect l="l" t="t" r="r" b="b"/>
              <a:pathLst>
                <a:path w="3704" h="4104" extrusionOk="0">
                  <a:moveTo>
                    <a:pt x="3403" y="1"/>
                  </a:moveTo>
                  <a:lnTo>
                    <a:pt x="1" y="334"/>
                  </a:lnTo>
                  <a:lnTo>
                    <a:pt x="334" y="4104"/>
                  </a:lnTo>
                  <a:lnTo>
                    <a:pt x="3703" y="3770"/>
                  </a:lnTo>
                  <a:lnTo>
                    <a:pt x="3403" y="1"/>
                  </a:ln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 name="Google Shape;1127;p41"/>
            <p:cNvSpPr/>
            <p:nvPr/>
          </p:nvSpPr>
          <p:spPr>
            <a:xfrm>
              <a:off x="5789339" y="4369484"/>
              <a:ext cx="72272" cy="82070"/>
            </a:xfrm>
            <a:custGeom>
              <a:avLst/>
              <a:gdLst/>
              <a:ahLst/>
              <a:cxnLst/>
              <a:rect l="l" t="t" r="r" b="b"/>
              <a:pathLst>
                <a:path w="3437" h="3903" extrusionOk="0">
                  <a:moveTo>
                    <a:pt x="0" y="0"/>
                  </a:moveTo>
                  <a:lnTo>
                    <a:pt x="134" y="3903"/>
                  </a:lnTo>
                  <a:lnTo>
                    <a:pt x="3436" y="3903"/>
                  </a:lnTo>
                  <a:lnTo>
                    <a:pt x="3303" y="0"/>
                  </a:ln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 name="Google Shape;1128;p41"/>
            <p:cNvSpPr/>
            <p:nvPr/>
          </p:nvSpPr>
          <p:spPr>
            <a:xfrm>
              <a:off x="5320772" y="2968704"/>
              <a:ext cx="566060" cy="1468792"/>
            </a:xfrm>
            <a:custGeom>
              <a:avLst/>
              <a:gdLst/>
              <a:ahLst/>
              <a:cxnLst/>
              <a:rect l="l" t="t" r="r" b="b"/>
              <a:pathLst>
                <a:path w="26920" h="69851" extrusionOk="0">
                  <a:moveTo>
                    <a:pt x="6806" y="1"/>
                  </a:moveTo>
                  <a:cubicBezTo>
                    <a:pt x="5138" y="9041"/>
                    <a:pt x="1" y="40997"/>
                    <a:pt x="3703" y="69484"/>
                  </a:cubicBezTo>
                  <a:lnTo>
                    <a:pt x="9608" y="68750"/>
                  </a:lnTo>
                  <a:cubicBezTo>
                    <a:pt x="9608" y="68750"/>
                    <a:pt x="9041" y="30923"/>
                    <a:pt x="14244" y="16946"/>
                  </a:cubicBezTo>
                  <a:cubicBezTo>
                    <a:pt x="14845" y="24452"/>
                    <a:pt x="15545" y="32391"/>
                    <a:pt x="16179" y="36627"/>
                  </a:cubicBezTo>
                  <a:cubicBezTo>
                    <a:pt x="17680" y="47068"/>
                    <a:pt x="20916" y="69851"/>
                    <a:pt x="20916" y="69851"/>
                  </a:cubicBezTo>
                  <a:lnTo>
                    <a:pt x="26920" y="69851"/>
                  </a:lnTo>
                  <a:cubicBezTo>
                    <a:pt x="26920" y="69851"/>
                    <a:pt x="25686" y="48035"/>
                    <a:pt x="25119" y="37795"/>
                  </a:cubicBezTo>
                  <a:cubicBezTo>
                    <a:pt x="24518" y="26653"/>
                    <a:pt x="24251" y="2302"/>
                    <a:pt x="24218" y="1"/>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 name="Google Shape;1129;p41"/>
            <p:cNvSpPr/>
            <p:nvPr/>
          </p:nvSpPr>
          <p:spPr>
            <a:xfrm>
              <a:off x="5569092" y="3195280"/>
              <a:ext cx="51223" cy="288308"/>
            </a:xfrm>
            <a:custGeom>
              <a:avLst/>
              <a:gdLst/>
              <a:ahLst/>
              <a:cxnLst/>
              <a:rect l="l" t="t" r="r" b="b"/>
              <a:pathLst>
                <a:path w="2436" h="13711" extrusionOk="0">
                  <a:moveTo>
                    <a:pt x="1968" y="0"/>
                  </a:moveTo>
                  <a:cubicBezTo>
                    <a:pt x="1968" y="0"/>
                    <a:pt x="0" y="7039"/>
                    <a:pt x="501" y="13710"/>
                  </a:cubicBezTo>
                  <a:cubicBezTo>
                    <a:pt x="934" y="11142"/>
                    <a:pt x="1568" y="8640"/>
                    <a:pt x="2435" y="6171"/>
                  </a:cubicBezTo>
                  <a:lnTo>
                    <a:pt x="1968" y="0"/>
                  </a:ln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 name="Google Shape;1130;p41"/>
            <p:cNvSpPr/>
            <p:nvPr/>
          </p:nvSpPr>
          <p:spPr>
            <a:xfrm>
              <a:off x="5373384" y="4393329"/>
              <a:ext cx="164162" cy="65248"/>
            </a:xfrm>
            <a:custGeom>
              <a:avLst/>
              <a:gdLst/>
              <a:ahLst/>
              <a:cxnLst/>
              <a:rect l="l" t="t" r="r" b="b"/>
              <a:pathLst>
                <a:path w="7807" h="3103" extrusionOk="0">
                  <a:moveTo>
                    <a:pt x="7606" y="0"/>
                  </a:moveTo>
                  <a:lnTo>
                    <a:pt x="1" y="1001"/>
                  </a:lnTo>
                  <a:lnTo>
                    <a:pt x="534" y="3103"/>
                  </a:lnTo>
                  <a:lnTo>
                    <a:pt x="7806" y="2002"/>
                  </a:lnTo>
                  <a:lnTo>
                    <a:pt x="7606" y="0"/>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 name="Google Shape;1131;p41"/>
            <p:cNvSpPr/>
            <p:nvPr/>
          </p:nvSpPr>
          <p:spPr>
            <a:xfrm>
              <a:off x="5373384" y="4393329"/>
              <a:ext cx="164162" cy="65248"/>
            </a:xfrm>
            <a:custGeom>
              <a:avLst/>
              <a:gdLst/>
              <a:ahLst/>
              <a:cxnLst/>
              <a:rect l="l" t="t" r="r" b="b"/>
              <a:pathLst>
                <a:path w="7807" h="3103" extrusionOk="0">
                  <a:moveTo>
                    <a:pt x="7606" y="0"/>
                  </a:moveTo>
                  <a:lnTo>
                    <a:pt x="1" y="1001"/>
                  </a:lnTo>
                  <a:lnTo>
                    <a:pt x="534" y="3103"/>
                  </a:lnTo>
                  <a:lnTo>
                    <a:pt x="7806" y="2002"/>
                  </a:lnTo>
                  <a:lnTo>
                    <a:pt x="7606"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 name="Google Shape;1132;p41"/>
            <p:cNvSpPr/>
            <p:nvPr/>
          </p:nvSpPr>
          <p:spPr>
            <a:xfrm>
              <a:off x="5740238" y="4391227"/>
              <a:ext cx="154321" cy="47017"/>
            </a:xfrm>
            <a:custGeom>
              <a:avLst/>
              <a:gdLst/>
              <a:ahLst/>
              <a:cxnLst/>
              <a:rect l="l" t="t" r="r" b="b"/>
              <a:pathLst>
                <a:path w="7339" h="2236" extrusionOk="0">
                  <a:moveTo>
                    <a:pt x="0" y="0"/>
                  </a:moveTo>
                  <a:lnTo>
                    <a:pt x="267" y="2235"/>
                  </a:lnTo>
                  <a:lnTo>
                    <a:pt x="7339" y="2235"/>
                  </a:lnTo>
                  <a:lnTo>
                    <a:pt x="7339" y="134"/>
                  </a:lnTo>
                  <a:lnTo>
                    <a:pt x="0" y="0"/>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 name="Google Shape;1133;p41"/>
            <p:cNvSpPr/>
            <p:nvPr/>
          </p:nvSpPr>
          <p:spPr>
            <a:xfrm>
              <a:off x="5740238" y="4391227"/>
              <a:ext cx="154321" cy="47017"/>
            </a:xfrm>
            <a:custGeom>
              <a:avLst/>
              <a:gdLst/>
              <a:ahLst/>
              <a:cxnLst/>
              <a:rect l="l" t="t" r="r" b="b"/>
              <a:pathLst>
                <a:path w="7339" h="2236" extrusionOk="0">
                  <a:moveTo>
                    <a:pt x="0" y="0"/>
                  </a:moveTo>
                  <a:lnTo>
                    <a:pt x="267" y="2235"/>
                  </a:lnTo>
                  <a:lnTo>
                    <a:pt x="7339" y="2235"/>
                  </a:lnTo>
                  <a:lnTo>
                    <a:pt x="7339" y="134"/>
                  </a:lnTo>
                  <a:lnTo>
                    <a:pt x="0"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 name="Google Shape;1134;p41"/>
            <p:cNvSpPr/>
            <p:nvPr/>
          </p:nvSpPr>
          <p:spPr>
            <a:xfrm>
              <a:off x="5456150" y="2972909"/>
              <a:ext cx="373175" cy="44221"/>
            </a:xfrm>
            <a:custGeom>
              <a:avLst/>
              <a:gdLst/>
              <a:ahLst/>
              <a:cxnLst/>
              <a:rect l="l" t="t" r="r" b="b"/>
              <a:pathLst>
                <a:path w="17747" h="2103" extrusionOk="0">
                  <a:moveTo>
                    <a:pt x="234" y="1"/>
                  </a:moveTo>
                  <a:lnTo>
                    <a:pt x="1" y="1869"/>
                  </a:lnTo>
                  <a:lnTo>
                    <a:pt x="17747" y="2102"/>
                  </a:lnTo>
                  <a:lnTo>
                    <a:pt x="17747" y="1"/>
                  </a:ln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 name="Google Shape;1135;p41"/>
            <p:cNvSpPr/>
            <p:nvPr/>
          </p:nvSpPr>
          <p:spPr>
            <a:xfrm>
              <a:off x="5698140" y="2953269"/>
              <a:ext cx="12659" cy="77886"/>
            </a:xfrm>
            <a:custGeom>
              <a:avLst/>
              <a:gdLst/>
              <a:ahLst/>
              <a:cxnLst/>
              <a:rect l="l" t="t" r="r" b="b"/>
              <a:pathLst>
                <a:path w="602" h="3704" extrusionOk="0">
                  <a:moveTo>
                    <a:pt x="1" y="1"/>
                  </a:moveTo>
                  <a:lnTo>
                    <a:pt x="1" y="3704"/>
                  </a:lnTo>
                  <a:lnTo>
                    <a:pt x="601" y="3704"/>
                  </a:lnTo>
                  <a:lnTo>
                    <a:pt x="601" y="1"/>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 name="Google Shape;1136;p41"/>
            <p:cNvSpPr/>
            <p:nvPr/>
          </p:nvSpPr>
          <p:spPr>
            <a:xfrm>
              <a:off x="5511559" y="2953269"/>
              <a:ext cx="13352" cy="77886"/>
            </a:xfrm>
            <a:custGeom>
              <a:avLst/>
              <a:gdLst/>
              <a:ahLst/>
              <a:cxnLst/>
              <a:rect l="l" t="t" r="r" b="b"/>
              <a:pathLst>
                <a:path w="635" h="3704" extrusionOk="0">
                  <a:moveTo>
                    <a:pt x="1" y="1"/>
                  </a:moveTo>
                  <a:lnTo>
                    <a:pt x="1" y="3704"/>
                  </a:lnTo>
                  <a:lnTo>
                    <a:pt x="635" y="3704"/>
                  </a:lnTo>
                  <a:lnTo>
                    <a:pt x="635" y="1"/>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 name="Google Shape;1137;p41"/>
            <p:cNvSpPr/>
            <p:nvPr/>
          </p:nvSpPr>
          <p:spPr>
            <a:xfrm>
              <a:off x="5560660" y="2965213"/>
              <a:ext cx="68066" cy="49120"/>
            </a:xfrm>
            <a:custGeom>
              <a:avLst/>
              <a:gdLst/>
              <a:ahLst/>
              <a:cxnLst/>
              <a:rect l="l" t="t" r="r" b="b"/>
              <a:pathLst>
                <a:path w="3237" h="2336" extrusionOk="0">
                  <a:moveTo>
                    <a:pt x="1" y="0"/>
                  </a:moveTo>
                  <a:lnTo>
                    <a:pt x="1" y="2335"/>
                  </a:lnTo>
                  <a:lnTo>
                    <a:pt x="3237" y="2335"/>
                  </a:lnTo>
                  <a:lnTo>
                    <a:pt x="3237"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 name="Google Shape;1138;p41"/>
            <p:cNvSpPr/>
            <p:nvPr/>
          </p:nvSpPr>
          <p:spPr>
            <a:xfrm>
              <a:off x="5437225" y="2334205"/>
              <a:ext cx="466453" cy="638710"/>
            </a:xfrm>
            <a:custGeom>
              <a:avLst/>
              <a:gdLst/>
              <a:ahLst/>
              <a:cxnLst/>
              <a:rect l="l" t="t" r="r" b="b"/>
              <a:pathLst>
                <a:path w="22183" h="30375" extrusionOk="0">
                  <a:moveTo>
                    <a:pt x="5919" y="0"/>
                  </a:moveTo>
                  <a:cubicBezTo>
                    <a:pt x="4046" y="0"/>
                    <a:pt x="2869" y="53"/>
                    <a:pt x="2869" y="53"/>
                  </a:cubicBezTo>
                  <a:cubicBezTo>
                    <a:pt x="0" y="10828"/>
                    <a:pt x="1134" y="30375"/>
                    <a:pt x="1134" y="30375"/>
                  </a:cubicBezTo>
                  <a:lnTo>
                    <a:pt x="18680" y="30375"/>
                  </a:lnTo>
                  <a:cubicBezTo>
                    <a:pt x="18547" y="19968"/>
                    <a:pt x="22183" y="1621"/>
                    <a:pt x="22183" y="1621"/>
                  </a:cubicBezTo>
                  <a:cubicBezTo>
                    <a:pt x="16630" y="227"/>
                    <a:pt x="9790" y="0"/>
                    <a:pt x="5919"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 name="Google Shape;1139;p41"/>
            <p:cNvSpPr/>
            <p:nvPr/>
          </p:nvSpPr>
          <p:spPr>
            <a:xfrm>
              <a:off x="5437225" y="2334205"/>
              <a:ext cx="466453" cy="638710"/>
            </a:xfrm>
            <a:custGeom>
              <a:avLst/>
              <a:gdLst/>
              <a:ahLst/>
              <a:cxnLst/>
              <a:rect l="l" t="t" r="r" b="b"/>
              <a:pathLst>
                <a:path w="22183" h="30375" extrusionOk="0">
                  <a:moveTo>
                    <a:pt x="5919" y="0"/>
                  </a:moveTo>
                  <a:cubicBezTo>
                    <a:pt x="4046" y="0"/>
                    <a:pt x="2869" y="53"/>
                    <a:pt x="2869" y="53"/>
                  </a:cubicBezTo>
                  <a:cubicBezTo>
                    <a:pt x="0" y="10828"/>
                    <a:pt x="1134" y="30375"/>
                    <a:pt x="1134" y="30375"/>
                  </a:cubicBezTo>
                  <a:lnTo>
                    <a:pt x="18680" y="30375"/>
                  </a:lnTo>
                  <a:cubicBezTo>
                    <a:pt x="18613" y="26339"/>
                    <a:pt x="19147" y="21102"/>
                    <a:pt x="19781" y="16232"/>
                  </a:cubicBezTo>
                  <a:cubicBezTo>
                    <a:pt x="20081" y="14130"/>
                    <a:pt x="20381" y="12095"/>
                    <a:pt x="20648" y="10261"/>
                  </a:cubicBezTo>
                  <a:cubicBezTo>
                    <a:pt x="21449" y="5290"/>
                    <a:pt x="22183" y="1621"/>
                    <a:pt x="22183" y="1621"/>
                  </a:cubicBezTo>
                  <a:cubicBezTo>
                    <a:pt x="16630" y="227"/>
                    <a:pt x="9790" y="0"/>
                    <a:pt x="591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 name="Google Shape;1140;p41"/>
            <p:cNvSpPr/>
            <p:nvPr/>
          </p:nvSpPr>
          <p:spPr>
            <a:xfrm>
              <a:off x="5560660" y="2363371"/>
              <a:ext cx="134702" cy="425786"/>
            </a:xfrm>
            <a:custGeom>
              <a:avLst/>
              <a:gdLst/>
              <a:ahLst/>
              <a:cxnLst/>
              <a:rect l="l" t="t" r="r" b="b"/>
              <a:pathLst>
                <a:path w="6406" h="20249" extrusionOk="0">
                  <a:moveTo>
                    <a:pt x="4504" y="1"/>
                  </a:moveTo>
                  <a:lnTo>
                    <a:pt x="2770" y="101"/>
                  </a:lnTo>
                  <a:lnTo>
                    <a:pt x="3237" y="2369"/>
                  </a:lnTo>
                  <a:cubicBezTo>
                    <a:pt x="3237" y="2369"/>
                    <a:pt x="568" y="13477"/>
                    <a:pt x="1" y="19248"/>
                  </a:cubicBezTo>
                  <a:lnTo>
                    <a:pt x="968" y="20248"/>
                  </a:lnTo>
                  <a:lnTo>
                    <a:pt x="2503" y="19248"/>
                  </a:lnTo>
                  <a:cubicBezTo>
                    <a:pt x="2503" y="19248"/>
                    <a:pt x="2636" y="7506"/>
                    <a:pt x="4004" y="2569"/>
                  </a:cubicBezTo>
                  <a:lnTo>
                    <a:pt x="6405" y="601"/>
                  </a:lnTo>
                  <a:lnTo>
                    <a:pt x="4504" y="1"/>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1" name="Google Shape;1141;p41"/>
            <p:cNvSpPr/>
            <p:nvPr/>
          </p:nvSpPr>
          <p:spPr>
            <a:xfrm>
              <a:off x="5554351" y="2012645"/>
              <a:ext cx="101037" cy="145279"/>
            </a:xfrm>
            <a:custGeom>
              <a:avLst/>
              <a:gdLst/>
              <a:ahLst/>
              <a:cxnLst/>
              <a:rect l="l" t="t" r="r" b="b"/>
              <a:pathLst>
                <a:path w="4805" h="6909" extrusionOk="0">
                  <a:moveTo>
                    <a:pt x="4804" y="1"/>
                  </a:moveTo>
                  <a:lnTo>
                    <a:pt x="701" y="435"/>
                  </a:lnTo>
                  <a:cubicBezTo>
                    <a:pt x="701" y="435"/>
                    <a:pt x="1" y="4938"/>
                    <a:pt x="2402" y="6672"/>
                  </a:cubicBezTo>
                  <a:cubicBezTo>
                    <a:pt x="2627" y="6835"/>
                    <a:pt x="2831" y="6908"/>
                    <a:pt x="3015" y="6908"/>
                  </a:cubicBezTo>
                  <a:cubicBezTo>
                    <a:pt x="4804" y="6908"/>
                    <a:pt x="4804" y="1"/>
                    <a:pt x="4804" y="1"/>
                  </a:cubicBezTo>
                  <a:close/>
                </a:path>
              </a:pathLst>
            </a:custGeom>
            <a:solidFill>
              <a:srgbClr val="2E353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 name="Google Shape;1142;p41"/>
            <p:cNvSpPr/>
            <p:nvPr/>
          </p:nvSpPr>
          <p:spPr>
            <a:xfrm>
              <a:off x="5604166" y="2166275"/>
              <a:ext cx="166958" cy="199109"/>
            </a:xfrm>
            <a:custGeom>
              <a:avLst/>
              <a:gdLst/>
              <a:ahLst/>
              <a:cxnLst/>
              <a:rect l="l" t="t" r="r" b="b"/>
              <a:pathLst>
                <a:path w="7940" h="9469" extrusionOk="0">
                  <a:moveTo>
                    <a:pt x="7806" y="0"/>
                  </a:moveTo>
                  <a:lnTo>
                    <a:pt x="2969" y="3603"/>
                  </a:lnTo>
                  <a:cubicBezTo>
                    <a:pt x="3002" y="3903"/>
                    <a:pt x="3069" y="4203"/>
                    <a:pt x="3069" y="4503"/>
                  </a:cubicBezTo>
                  <a:cubicBezTo>
                    <a:pt x="3136" y="5070"/>
                    <a:pt x="3102" y="5638"/>
                    <a:pt x="2935" y="6171"/>
                  </a:cubicBezTo>
                  <a:cubicBezTo>
                    <a:pt x="2635" y="7005"/>
                    <a:pt x="1935" y="7706"/>
                    <a:pt x="500" y="7939"/>
                  </a:cubicBezTo>
                  <a:cubicBezTo>
                    <a:pt x="0" y="8706"/>
                    <a:pt x="2435" y="9374"/>
                    <a:pt x="2435" y="9374"/>
                  </a:cubicBezTo>
                  <a:cubicBezTo>
                    <a:pt x="2435" y="9374"/>
                    <a:pt x="3127" y="9468"/>
                    <a:pt x="4048" y="9468"/>
                  </a:cubicBezTo>
                  <a:cubicBezTo>
                    <a:pt x="5314" y="9468"/>
                    <a:pt x="7012" y="9289"/>
                    <a:pt x="7939" y="8440"/>
                  </a:cubicBezTo>
                  <a:cubicBezTo>
                    <a:pt x="6371" y="6738"/>
                    <a:pt x="7172" y="2369"/>
                    <a:pt x="7806" y="0"/>
                  </a:cubicBezTo>
                  <a:close/>
                </a:path>
              </a:pathLst>
            </a:custGeom>
            <a:solidFill>
              <a:srgbClr val="E4897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 name="Google Shape;1143;p41"/>
            <p:cNvSpPr/>
            <p:nvPr/>
          </p:nvSpPr>
          <p:spPr>
            <a:xfrm>
              <a:off x="5665883" y="2214661"/>
              <a:ext cx="78580" cy="81397"/>
            </a:xfrm>
            <a:custGeom>
              <a:avLst/>
              <a:gdLst/>
              <a:ahLst/>
              <a:cxnLst/>
              <a:rect l="l" t="t" r="r" b="b"/>
              <a:pathLst>
                <a:path w="3737" h="3871" extrusionOk="0">
                  <a:moveTo>
                    <a:pt x="3736" y="1"/>
                  </a:moveTo>
                  <a:lnTo>
                    <a:pt x="134" y="2202"/>
                  </a:lnTo>
                  <a:cubicBezTo>
                    <a:pt x="201" y="2769"/>
                    <a:pt x="134" y="3337"/>
                    <a:pt x="0" y="3870"/>
                  </a:cubicBezTo>
                  <a:cubicBezTo>
                    <a:pt x="1168" y="3703"/>
                    <a:pt x="3536" y="2903"/>
                    <a:pt x="3736" y="1"/>
                  </a:cubicBez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 name="Google Shape;1144;p41"/>
            <p:cNvSpPr/>
            <p:nvPr/>
          </p:nvSpPr>
          <p:spPr>
            <a:xfrm>
              <a:off x="5560660" y="1996706"/>
              <a:ext cx="218875" cy="269993"/>
            </a:xfrm>
            <a:custGeom>
              <a:avLst/>
              <a:gdLst/>
              <a:ahLst/>
              <a:cxnLst/>
              <a:rect l="l" t="t" r="r" b="b"/>
              <a:pathLst>
                <a:path w="10409" h="12840" extrusionOk="0">
                  <a:moveTo>
                    <a:pt x="5267" y="0"/>
                  </a:moveTo>
                  <a:cubicBezTo>
                    <a:pt x="4471" y="0"/>
                    <a:pt x="3655" y="217"/>
                    <a:pt x="2903" y="692"/>
                  </a:cubicBezTo>
                  <a:cubicBezTo>
                    <a:pt x="1" y="2494"/>
                    <a:pt x="368" y="7330"/>
                    <a:pt x="1535" y="10066"/>
                  </a:cubicBezTo>
                  <a:cubicBezTo>
                    <a:pt x="1602" y="10232"/>
                    <a:pt x="1669" y="10366"/>
                    <a:pt x="1769" y="10499"/>
                  </a:cubicBezTo>
                  <a:cubicBezTo>
                    <a:pt x="2336" y="11500"/>
                    <a:pt x="3270" y="12267"/>
                    <a:pt x="4371" y="12634"/>
                  </a:cubicBezTo>
                  <a:cubicBezTo>
                    <a:pt x="4793" y="12772"/>
                    <a:pt x="5227" y="12839"/>
                    <a:pt x="5658" y="12839"/>
                  </a:cubicBezTo>
                  <a:cubicBezTo>
                    <a:pt x="6994" y="12839"/>
                    <a:pt x="8292" y="12194"/>
                    <a:pt x="9074" y="11033"/>
                  </a:cubicBezTo>
                  <a:cubicBezTo>
                    <a:pt x="10408" y="9132"/>
                    <a:pt x="10041" y="7230"/>
                    <a:pt x="9708" y="4028"/>
                  </a:cubicBezTo>
                  <a:cubicBezTo>
                    <a:pt x="9464" y="1612"/>
                    <a:pt x="7435" y="0"/>
                    <a:pt x="5267" y="0"/>
                  </a:cubicBezTo>
                  <a:close/>
                </a:path>
              </a:pathLst>
            </a:custGeom>
            <a:solidFill>
              <a:srgbClr val="E4897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 name="Google Shape;1145;p41"/>
            <p:cNvSpPr/>
            <p:nvPr/>
          </p:nvSpPr>
          <p:spPr>
            <a:xfrm>
              <a:off x="5651858" y="2108659"/>
              <a:ext cx="14740" cy="19829"/>
            </a:xfrm>
            <a:custGeom>
              <a:avLst/>
              <a:gdLst/>
              <a:ahLst/>
              <a:cxnLst/>
              <a:rect l="l" t="t" r="r" b="b"/>
              <a:pathLst>
                <a:path w="701" h="943" extrusionOk="0">
                  <a:moveTo>
                    <a:pt x="310" y="1"/>
                  </a:moveTo>
                  <a:cubicBezTo>
                    <a:pt x="296" y="1"/>
                    <a:pt x="281" y="2"/>
                    <a:pt x="267" y="5"/>
                  </a:cubicBezTo>
                  <a:cubicBezTo>
                    <a:pt x="100" y="38"/>
                    <a:pt x="0" y="272"/>
                    <a:pt x="34" y="505"/>
                  </a:cubicBezTo>
                  <a:cubicBezTo>
                    <a:pt x="65" y="753"/>
                    <a:pt x="210" y="943"/>
                    <a:pt x="391" y="943"/>
                  </a:cubicBezTo>
                  <a:cubicBezTo>
                    <a:pt x="405" y="943"/>
                    <a:pt x="419" y="941"/>
                    <a:pt x="434" y="939"/>
                  </a:cubicBezTo>
                  <a:cubicBezTo>
                    <a:pt x="601" y="906"/>
                    <a:pt x="701" y="672"/>
                    <a:pt x="667" y="405"/>
                  </a:cubicBezTo>
                  <a:cubicBezTo>
                    <a:pt x="606" y="161"/>
                    <a:pt x="462" y="1"/>
                    <a:pt x="310" y="1"/>
                  </a:cubicBezTo>
                  <a:close/>
                </a:path>
              </a:pathLst>
            </a:custGeom>
            <a:solidFill>
              <a:srgbClr val="2E353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 name="Google Shape;1146;p41"/>
            <p:cNvSpPr/>
            <p:nvPr/>
          </p:nvSpPr>
          <p:spPr>
            <a:xfrm>
              <a:off x="5589426" y="2119194"/>
              <a:ext cx="15455" cy="19808"/>
            </a:xfrm>
            <a:custGeom>
              <a:avLst/>
              <a:gdLst/>
              <a:ahLst/>
              <a:cxnLst/>
              <a:rect l="l" t="t" r="r" b="b"/>
              <a:pathLst>
                <a:path w="735" h="942" extrusionOk="0">
                  <a:moveTo>
                    <a:pt x="338" y="1"/>
                  </a:moveTo>
                  <a:cubicBezTo>
                    <a:pt x="325" y="1"/>
                    <a:pt x="313" y="2"/>
                    <a:pt x="301" y="4"/>
                  </a:cubicBezTo>
                  <a:cubicBezTo>
                    <a:pt x="101" y="38"/>
                    <a:pt x="1" y="271"/>
                    <a:pt x="67" y="538"/>
                  </a:cubicBezTo>
                  <a:cubicBezTo>
                    <a:pt x="98" y="754"/>
                    <a:pt x="244" y="942"/>
                    <a:pt x="397" y="942"/>
                  </a:cubicBezTo>
                  <a:cubicBezTo>
                    <a:pt x="410" y="942"/>
                    <a:pt x="422" y="941"/>
                    <a:pt x="434" y="938"/>
                  </a:cubicBezTo>
                  <a:cubicBezTo>
                    <a:pt x="601" y="905"/>
                    <a:pt x="734" y="671"/>
                    <a:pt x="668" y="405"/>
                  </a:cubicBezTo>
                  <a:cubicBezTo>
                    <a:pt x="637" y="188"/>
                    <a:pt x="491" y="1"/>
                    <a:pt x="338" y="1"/>
                  </a:cubicBezTo>
                  <a:close/>
                </a:path>
              </a:pathLst>
            </a:custGeom>
            <a:solidFill>
              <a:srgbClr val="2E353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 name="Google Shape;1147;p41"/>
            <p:cNvSpPr/>
            <p:nvPr/>
          </p:nvSpPr>
          <p:spPr>
            <a:xfrm>
              <a:off x="5605554" y="2126995"/>
              <a:ext cx="27378" cy="54545"/>
            </a:xfrm>
            <a:custGeom>
              <a:avLst/>
              <a:gdLst/>
              <a:ahLst/>
              <a:cxnLst/>
              <a:rect l="l" t="t" r="r" b="b"/>
              <a:pathLst>
                <a:path w="1302" h="2594" extrusionOk="0">
                  <a:moveTo>
                    <a:pt x="868" y="0"/>
                  </a:moveTo>
                  <a:cubicBezTo>
                    <a:pt x="701" y="867"/>
                    <a:pt x="401" y="1668"/>
                    <a:pt x="1" y="2469"/>
                  </a:cubicBezTo>
                  <a:cubicBezTo>
                    <a:pt x="201" y="2552"/>
                    <a:pt x="418" y="2594"/>
                    <a:pt x="639" y="2594"/>
                  </a:cubicBezTo>
                  <a:cubicBezTo>
                    <a:pt x="860" y="2594"/>
                    <a:pt x="1085" y="2552"/>
                    <a:pt x="1302" y="2469"/>
                  </a:cubicBezTo>
                  <a:lnTo>
                    <a:pt x="868" y="0"/>
                  </a:lnTo>
                  <a:close/>
                </a:path>
              </a:pathLst>
            </a:custGeom>
            <a:solidFill>
              <a:srgbClr val="DE575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 name="Google Shape;1148;p41"/>
            <p:cNvSpPr/>
            <p:nvPr/>
          </p:nvSpPr>
          <p:spPr>
            <a:xfrm>
              <a:off x="5650176" y="2078988"/>
              <a:ext cx="33266" cy="15056"/>
            </a:xfrm>
            <a:custGeom>
              <a:avLst/>
              <a:gdLst/>
              <a:ahLst/>
              <a:cxnLst/>
              <a:rect l="l" t="t" r="r" b="b"/>
              <a:pathLst>
                <a:path w="1582" h="716" extrusionOk="0">
                  <a:moveTo>
                    <a:pt x="399" y="0"/>
                  </a:moveTo>
                  <a:cubicBezTo>
                    <a:pt x="326" y="0"/>
                    <a:pt x="253" y="5"/>
                    <a:pt x="180" y="15"/>
                  </a:cubicBezTo>
                  <a:cubicBezTo>
                    <a:pt x="0" y="75"/>
                    <a:pt x="36" y="325"/>
                    <a:pt x="192" y="325"/>
                  </a:cubicBezTo>
                  <a:cubicBezTo>
                    <a:pt x="209" y="325"/>
                    <a:pt x="227" y="322"/>
                    <a:pt x="247" y="315"/>
                  </a:cubicBezTo>
                  <a:cubicBezTo>
                    <a:pt x="288" y="312"/>
                    <a:pt x="328" y="310"/>
                    <a:pt x="368" y="310"/>
                  </a:cubicBezTo>
                  <a:cubicBezTo>
                    <a:pt x="727" y="310"/>
                    <a:pt x="1075" y="442"/>
                    <a:pt x="1315" y="682"/>
                  </a:cubicBezTo>
                  <a:cubicBezTo>
                    <a:pt x="1381" y="715"/>
                    <a:pt x="1415" y="715"/>
                    <a:pt x="1481" y="715"/>
                  </a:cubicBezTo>
                  <a:cubicBezTo>
                    <a:pt x="1515" y="715"/>
                    <a:pt x="1515" y="682"/>
                    <a:pt x="1548" y="649"/>
                  </a:cubicBezTo>
                  <a:cubicBezTo>
                    <a:pt x="1581" y="615"/>
                    <a:pt x="1581" y="515"/>
                    <a:pt x="1548" y="449"/>
                  </a:cubicBezTo>
                  <a:cubicBezTo>
                    <a:pt x="1235" y="164"/>
                    <a:pt x="824" y="0"/>
                    <a:pt x="399" y="0"/>
                  </a:cubicBezTo>
                  <a:close/>
                </a:path>
              </a:pathLst>
            </a:custGeom>
            <a:solidFill>
              <a:srgbClr val="2E353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 name="Google Shape;1149;p41"/>
            <p:cNvSpPr/>
            <p:nvPr/>
          </p:nvSpPr>
          <p:spPr>
            <a:xfrm>
              <a:off x="5644834" y="2180995"/>
              <a:ext cx="42812" cy="24581"/>
            </a:xfrm>
            <a:custGeom>
              <a:avLst/>
              <a:gdLst/>
              <a:ahLst/>
              <a:cxnLst/>
              <a:rect l="l" t="t" r="r" b="b"/>
              <a:pathLst>
                <a:path w="2036" h="1169" extrusionOk="0">
                  <a:moveTo>
                    <a:pt x="1969" y="1"/>
                  </a:moveTo>
                  <a:cubicBezTo>
                    <a:pt x="1935" y="1"/>
                    <a:pt x="1902" y="1"/>
                    <a:pt x="1869" y="34"/>
                  </a:cubicBezTo>
                  <a:cubicBezTo>
                    <a:pt x="1468" y="634"/>
                    <a:pt x="801" y="1001"/>
                    <a:pt x="67" y="1001"/>
                  </a:cubicBezTo>
                  <a:cubicBezTo>
                    <a:pt x="34" y="1001"/>
                    <a:pt x="1" y="1035"/>
                    <a:pt x="1" y="1101"/>
                  </a:cubicBezTo>
                  <a:cubicBezTo>
                    <a:pt x="1" y="1135"/>
                    <a:pt x="34" y="1168"/>
                    <a:pt x="67" y="1168"/>
                  </a:cubicBezTo>
                  <a:cubicBezTo>
                    <a:pt x="868" y="1168"/>
                    <a:pt x="1569" y="768"/>
                    <a:pt x="2002" y="134"/>
                  </a:cubicBezTo>
                  <a:cubicBezTo>
                    <a:pt x="2036" y="101"/>
                    <a:pt x="2002" y="34"/>
                    <a:pt x="1969" y="1"/>
                  </a:cubicBezTo>
                  <a:close/>
                </a:path>
              </a:pathLst>
            </a:custGeom>
            <a:solidFill>
              <a:srgbClr val="2E353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 name="Google Shape;1150;p41"/>
            <p:cNvSpPr/>
            <p:nvPr/>
          </p:nvSpPr>
          <p:spPr>
            <a:xfrm>
              <a:off x="5568377" y="2085339"/>
              <a:ext cx="25275" cy="26242"/>
            </a:xfrm>
            <a:custGeom>
              <a:avLst/>
              <a:gdLst/>
              <a:ahLst/>
              <a:cxnLst/>
              <a:rect l="l" t="t" r="r" b="b"/>
              <a:pathLst>
                <a:path w="1202" h="1248" extrusionOk="0">
                  <a:moveTo>
                    <a:pt x="1056" y="1"/>
                  </a:moveTo>
                  <a:cubicBezTo>
                    <a:pt x="1037" y="1"/>
                    <a:pt x="1018" y="5"/>
                    <a:pt x="1002" y="13"/>
                  </a:cubicBezTo>
                  <a:cubicBezTo>
                    <a:pt x="535" y="180"/>
                    <a:pt x="168" y="580"/>
                    <a:pt x="34" y="1047"/>
                  </a:cubicBezTo>
                  <a:cubicBezTo>
                    <a:pt x="1" y="1147"/>
                    <a:pt x="68" y="1214"/>
                    <a:pt x="134" y="1247"/>
                  </a:cubicBezTo>
                  <a:cubicBezTo>
                    <a:pt x="168" y="1247"/>
                    <a:pt x="201" y="1247"/>
                    <a:pt x="234" y="1214"/>
                  </a:cubicBezTo>
                  <a:cubicBezTo>
                    <a:pt x="268" y="1214"/>
                    <a:pt x="334" y="1181"/>
                    <a:pt x="334" y="1147"/>
                  </a:cubicBezTo>
                  <a:cubicBezTo>
                    <a:pt x="434" y="747"/>
                    <a:pt x="701" y="447"/>
                    <a:pt x="1068" y="313"/>
                  </a:cubicBezTo>
                  <a:cubicBezTo>
                    <a:pt x="1168" y="280"/>
                    <a:pt x="1202" y="180"/>
                    <a:pt x="1202" y="113"/>
                  </a:cubicBezTo>
                  <a:cubicBezTo>
                    <a:pt x="1177" y="38"/>
                    <a:pt x="1114" y="1"/>
                    <a:pt x="1056" y="1"/>
                  </a:cubicBezTo>
                  <a:close/>
                </a:path>
              </a:pathLst>
            </a:custGeom>
            <a:solidFill>
              <a:srgbClr val="2E353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 name="Google Shape;1151;p41"/>
            <p:cNvSpPr/>
            <p:nvPr/>
          </p:nvSpPr>
          <p:spPr>
            <a:xfrm>
              <a:off x="5700958" y="2004949"/>
              <a:ext cx="95402" cy="211831"/>
            </a:xfrm>
            <a:custGeom>
              <a:avLst/>
              <a:gdLst/>
              <a:ahLst/>
              <a:cxnLst/>
              <a:rect l="l" t="t" r="r" b="b"/>
              <a:pathLst>
                <a:path w="4537" h="10074" extrusionOk="0">
                  <a:moveTo>
                    <a:pt x="3703" y="0"/>
                  </a:moveTo>
                  <a:lnTo>
                    <a:pt x="0" y="33"/>
                  </a:lnTo>
                  <a:lnTo>
                    <a:pt x="0" y="1468"/>
                  </a:lnTo>
                  <a:cubicBezTo>
                    <a:pt x="501" y="1635"/>
                    <a:pt x="801" y="2202"/>
                    <a:pt x="701" y="2735"/>
                  </a:cubicBezTo>
                  <a:cubicBezTo>
                    <a:pt x="367" y="3970"/>
                    <a:pt x="1268" y="5737"/>
                    <a:pt x="2269" y="6371"/>
                  </a:cubicBezTo>
                  <a:cubicBezTo>
                    <a:pt x="2269" y="6371"/>
                    <a:pt x="2239" y="5898"/>
                    <a:pt x="2625" y="5898"/>
                  </a:cubicBezTo>
                  <a:cubicBezTo>
                    <a:pt x="2649" y="5898"/>
                    <a:pt x="2675" y="5900"/>
                    <a:pt x="2702" y="5904"/>
                  </a:cubicBezTo>
                  <a:cubicBezTo>
                    <a:pt x="3136" y="5971"/>
                    <a:pt x="3369" y="8706"/>
                    <a:pt x="2669" y="10074"/>
                  </a:cubicBezTo>
                  <a:cubicBezTo>
                    <a:pt x="2669" y="10074"/>
                    <a:pt x="3803" y="8773"/>
                    <a:pt x="4203" y="5838"/>
                  </a:cubicBezTo>
                  <a:cubicBezTo>
                    <a:pt x="4537" y="3136"/>
                    <a:pt x="4370" y="967"/>
                    <a:pt x="3703" y="0"/>
                  </a:cubicBezTo>
                  <a:close/>
                </a:path>
              </a:pathLst>
            </a:custGeom>
            <a:solidFill>
              <a:srgbClr val="2E353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 name="Google Shape;1152;p41"/>
            <p:cNvSpPr/>
            <p:nvPr/>
          </p:nvSpPr>
          <p:spPr>
            <a:xfrm>
              <a:off x="5538265" y="1949077"/>
              <a:ext cx="263012" cy="104990"/>
            </a:xfrm>
            <a:custGeom>
              <a:avLst/>
              <a:gdLst/>
              <a:ahLst/>
              <a:cxnLst/>
              <a:rect l="l" t="t" r="r" b="b"/>
              <a:pathLst>
                <a:path w="12508" h="4993" extrusionOk="0">
                  <a:moveTo>
                    <a:pt x="6684" y="0"/>
                  </a:moveTo>
                  <a:cubicBezTo>
                    <a:pt x="3290" y="0"/>
                    <a:pt x="232" y="1156"/>
                    <a:pt x="232" y="1156"/>
                  </a:cubicBezTo>
                  <a:cubicBezTo>
                    <a:pt x="232" y="1156"/>
                    <a:pt x="0" y="4992"/>
                    <a:pt x="3390" y="4992"/>
                  </a:cubicBezTo>
                  <a:cubicBezTo>
                    <a:pt x="3405" y="4992"/>
                    <a:pt x="3420" y="4992"/>
                    <a:pt x="3434" y="4992"/>
                  </a:cubicBezTo>
                  <a:cubicBezTo>
                    <a:pt x="6770" y="4959"/>
                    <a:pt x="11440" y="3091"/>
                    <a:pt x="11440" y="3091"/>
                  </a:cubicBezTo>
                  <a:cubicBezTo>
                    <a:pt x="11440" y="3091"/>
                    <a:pt x="12507" y="656"/>
                    <a:pt x="8505" y="122"/>
                  </a:cubicBezTo>
                  <a:cubicBezTo>
                    <a:pt x="7897" y="37"/>
                    <a:pt x="7286" y="0"/>
                    <a:pt x="6684" y="0"/>
                  </a:cubicBezTo>
                  <a:close/>
                </a:path>
              </a:pathLst>
            </a:custGeom>
            <a:solidFill>
              <a:srgbClr val="2E353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 name="Google Shape;1153;p41"/>
            <p:cNvSpPr/>
            <p:nvPr/>
          </p:nvSpPr>
          <p:spPr>
            <a:xfrm>
              <a:off x="5737021" y="2091857"/>
              <a:ext cx="71788" cy="81229"/>
            </a:xfrm>
            <a:custGeom>
              <a:avLst/>
              <a:gdLst/>
              <a:ahLst/>
              <a:cxnLst/>
              <a:rect l="l" t="t" r="r" b="b"/>
              <a:pathLst>
                <a:path w="3414" h="3863" extrusionOk="0">
                  <a:moveTo>
                    <a:pt x="1855" y="0"/>
                  </a:moveTo>
                  <a:cubicBezTo>
                    <a:pt x="1822" y="0"/>
                    <a:pt x="1788" y="1"/>
                    <a:pt x="1754" y="3"/>
                  </a:cubicBezTo>
                  <a:cubicBezTo>
                    <a:pt x="687" y="103"/>
                    <a:pt x="120" y="1504"/>
                    <a:pt x="53" y="2405"/>
                  </a:cubicBezTo>
                  <a:cubicBezTo>
                    <a:pt x="1" y="3216"/>
                    <a:pt x="421" y="3863"/>
                    <a:pt x="1071" y="3863"/>
                  </a:cubicBezTo>
                  <a:cubicBezTo>
                    <a:pt x="1249" y="3863"/>
                    <a:pt x="1446" y="3814"/>
                    <a:pt x="1654" y="3706"/>
                  </a:cubicBezTo>
                  <a:cubicBezTo>
                    <a:pt x="2388" y="3306"/>
                    <a:pt x="2922" y="2672"/>
                    <a:pt x="3155" y="1871"/>
                  </a:cubicBezTo>
                  <a:cubicBezTo>
                    <a:pt x="3414" y="936"/>
                    <a:pt x="2829" y="0"/>
                    <a:pt x="1855" y="0"/>
                  </a:cubicBezTo>
                  <a:close/>
                </a:path>
              </a:pathLst>
            </a:custGeom>
            <a:solidFill>
              <a:srgbClr val="E4897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 name="Google Shape;1154;p41"/>
            <p:cNvSpPr/>
            <p:nvPr/>
          </p:nvSpPr>
          <p:spPr>
            <a:xfrm>
              <a:off x="5596449" y="2305144"/>
              <a:ext cx="196418" cy="98934"/>
            </a:xfrm>
            <a:custGeom>
              <a:avLst/>
              <a:gdLst/>
              <a:ahLst/>
              <a:cxnLst/>
              <a:rect l="l" t="t" r="r" b="b"/>
              <a:pathLst>
                <a:path w="9341" h="4705" extrusionOk="0">
                  <a:moveTo>
                    <a:pt x="7606" y="1"/>
                  </a:moveTo>
                  <a:lnTo>
                    <a:pt x="2969" y="2069"/>
                  </a:lnTo>
                  <a:lnTo>
                    <a:pt x="2702" y="401"/>
                  </a:lnTo>
                  <a:lnTo>
                    <a:pt x="1001" y="1002"/>
                  </a:lnTo>
                  <a:cubicBezTo>
                    <a:pt x="400" y="1235"/>
                    <a:pt x="0" y="1836"/>
                    <a:pt x="100" y="2469"/>
                  </a:cubicBezTo>
                  <a:lnTo>
                    <a:pt x="267" y="4304"/>
                  </a:lnTo>
                  <a:lnTo>
                    <a:pt x="2635" y="3036"/>
                  </a:lnTo>
                  <a:lnTo>
                    <a:pt x="3803" y="4704"/>
                  </a:lnTo>
                  <a:lnTo>
                    <a:pt x="9340" y="2036"/>
                  </a:lnTo>
                  <a:lnTo>
                    <a:pt x="7606" y="1"/>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 name="Google Shape;1155;p41"/>
            <p:cNvSpPr/>
            <p:nvPr/>
          </p:nvSpPr>
          <p:spPr>
            <a:xfrm>
              <a:off x="5596449" y="2305144"/>
              <a:ext cx="196418" cy="98934"/>
            </a:xfrm>
            <a:custGeom>
              <a:avLst/>
              <a:gdLst/>
              <a:ahLst/>
              <a:cxnLst/>
              <a:rect l="l" t="t" r="r" b="b"/>
              <a:pathLst>
                <a:path w="9341" h="4705" extrusionOk="0">
                  <a:moveTo>
                    <a:pt x="7606" y="1"/>
                  </a:moveTo>
                  <a:lnTo>
                    <a:pt x="2969" y="2069"/>
                  </a:lnTo>
                  <a:lnTo>
                    <a:pt x="2702" y="401"/>
                  </a:lnTo>
                  <a:lnTo>
                    <a:pt x="1001" y="1002"/>
                  </a:lnTo>
                  <a:cubicBezTo>
                    <a:pt x="400" y="1235"/>
                    <a:pt x="0" y="1836"/>
                    <a:pt x="100" y="2469"/>
                  </a:cubicBezTo>
                  <a:lnTo>
                    <a:pt x="267" y="4304"/>
                  </a:lnTo>
                  <a:lnTo>
                    <a:pt x="2635" y="3036"/>
                  </a:lnTo>
                  <a:lnTo>
                    <a:pt x="3803" y="4704"/>
                  </a:lnTo>
                  <a:lnTo>
                    <a:pt x="9340" y="2036"/>
                  </a:lnTo>
                  <a:lnTo>
                    <a:pt x="7606"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 name="Google Shape;1156;p41"/>
            <p:cNvSpPr/>
            <p:nvPr/>
          </p:nvSpPr>
          <p:spPr>
            <a:xfrm>
              <a:off x="5827210" y="2524698"/>
              <a:ext cx="44221" cy="150830"/>
            </a:xfrm>
            <a:custGeom>
              <a:avLst/>
              <a:gdLst/>
              <a:ahLst/>
              <a:cxnLst/>
              <a:rect l="l" t="t" r="r" b="b"/>
              <a:pathLst>
                <a:path w="2103" h="7173" extrusionOk="0">
                  <a:moveTo>
                    <a:pt x="901" y="1"/>
                  </a:moveTo>
                  <a:cubicBezTo>
                    <a:pt x="1" y="2336"/>
                    <a:pt x="101" y="4938"/>
                    <a:pt x="1235" y="7173"/>
                  </a:cubicBezTo>
                  <a:cubicBezTo>
                    <a:pt x="1535" y="5071"/>
                    <a:pt x="1835" y="3036"/>
                    <a:pt x="2102" y="1202"/>
                  </a:cubicBezTo>
                  <a:lnTo>
                    <a:pt x="901" y="1"/>
                  </a:ln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 name="Google Shape;1157;p41"/>
            <p:cNvSpPr/>
            <p:nvPr/>
          </p:nvSpPr>
          <p:spPr>
            <a:xfrm>
              <a:off x="5771801" y="2368291"/>
              <a:ext cx="310050" cy="784200"/>
            </a:xfrm>
            <a:custGeom>
              <a:avLst/>
              <a:gdLst/>
              <a:ahLst/>
              <a:cxnLst/>
              <a:rect l="l" t="t" r="r" b="b"/>
              <a:pathLst>
                <a:path w="14745" h="37294" extrusionOk="0">
                  <a:moveTo>
                    <a:pt x="6272" y="0"/>
                  </a:moveTo>
                  <a:cubicBezTo>
                    <a:pt x="6272" y="0"/>
                    <a:pt x="5037" y="1034"/>
                    <a:pt x="4103" y="3736"/>
                  </a:cubicBezTo>
                  <a:cubicBezTo>
                    <a:pt x="3169" y="6438"/>
                    <a:pt x="3670" y="9574"/>
                    <a:pt x="3670" y="9574"/>
                  </a:cubicBezTo>
                  <a:cubicBezTo>
                    <a:pt x="3670" y="9574"/>
                    <a:pt x="8273" y="17046"/>
                    <a:pt x="8039" y="21249"/>
                  </a:cubicBezTo>
                  <a:cubicBezTo>
                    <a:pt x="7839" y="25518"/>
                    <a:pt x="0" y="33657"/>
                    <a:pt x="0" y="33657"/>
                  </a:cubicBezTo>
                  <a:cubicBezTo>
                    <a:pt x="334" y="35359"/>
                    <a:pt x="2736" y="37293"/>
                    <a:pt x="2736" y="37293"/>
                  </a:cubicBezTo>
                  <a:cubicBezTo>
                    <a:pt x="2736" y="37293"/>
                    <a:pt x="13877" y="28387"/>
                    <a:pt x="14311" y="21249"/>
                  </a:cubicBezTo>
                  <a:cubicBezTo>
                    <a:pt x="14744" y="13910"/>
                    <a:pt x="8273" y="934"/>
                    <a:pt x="6272"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 name="Google Shape;1158;p41"/>
            <p:cNvSpPr/>
            <p:nvPr/>
          </p:nvSpPr>
          <p:spPr>
            <a:xfrm>
              <a:off x="5771801" y="2368291"/>
              <a:ext cx="310050" cy="784200"/>
            </a:xfrm>
            <a:custGeom>
              <a:avLst/>
              <a:gdLst/>
              <a:ahLst/>
              <a:cxnLst/>
              <a:rect l="l" t="t" r="r" b="b"/>
              <a:pathLst>
                <a:path w="14745" h="37294" extrusionOk="0">
                  <a:moveTo>
                    <a:pt x="6272" y="0"/>
                  </a:moveTo>
                  <a:cubicBezTo>
                    <a:pt x="6272" y="0"/>
                    <a:pt x="5037" y="1034"/>
                    <a:pt x="4103" y="3736"/>
                  </a:cubicBezTo>
                  <a:cubicBezTo>
                    <a:pt x="3169" y="6438"/>
                    <a:pt x="3670" y="9574"/>
                    <a:pt x="3670" y="9574"/>
                  </a:cubicBezTo>
                  <a:cubicBezTo>
                    <a:pt x="3670" y="9574"/>
                    <a:pt x="8273" y="17046"/>
                    <a:pt x="8039" y="21249"/>
                  </a:cubicBezTo>
                  <a:cubicBezTo>
                    <a:pt x="7839" y="25518"/>
                    <a:pt x="0" y="33657"/>
                    <a:pt x="0" y="33657"/>
                  </a:cubicBezTo>
                  <a:cubicBezTo>
                    <a:pt x="334" y="35359"/>
                    <a:pt x="2736" y="37293"/>
                    <a:pt x="2736" y="37293"/>
                  </a:cubicBezTo>
                  <a:cubicBezTo>
                    <a:pt x="2736" y="37293"/>
                    <a:pt x="13877" y="28387"/>
                    <a:pt x="14311" y="21249"/>
                  </a:cubicBezTo>
                  <a:cubicBezTo>
                    <a:pt x="14744" y="13910"/>
                    <a:pt x="8273" y="934"/>
                    <a:pt x="627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 name="Google Shape;1159;p41"/>
            <p:cNvSpPr/>
            <p:nvPr/>
          </p:nvSpPr>
          <p:spPr>
            <a:xfrm>
              <a:off x="5696101" y="3039547"/>
              <a:ext cx="152176" cy="178881"/>
            </a:xfrm>
            <a:custGeom>
              <a:avLst/>
              <a:gdLst/>
              <a:ahLst/>
              <a:cxnLst/>
              <a:rect l="l" t="t" r="r" b="b"/>
              <a:pathLst>
                <a:path w="7237" h="8507" extrusionOk="0">
                  <a:moveTo>
                    <a:pt x="3600" y="1"/>
                  </a:moveTo>
                  <a:lnTo>
                    <a:pt x="3600" y="1"/>
                  </a:lnTo>
                  <a:cubicBezTo>
                    <a:pt x="0" y="3162"/>
                    <a:pt x="3489" y="8506"/>
                    <a:pt x="5299" y="8506"/>
                  </a:cubicBezTo>
                  <a:cubicBezTo>
                    <a:pt x="5552" y="8506"/>
                    <a:pt x="5772" y="8402"/>
                    <a:pt x="5935" y="8173"/>
                  </a:cubicBezTo>
                  <a:cubicBezTo>
                    <a:pt x="7236" y="6272"/>
                    <a:pt x="6936" y="4904"/>
                    <a:pt x="6936" y="4904"/>
                  </a:cubicBezTo>
                  <a:cubicBezTo>
                    <a:pt x="5402" y="4071"/>
                    <a:pt x="3601" y="1"/>
                    <a:pt x="3600" y="1"/>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0" name="Google Shape;1160;p41"/>
          <p:cNvGrpSpPr/>
          <p:nvPr/>
        </p:nvGrpSpPr>
        <p:grpSpPr>
          <a:xfrm>
            <a:off x="4521944" y="1429000"/>
            <a:ext cx="1297352" cy="3090642"/>
            <a:chOff x="4571276" y="1199993"/>
            <a:chExt cx="1447935" cy="3449376"/>
          </a:xfrm>
        </p:grpSpPr>
        <p:sp>
          <p:nvSpPr>
            <p:cNvPr id="1161" name="Google Shape;1161;p41"/>
            <p:cNvSpPr/>
            <p:nvPr/>
          </p:nvSpPr>
          <p:spPr>
            <a:xfrm flipH="1">
              <a:off x="5744139" y="1888269"/>
              <a:ext cx="275072" cy="256357"/>
            </a:xfrm>
            <a:custGeom>
              <a:avLst/>
              <a:gdLst/>
              <a:ahLst/>
              <a:cxnLst/>
              <a:rect l="l" t="t" r="r" b="b"/>
              <a:pathLst>
                <a:path w="10009" h="9328" extrusionOk="0">
                  <a:moveTo>
                    <a:pt x="640" y="1"/>
                  </a:moveTo>
                  <a:cubicBezTo>
                    <a:pt x="580" y="1"/>
                    <a:pt x="533" y="7"/>
                    <a:pt x="501" y="21"/>
                  </a:cubicBezTo>
                  <a:cubicBezTo>
                    <a:pt x="1" y="221"/>
                    <a:pt x="68" y="4524"/>
                    <a:pt x="501" y="4624"/>
                  </a:cubicBezTo>
                  <a:cubicBezTo>
                    <a:pt x="902" y="4758"/>
                    <a:pt x="4337" y="5792"/>
                    <a:pt x="4337" y="5792"/>
                  </a:cubicBezTo>
                  <a:lnTo>
                    <a:pt x="8707" y="9328"/>
                  </a:lnTo>
                  <a:lnTo>
                    <a:pt x="10008" y="6759"/>
                  </a:lnTo>
                  <a:lnTo>
                    <a:pt x="5905" y="3924"/>
                  </a:lnTo>
                  <a:cubicBezTo>
                    <a:pt x="5905" y="3924"/>
                    <a:pt x="5305" y="1655"/>
                    <a:pt x="5004" y="1422"/>
                  </a:cubicBezTo>
                  <a:cubicBezTo>
                    <a:pt x="4756" y="1204"/>
                    <a:pt x="1463" y="1"/>
                    <a:pt x="640" y="1"/>
                  </a:cubicBezTo>
                  <a:close/>
                </a:path>
              </a:pathLst>
            </a:custGeom>
            <a:solidFill>
              <a:srgbClr val="B55B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62" name="Google Shape;1162;p41"/>
            <p:cNvGrpSpPr/>
            <p:nvPr/>
          </p:nvGrpSpPr>
          <p:grpSpPr>
            <a:xfrm flipH="1">
              <a:off x="4571276" y="1199993"/>
              <a:ext cx="1313617" cy="3449376"/>
              <a:chOff x="11373725" y="1509038"/>
              <a:chExt cx="1230900" cy="3232600"/>
            </a:xfrm>
          </p:grpSpPr>
          <p:sp>
            <p:nvSpPr>
              <p:cNvPr id="1163" name="Google Shape;1163;p41"/>
              <p:cNvSpPr/>
              <p:nvPr/>
            </p:nvSpPr>
            <p:spPr>
              <a:xfrm>
                <a:off x="11478800" y="4476413"/>
                <a:ext cx="285225" cy="2550"/>
              </a:xfrm>
              <a:custGeom>
                <a:avLst/>
                <a:gdLst/>
                <a:ahLst/>
                <a:cxnLst/>
                <a:rect l="l" t="t" r="r" b="b"/>
                <a:pathLst>
                  <a:path w="11409" h="102" extrusionOk="0">
                    <a:moveTo>
                      <a:pt x="1" y="1"/>
                    </a:moveTo>
                    <a:lnTo>
                      <a:pt x="1" y="101"/>
                    </a:lnTo>
                    <a:lnTo>
                      <a:pt x="11409" y="101"/>
                    </a:lnTo>
                    <a:lnTo>
                      <a:pt x="11409" y="1"/>
                    </a:lnTo>
                    <a:close/>
                  </a:path>
                </a:pathLst>
              </a:custGeom>
              <a:solidFill>
                <a:srgbClr val="EBEBE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 name="Google Shape;1164;p41"/>
              <p:cNvSpPr/>
              <p:nvPr/>
            </p:nvSpPr>
            <p:spPr>
              <a:xfrm>
                <a:off x="12185975" y="3800113"/>
                <a:ext cx="41725" cy="588775"/>
              </a:xfrm>
              <a:custGeom>
                <a:avLst/>
                <a:gdLst/>
                <a:ahLst/>
                <a:cxnLst/>
                <a:rect l="l" t="t" r="r" b="b"/>
                <a:pathLst>
                  <a:path w="1669" h="23551" extrusionOk="0">
                    <a:moveTo>
                      <a:pt x="1" y="0"/>
                    </a:moveTo>
                    <a:lnTo>
                      <a:pt x="1" y="23550"/>
                    </a:lnTo>
                    <a:lnTo>
                      <a:pt x="1668" y="23550"/>
                    </a:lnTo>
                    <a:lnTo>
                      <a:pt x="1668" y="0"/>
                    </a:lnTo>
                    <a:close/>
                  </a:path>
                </a:pathLst>
              </a:custGeom>
              <a:solidFill>
                <a:srgbClr val="E6E6E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 name="Google Shape;1165;p41"/>
              <p:cNvSpPr/>
              <p:nvPr/>
            </p:nvSpPr>
            <p:spPr>
              <a:xfrm>
                <a:off x="11595550" y="4379688"/>
                <a:ext cx="120950" cy="218525"/>
              </a:xfrm>
              <a:custGeom>
                <a:avLst/>
                <a:gdLst/>
                <a:ahLst/>
                <a:cxnLst/>
                <a:rect l="l" t="t" r="r" b="b"/>
                <a:pathLst>
                  <a:path w="4838" h="8741" extrusionOk="0">
                    <a:moveTo>
                      <a:pt x="1669" y="1"/>
                    </a:moveTo>
                    <a:lnTo>
                      <a:pt x="1" y="7639"/>
                    </a:lnTo>
                    <a:lnTo>
                      <a:pt x="3136" y="8740"/>
                    </a:lnTo>
                    <a:lnTo>
                      <a:pt x="4838" y="1101"/>
                    </a:lnTo>
                    <a:lnTo>
                      <a:pt x="1669" y="1"/>
                    </a:lnTo>
                    <a:close/>
                  </a:path>
                </a:pathLst>
              </a:custGeom>
              <a:solidFill>
                <a:srgbClr val="B55B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 name="Google Shape;1166;p41"/>
              <p:cNvSpPr/>
              <p:nvPr/>
            </p:nvSpPr>
            <p:spPr>
              <a:xfrm>
                <a:off x="12226850" y="4462238"/>
                <a:ext cx="105100" cy="194350"/>
              </a:xfrm>
              <a:custGeom>
                <a:avLst/>
                <a:gdLst/>
                <a:ahLst/>
                <a:cxnLst/>
                <a:rect l="l" t="t" r="r" b="b"/>
                <a:pathLst>
                  <a:path w="4204" h="7774" extrusionOk="0">
                    <a:moveTo>
                      <a:pt x="0" y="1"/>
                    </a:moveTo>
                    <a:lnTo>
                      <a:pt x="834" y="7773"/>
                    </a:lnTo>
                    <a:lnTo>
                      <a:pt x="4203" y="7773"/>
                    </a:lnTo>
                    <a:lnTo>
                      <a:pt x="3336" y="1"/>
                    </a:lnTo>
                    <a:close/>
                  </a:path>
                </a:pathLst>
              </a:custGeom>
              <a:solidFill>
                <a:srgbClr val="B55B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 name="Google Shape;1167;p41"/>
              <p:cNvSpPr/>
              <p:nvPr/>
            </p:nvSpPr>
            <p:spPr>
              <a:xfrm>
                <a:off x="12080075" y="4646538"/>
                <a:ext cx="282725" cy="95100"/>
              </a:xfrm>
              <a:custGeom>
                <a:avLst/>
                <a:gdLst/>
                <a:ahLst/>
                <a:cxnLst/>
                <a:rect l="l" t="t" r="r" b="b"/>
                <a:pathLst>
                  <a:path w="11309" h="3804" extrusionOk="0">
                    <a:moveTo>
                      <a:pt x="6472" y="1"/>
                    </a:moveTo>
                    <a:cubicBezTo>
                      <a:pt x="6238" y="1"/>
                      <a:pt x="6071" y="68"/>
                      <a:pt x="5904" y="201"/>
                    </a:cubicBezTo>
                    <a:cubicBezTo>
                      <a:pt x="5071" y="935"/>
                      <a:pt x="3136" y="1735"/>
                      <a:pt x="567" y="2303"/>
                    </a:cubicBezTo>
                    <a:cubicBezTo>
                      <a:pt x="0" y="2403"/>
                      <a:pt x="167" y="3804"/>
                      <a:pt x="1568" y="3804"/>
                    </a:cubicBezTo>
                    <a:cubicBezTo>
                      <a:pt x="2969" y="3804"/>
                      <a:pt x="5804" y="3704"/>
                      <a:pt x="6805" y="3704"/>
                    </a:cubicBezTo>
                    <a:cubicBezTo>
                      <a:pt x="8473" y="3704"/>
                      <a:pt x="9440" y="3770"/>
                      <a:pt x="10741" y="3804"/>
                    </a:cubicBezTo>
                    <a:cubicBezTo>
                      <a:pt x="11041" y="3804"/>
                      <a:pt x="11308" y="3503"/>
                      <a:pt x="11242" y="3203"/>
                    </a:cubicBezTo>
                    <a:lnTo>
                      <a:pt x="10574" y="234"/>
                    </a:lnTo>
                    <a:cubicBezTo>
                      <a:pt x="10541" y="101"/>
                      <a:pt x="10408" y="1"/>
                      <a:pt x="10274"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 name="Google Shape;1168;p41"/>
              <p:cNvSpPr/>
              <p:nvPr/>
            </p:nvSpPr>
            <p:spPr>
              <a:xfrm>
                <a:off x="11394950" y="4559813"/>
                <a:ext cx="293200" cy="126600"/>
              </a:xfrm>
              <a:custGeom>
                <a:avLst/>
                <a:gdLst/>
                <a:ahLst/>
                <a:cxnLst/>
                <a:rect l="l" t="t" r="r" b="b"/>
                <a:pathLst>
                  <a:path w="11728" h="5064" extrusionOk="0">
                    <a:moveTo>
                      <a:pt x="900" y="0"/>
                    </a:moveTo>
                    <a:cubicBezTo>
                      <a:pt x="344" y="0"/>
                      <a:pt x="1" y="1374"/>
                      <a:pt x="1287" y="1835"/>
                    </a:cubicBezTo>
                    <a:cubicBezTo>
                      <a:pt x="3421" y="2569"/>
                      <a:pt x="4289" y="2703"/>
                      <a:pt x="6123" y="3336"/>
                    </a:cubicBezTo>
                    <a:cubicBezTo>
                      <a:pt x="7691" y="3870"/>
                      <a:pt x="9459" y="4571"/>
                      <a:pt x="10693" y="5038"/>
                    </a:cubicBezTo>
                    <a:cubicBezTo>
                      <a:pt x="10746" y="5055"/>
                      <a:pt x="10800" y="5063"/>
                      <a:pt x="10852" y="5063"/>
                    </a:cubicBezTo>
                    <a:cubicBezTo>
                      <a:pt x="11101" y="5063"/>
                      <a:pt x="11333" y="4879"/>
                      <a:pt x="11360" y="4604"/>
                    </a:cubicBezTo>
                    <a:lnTo>
                      <a:pt x="11694" y="1602"/>
                    </a:lnTo>
                    <a:cubicBezTo>
                      <a:pt x="11727" y="1468"/>
                      <a:pt x="11627" y="1335"/>
                      <a:pt x="11494" y="1268"/>
                    </a:cubicBezTo>
                    <a:lnTo>
                      <a:pt x="8058" y="101"/>
                    </a:lnTo>
                    <a:cubicBezTo>
                      <a:pt x="7911" y="46"/>
                      <a:pt x="7754" y="21"/>
                      <a:pt x="7593" y="21"/>
                    </a:cubicBezTo>
                    <a:cubicBezTo>
                      <a:pt x="7461" y="21"/>
                      <a:pt x="7326" y="37"/>
                      <a:pt x="7191" y="67"/>
                    </a:cubicBezTo>
                    <a:cubicBezTo>
                      <a:pt x="6280" y="280"/>
                      <a:pt x="5566" y="355"/>
                      <a:pt x="4904" y="355"/>
                    </a:cubicBezTo>
                    <a:cubicBezTo>
                      <a:pt x="3698" y="355"/>
                      <a:pt x="2663" y="108"/>
                      <a:pt x="920" y="1"/>
                    </a:cubicBezTo>
                    <a:cubicBezTo>
                      <a:pt x="913" y="0"/>
                      <a:pt x="906" y="0"/>
                      <a:pt x="900"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 name="Google Shape;1169;p41"/>
              <p:cNvSpPr/>
              <p:nvPr/>
            </p:nvSpPr>
            <p:spPr>
              <a:xfrm>
                <a:off x="11373725" y="2050513"/>
                <a:ext cx="718050" cy="418200"/>
              </a:xfrm>
              <a:custGeom>
                <a:avLst/>
                <a:gdLst/>
                <a:ahLst/>
                <a:cxnLst/>
                <a:rect l="l" t="t" r="r" b="b"/>
                <a:pathLst>
                  <a:path w="28722" h="16728" extrusionOk="0">
                    <a:moveTo>
                      <a:pt x="24485" y="1"/>
                    </a:moveTo>
                    <a:cubicBezTo>
                      <a:pt x="23651" y="868"/>
                      <a:pt x="22717" y="1769"/>
                      <a:pt x="21816" y="2636"/>
                    </a:cubicBezTo>
                    <a:cubicBezTo>
                      <a:pt x="20882" y="3537"/>
                      <a:pt x="19982" y="4371"/>
                      <a:pt x="19048" y="5238"/>
                    </a:cubicBezTo>
                    <a:cubicBezTo>
                      <a:pt x="18114" y="6072"/>
                      <a:pt x="17180" y="6906"/>
                      <a:pt x="16212" y="7673"/>
                    </a:cubicBezTo>
                    <a:cubicBezTo>
                      <a:pt x="15245" y="8474"/>
                      <a:pt x="14278" y="9207"/>
                      <a:pt x="13310" y="9875"/>
                    </a:cubicBezTo>
                    <a:cubicBezTo>
                      <a:pt x="12843" y="10208"/>
                      <a:pt x="12343" y="10508"/>
                      <a:pt x="11876" y="10775"/>
                    </a:cubicBezTo>
                    <a:cubicBezTo>
                      <a:pt x="11642" y="10909"/>
                      <a:pt x="11409" y="11042"/>
                      <a:pt x="11175" y="11142"/>
                    </a:cubicBezTo>
                    <a:lnTo>
                      <a:pt x="10842" y="11309"/>
                    </a:lnTo>
                    <a:lnTo>
                      <a:pt x="10542" y="11442"/>
                    </a:lnTo>
                    <a:cubicBezTo>
                      <a:pt x="9975" y="11655"/>
                      <a:pt x="9391" y="11767"/>
                      <a:pt x="8791" y="11767"/>
                    </a:cubicBezTo>
                    <a:cubicBezTo>
                      <a:pt x="8543" y="11767"/>
                      <a:pt x="8293" y="11748"/>
                      <a:pt x="8040" y="11709"/>
                    </a:cubicBezTo>
                    <a:cubicBezTo>
                      <a:pt x="7006" y="11542"/>
                      <a:pt x="6038" y="11209"/>
                      <a:pt x="5138" y="10675"/>
                    </a:cubicBezTo>
                    <a:cubicBezTo>
                      <a:pt x="4637" y="10408"/>
                      <a:pt x="4137" y="10108"/>
                      <a:pt x="3670" y="9775"/>
                    </a:cubicBezTo>
                    <a:cubicBezTo>
                      <a:pt x="3437" y="9608"/>
                      <a:pt x="3203" y="9408"/>
                      <a:pt x="2970" y="9241"/>
                    </a:cubicBezTo>
                    <a:lnTo>
                      <a:pt x="2302" y="8707"/>
                    </a:lnTo>
                    <a:lnTo>
                      <a:pt x="1" y="10475"/>
                    </a:lnTo>
                    <a:cubicBezTo>
                      <a:pt x="234" y="10842"/>
                      <a:pt x="401" y="11109"/>
                      <a:pt x="601" y="11409"/>
                    </a:cubicBezTo>
                    <a:cubicBezTo>
                      <a:pt x="835" y="11709"/>
                      <a:pt x="1035" y="12009"/>
                      <a:pt x="1268" y="12276"/>
                    </a:cubicBezTo>
                    <a:cubicBezTo>
                      <a:pt x="1735" y="12843"/>
                      <a:pt x="2269" y="13377"/>
                      <a:pt x="2803" y="13877"/>
                    </a:cubicBezTo>
                    <a:cubicBezTo>
                      <a:pt x="3970" y="14945"/>
                      <a:pt x="5371" y="15745"/>
                      <a:pt x="6872" y="16246"/>
                    </a:cubicBezTo>
                    <a:cubicBezTo>
                      <a:pt x="7817" y="16567"/>
                      <a:pt x="8805" y="16728"/>
                      <a:pt x="9800" y="16728"/>
                    </a:cubicBezTo>
                    <a:cubicBezTo>
                      <a:pt x="10560" y="16728"/>
                      <a:pt x="11324" y="16634"/>
                      <a:pt x="12076" y="16446"/>
                    </a:cubicBezTo>
                    <a:cubicBezTo>
                      <a:pt x="12276" y="16379"/>
                      <a:pt x="12510" y="16313"/>
                      <a:pt x="12710" y="16246"/>
                    </a:cubicBezTo>
                    <a:lnTo>
                      <a:pt x="13277" y="16046"/>
                    </a:lnTo>
                    <a:cubicBezTo>
                      <a:pt x="13644" y="15879"/>
                      <a:pt x="14011" y="15745"/>
                      <a:pt x="14344" y="15579"/>
                    </a:cubicBezTo>
                    <a:cubicBezTo>
                      <a:pt x="14978" y="15245"/>
                      <a:pt x="15645" y="14912"/>
                      <a:pt x="16279" y="14511"/>
                    </a:cubicBezTo>
                    <a:cubicBezTo>
                      <a:pt x="18614" y="13077"/>
                      <a:pt x="20816" y="11442"/>
                      <a:pt x="22884" y="9608"/>
                    </a:cubicBezTo>
                    <a:cubicBezTo>
                      <a:pt x="23918" y="8740"/>
                      <a:pt x="24885" y="7840"/>
                      <a:pt x="25886" y="6906"/>
                    </a:cubicBezTo>
                    <a:cubicBezTo>
                      <a:pt x="26853" y="5972"/>
                      <a:pt x="27787" y="5038"/>
                      <a:pt x="28721" y="4037"/>
                    </a:cubicBezTo>
                    <a:lnTo>
                      <a:pt x="24485" y="1"/>
                    </a:ln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 name="Google Shape;1170;p41"/>
              <p:cNvSpPr/>
              <p:nvPr/>
            </p:nvSpPr>
            <p:spPr>
              <a:xfrm>
                <a:off x="11615575" y="4380513"/>
                <a:ext cx="100925" cy="125125"/>
              </a:xfrm>
              <a:custGeom>
                <a:avLst/>
                <a:gdLst/>
                <a:ahLst/>
                <a:cxnLst/>
                <a:rect l="l" t="t" r="r" b="b"/>
                <a:pathLst>
                  <a:path w="4037" h="5005" extrusionOk="0">
                    <a:moveTo>
                      <a:pt x="868" y="1"/>
                    </a:moveTo>
                    <a:lnTo>
                      <a:pt x="0" y="3904"/>
                    </a:lnTo>
                    <a:lnTo>
                      <a:pt x="3169" y="5004"/>
                    </a:lnTo>
                    <a:lnTo>
                      <a:pt x="4037" y="1068"/>
                    </a:lnTo>
                    <a:lnTo>
                      <a:pt x="868" y="1"/>
                    </a:ln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 name="Google Shape;1171;p41"/>
              <p:cNvSpPr/>
              <p:nvPr/>
            </p:nvSpPr>
            <p:spPr>
              <a:xfrm>
                <a:off x="12226850" y="4462238"/>
                <a:ext cx="94250" cy="100100"/>
              </a:xfrm>
              <a:custGeom>
                <a:avLst/>
                <a:gdLst/>
                <a:ahLst/>
                <a:cxnLst/>
                <a:rect l="l" t="t" r="r" b="b"/>
                <a:pathLst>
                  <a:path w="3770" h="4004" extrusionOk="0">
                    <a:moveTo>
                      <a:pt x="0" y="1"/>
                    </a:moveTo>
                    <a:lnTo>
                      <a:pt x="434" y="4004"/>
                    </a:lnTo>
                    <a:lnTo>
                      <a:pt x="3769" y="4004"/>
                    </a:lnTo>
                    <a:lnTo>
                      <a:pt x="3336" y="1"/>
                    </a:ln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 name="Google Shape;1172;p41"/>
              <p:cNvSpPr/>
              <p:nvPr/>
            </p:nvSpPr>
            <p:spPr>
              <a:xfrm>
                <a:off x="11851575" y="2009663"/>
                <a:ext cx="599625" cy="798100"/>
              </a:xfrm>
              <a:custGeom>
                <a:avLst/>
                <a:gdLst/>
                <a:ahLst/>
                <a:cxnLst/>
                <a:rect l="l" t="t" r="r" b="b"/>
                <a:pathLst>
                  <a:path w="23985" h="31924" extrusionOk="0">
                    <a:moveTo>
                      <a:pt x="10108" y="0"/>
                    </a:moveTo>
                    <a:cubicBezTo>
                      <a:pt x="9541" y="0"/>
                      <a:pt x="9007" y="0"/>
                      <a:pt x="8540" y="34"/>
                    </a:cubicBezTo>
                    <a:lnTo>
                      <a:pt x="8473" y="34"/>
                    </a:lnTo>
                    <a:cubicBezTo>
                      <a:pt x="6772" y="134"/>
                      <a:pt x="5304" y="1201"/>
                      <a:pt x="4704" y="2802"/>
                    </a:cubicBezTo>
                    <a:cubicBezTo>
                      <a:pt x="3236" y="6805"/>
                      <a:pt x="0" y="15812"/>
                      <a:pt x="834" y="29221"/>
                    </a:cubicBezTo>
                    <a:cubicBezTo>
                      <a:pt x="6205" y="29922"/>
                      <a:pt x="17346" y="31556"/>
                      <a:pt x="19948" y="31923"/>
                    </a:cubicBezTo>
                    <a:cubicBezTo>
                      <a:pt x="20415" y="29421"/>
                      <a:pt x="20048" y="17113"/>
                      <a:pt x="23450" y="5538"/>
                    </a:cubicBezTo>
                    <a:cubicBezTo>
                      <a:pt x="23984" y="3836"/>
                      <a:pt x="22983" y="2068"/>
                      <a:pt x="21282" y="1635"/>
                    </a:cubicBezTo>
                    <a:lnTo>
                      <a:pt x="21249" y="1635"/>
                    </a:lnTo>
                    <a:cubicBezTo>
                      <a:pt x="20815" y="1535"/>
                      <a:pt x="20448" y="1435"/>
                      <a:pt x="19981" y="1335"/>
                    </a:cubicBezTo>
                    <a:cubicBezTo>
                      <a:pt x="19514" y="1201"/>
                      <a:pt x="19047" y="1101"/>
                      <a:pt x="18580" y="1034"/>
                    </a:cubicBezTo>
                    <a:cubicBezTo>
                      <a:pt x="16079" y="534"/>
                      <a:pt x="13577" y="200"/>
                      <a:pt x="11042"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 name="Google Shape;1173;p41"/>
              <p:cNvSpPr/>
              <p:nvPr/>
            </p:nvSpPr>
            <p:spPr>
              <a:xfrm>
                <a:off x="12210150" y="2243163"/>
                <a:ext cx="101775" cy="31700"/>
              </a:xfrm>
              <a:custGeom>
                <a:avLst/>
                <a:gdLst/>
                <a:ahLst/>
                <a:cxnLst/>
                <a:rect l="l" t="t" r="r" b="b"/>
                <a:pathLst>
                  <a:path w="4071" h="1268" extrusionOk="0">
                    <a:moveTo>
                      <a:pt x="34" y="0"/>
                    </a:moveTo>
                    <a:lnTo>
                      <a:pt x="1" y="601"/>
                    </a:lnTo>
                    <a:lnTo>
                      <a:pt x="3937" y="1268"/>
                    </a:lnTo>
                    <a:lnTo>
                      <a:pt x="4071" y="768"/>
                    </a:lnTo>
                    <a:lnTo>
                      <a:pt x="34"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 name="Google Shape;1174;p41"/>
              <p:cNvSpPr/>
              <p:nvPr/>
            </p:nvSpPr>
            <p:spPr>
              <a:xfrm>
                <a:off x="12078400" y="2010488"/>
                <a:ext cx="237700" cy="311075"/>
              </a:xfrm>
              <a:custGeom>
                <a:avLst/>
                <a:gdLst/>
                <a:ahLst/>
                <a:cxnLst/>
                <a:rect l="l" t="t" r="r" b="b"/>
                <a:pathLst>
                  <a:path w="9508" h="12443" extrusionOk="0">
                    <a:moveTo>
                      <a:pt x="1969" y="1"/>
                    </a:moveTo>
                    <a:cubicBezTo>
                      <a:pt x="1068" y="935"/>
                      <a:pt x="1" y="8807"/>
                      <a:pt x="1301" y="12443"/>
                    </a:cubicBezTo>
                    <a:cubicBezTo>
                      <a:pt x="3536" y="8774"/>
                      <a:pt x="7973" y="2136"/>
                      <a:pt x="9507" y="1001"/>
                    </a:cubicBezTo>
                    <a:cubicBezTo>
                      <a:pt x="7006" y="534"/>
                      <a:pt x="4470" y="201"/>
                      <a:pt x="1969"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 name="Google Shape;1175;p41"/>
              <p:cNvSpPr/>
              <p:nvPr/>
            </p:nvSpPr>
            <p:spPr>
              <a:xfrm>
                <a:off x="12125925" y="1821188"/>
                <a:ext cx="200175" cy="234650"/>
              </a:xfrm>
              <a:custGeom>
                <a:avLst/>
                <a:gdLst/>
                <a:ahLst/>
                <a:cxnLst/>
                <a:rect l="l" t="t" r="r" b="b"/>
                <a:pathLst>
                  <a:path w="8007" h="9386" extrusionOk="0">
                    <a:moveTo>
                      <a:pt x="8007" y="1"/>
                    </a:moveTo>
                    <a:lnTo>
                      <a:pt x="2836" y="3336"/>
                    </a:lnTo>
                    <a:cubicBezTo>
                      <a:pt x="3070" y="5271"/>
                      <a:pt x="2870" y="7272"/>
                      <a:pt x="68" y="7573"/>
                    </a:cubicBezTo>
                    <a:cubicBezTo>
                      <a:pt x="1" y="8240"/>
                      <a:pt x="835" y="9007"/>
                      <a:pt x="2603" y="9274"/>
                    </a:cubicBezTo>
                    <a:cubicBezTo>
                      <a:pt x="3098" y="9351"/>
                      <a:pt x="3602" y="9386"/>
                      <a:pt x="4091" y="9386"/>
                    </a:cubicBezTo>
                    <a:cubicBezTo>
                      <a:pt x="5712" y="9386"/>
                      <a:pt x="7171" y="9009"/>
                      <a:pt x="7606" y="8573"/>
                    </a:cubicBezTo>
                    <a:cubicBezTo>
                      <a:pt x="6105" y="6739"/>
                      <a:pt x="7206" y="2369"/>
                      <a:pt x="8007" y="1"/>
                    </a:cubicBezTo>
                    <a:close/>
                  </a:path>
                </a:pathLst>
              </a:custGeom>
              <a:solidFill>
                <a:srgbClr val="B55B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 name="Google Shape;1176;p41"/>
              <p:cNvSpPr/>
              <p:nvPr/>
            </p:nvSpPr>
            <p:spPr>
              <a:xfrm>
                <a:off x="12196825" y="1854538"/>
                <a:ext cx="76750" cy="83425"/>
              </a:xfrm>
              <a:custGeom>
                <a:avLst/>
                <a:gdLst/>
                <a:ahLst/>
                <a:cxnLst/>
                <a:rect l="l" t="t" r="r" b="b"/>
                <a:pathLst>
                  <a:path w="3070" h="3337" extrusionOk="0">
                    <a:moveTo>
                      <a:pt x="3036" y="1"/>
                    </a:moveTo>
                    <a:lnTo>
                      <a:pt x="0" y="1969"/>
                    </a:lnTo>
                    <a:cubicBezTo>
                      <a:pt x="67" y="2436"/>
                      <a:pt x="67" y="2870"/>
                      <a:pt x="67" y="3337"/>
                    </a:cubicBezTo>
                    <a:cubicBezTo>
                      <a:pt x="1101" y="3337"/>
                      <a:pt x="2669" y="2403"/>
                      <a:pt x="2936" y="1335"/>
                    </a:cubicBezTo>
                    <a:cubicBezTo>
                      <a:pt x="3036" y="902"/>
                      <a:pt x="3069" y="435"/>
                      <a:pt x="3036" y="1"/>
                    </a:cubicBez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 name="Google Shape;1177;p41"/>
              <p:cNvSpPr/>
              <p:nvPr/>
            </p:nvSpPr>
            <p:spPr>
              <a:xfrm>
                <a:off x="12128425" y="1597163"/>
                <a:ext cx="175150" cy="182350"/>
              </a:xfrm>
              <a:custGeom>
                <a:avLst/>
                <a:gdLst/>
                <a:ahLst/>
                <a:cxnLst/>
                <a:rect l="l" t="t" r="r" b="b"/>
                <a:pathLst>
                  <a:path w="7006" h="7294" extrusionOk="0">
                    <a:moveTo>
                      <a:pt x="3018" y="1"/>
                    </a:moveTo>
                    <a:cubicBezTo>
                      <a:pt x="2091" y="1"/>
                      <a:pt x="1260" y="331"/>
                      <a:pt x="868" y="1490"/>
                    </a:cubicBezTo>
                    <a:cubicBezTo>
                      <a:pt x="1" y="4158"/>
                      <a:pt x="168" y="6226"/>
                      <a:pt x="635" y="7294"/>
                    </a:cubicBezTo>
                    <a:cubicBezTo>
                      <a:pt x="635" y="7294"/>
                      <a:pt x="4071" y="6126"/>
                      <a:pt x="5271" y="4458"/>
                    </a:cubicBezTo>
                    <a:cubicBezTo>
                      <a:pt x="6439" y="2924"/>
                      <a:pt x="7006" y="789"/>
                      <a:pt x="5438" y="422"/>
                    </a:cubicBezTo>
                    <a:cubicBezTo>
                      <a:pt x="4708" y="251"/>
                      <a:pt x="3827" y="1"/>
                      <a:pt x="3018"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 name="Google Shape;1178;p41"/>
              <p:cNvSpPr/>
              <p:nvPr/>
            </p:nvSpPr>
            <p:spPr>
              <a:xfrm>
                <a:off x="12120925" y="1590363"/>
                <a:ext cx="274175" cy="323025"/>
              </a:xfrm>
              <a:custGeom>
                <a:avLst/>
                <a:gdLst/>
                <a:ahLst/>
                <a:cxnLst/>
                <a:rect l="l" t="t" r="r" b="b"/>
                <a:pathLst>
                  <a:path w="10967" h="12921" extrusionOk="0">
                    <a:moveTo>
                      <a:pt x="5741" y="1"/>
                    </a:moveTo>
                    <a:cubicBezTo>
                      <a:pt x="5500" y="1"/>
                      <a:pt x="5254" y="20"/>
                      <a:pt x="5004" y="60"/>
                    </a:cubicBezTo>
                    <a:cubicBezTo>
                      <a:pt x="1535" y="594"/>
                      <a:pt x="1" y="5297"/>
                      <a:pt x="1" y="8333"/>
                    </a:cubicBezTo>
                    <a:cubicBezTo>
                      <a:pt x="1" y="10903"/>
                      <a:pt x="2075" y="12921"/>
                      <a:pt x="4398" y="12921"/>
                    </a:cubicBezTo>
                    <a:cubicBezTo>
                      <a:pt x="5151" y="12921"/>
                      <a:pt x="5929" y="12709"/>
                      <a:pt x="6672" y="12236"/>
                    </a:cubicBezTo>
                    <a:cubicBezTo>
                      <a:pt x="8674" y="10968"/>
                      <a:pt x="9074" y="9067"/>
                      <a:pt x="10041" y="5898"/>
                    </a:cubicBezTo>
                    <a:cubicBezTo>
                      <a:pt x="10966" y="2907"/>
                      <a:pt x="8698" y="1"/>
                      <a:pt x="5741" y="1"/>
                    </a:cubicBezTo>
                    <a:close/>
                  </a:path>
                </a:pathLst>
              </a:custGeom>
              <a:solidFill>
                <a:srgbClr val="B55B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 name="Google Shape;1179;p41"/>
              <p:cNvSpPr/>
              <p:nvPr/>
            </p:nvSpPr>
            <p:spPr>
              <a:xfrm>
                <a:off x="12298550" y="1636188"/>
                <a:ext cx="167650" cy="184200"/>
              </a:xfrm>
              <a:custGeom>
                <a:avLst/>
                <a:gdLst/>
                <a:ahLst/>
                <a:cxnLst/>
                <a:rect l="l" t="t" r="r" b="b"/>
                <a:pathLst>
                  <a:path w="6706" h="7368" extrusionOk="0">
                    <a:moveTo>
                      <a:pt x="3308" y="0"/>
                    </a:moveTo>
                    <a:cubicBezTo>
                      <a:pt x="2071" y="0"/>
                      <a:pt x="804" y="519"/>
                      <a:pt x="535" y="1596"/>
                    </a:cubicBezTo>
                    <a:cubicBezTo>
                      <a:pt x="1" y="3698"/>
                      <a:pt x="234" y="6367"/>
                      <a:pt x="768" y="7367"/>
                    </a:cubicBezTo>
                    <a:cubicBezTo>
                      <a:pt x="768" y="7367"/>
                      <a:pt x="3703" y="5900"/>
                      <a:pt x="5071" y="4398"/>
                    </a:cubicBezTo>
                    <a:cubicBezTo>
                      <a:pt x="6372" y="2964"/>
                      <a:pt x="6706" y="1263"/>
                      <a:pt x="4971" y="362"/>
                    </a:cubicBezTo>
                    <a:cubicBezTo>
                      <a:pt x="4502" y="122"/>
                      <a:pt x="3909" y="0"/>
                      <a:pt x="3308"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 name="Google Shape;1180;p41"/>
              <p:cNvSpPr/>
              <p:nvPr/>
            </p:nvSpPr>
            <p:spPr>
              <a:xfrm>
                <a:off x="12085900" y="1509038"/>
                <a:ext cx="381975" cy="169925"/>
              </a:xfrm>
              <a:custGeom>
                <a:avLst/>
                <a:gdLst/>
                <a:ahLst/>
                <a:cxnLst/>
                <a:rect l="l" t="t" r="r" b="b"/>
                <a:pathLst>
                  <a:path w="15279" h="6797" extrusionOk="0">
                    <a:moveTo>
                      <a:pt x="6129" y="1"/>
                    </a:moveTo>
                    <a:cubicBezTo>
                      <a:pt x="5032" y="1"/>
                      <a:pt x="3995" y="380"/>
                      <a:pt x="3403" y="1179"/>
                    </a:cubicBezTo>
                    <a:cubicBezTo>
                      <a:pt x="2603" y="2179"/>
                      <a:pt x="3303" y="2613"/>
                      <a:pt x="1235" y="3847"/>
                    </a:cubicBezTo>
                    <a:cubicBezTo>
                      <a:pt x="1" y="4581"/>
                      <a:pt x="401" y="5815"/>
                      <a:pt x="701" y="6449"/>
                    </a:cubicBezTo>
                    <a:cubicBezTo>
                      <a:pt x="668" y="5982"/>
                      <a:pt x="868" y="4781"/>
                      <a:pt x="2002" y="4548"/>
                    </a:cubicBezTo>
                    <a:cubicBezTo>
                      <a:pt x="2124" y="4517"/>
                      <a:pt x="2239" y="4505"/>
                      <a:pt x="2350" y="4505"/>
                    </a:cubicBezTo>
                    <a:cubicBezTo>
                      <a:pt x="2814" y="4505"/>
                      <a:pt x="3185" y="4723"/>
                      <a:pt x="3534" y="4723"/>
                    </a:cubicBezTo>
                    <a:cubicBezTo>
                      <a:pt x="3738" y="4723"/>
                      <a:pt x="3934" y="4649"/>
                      <a:pt x="4137" y="4414"/>
                    </a:cubicBezTo>
                    <a:cubicBezTo>
                      <a:pt x="4137" y="4414"/>
                      <a:pt x="6339" y="6416"/>
                      <a:pt x="10508" y="6749"/>
                    </a:cubicBezTo>
                    <a:cubicBezTo>
                      <a:pt x="10897" y="6783"/>
                      <a:pt x="11230" y="6796"/>
                      <a:pt x="11514" y="6796"/>
                    </a:cubicBezTo>
                    <a:cubicBezTo>
                      <a:pt x="12935" y="6796"/>
                      <a:pt x="13143" y="6449"/>
                      <a:pt x="13143" y="6449"/>
                    </a:cubicBezTo>
                    <a:cubicBezTo>
                      <a:pt x="14444" y="6349"/>
                      <a:pt x="15278" y="4648"/>
                      <a:pt x="14244" y="3847"/>
                    </a:cubicBezTo>
                    <a:cubicBezTo>
                      <a:pt x="13010" y="2880"/>
                      <a:pt x="11309" y="3847"/>
                      <a:pt x="9774" y="1712"/>
                    </a:cubicBezTo>
                    <a:cubicBezTo>
                      <a:pt x="8976" y="598"/>
                      <a:pt x="7506" y="1"/>
                      <a:pt x="6129"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 name="Google Shape;1181;p41"/>
              <p:cNvSpPr/>
              <p:nvPr/>
            </p:nvSpPr>
            <p:spPr>
              <a:xfrm>
                <a:off x="12297725" y="1773413"/>
                <a:ext cx="107600" cy="84500"/>
              </a:xfrm>
              <a:custGeom>
                <a:avLst/>
                <a:gdLst/>
                <a:ahLst/>
                <a:cxnLst/>
                <a:rect l="l" t="t" r="r" b="b"/>
                <a:pathLst>
                  <a:path w="4304" h="3380" extrusionOk="0">
                    <a:moveTo>
                      <a:pt x="2732" y="0"/>
                    </a:moveTo>
                    <a:cubicBezTo>
                      <a:pt x="1879" y="0"/>
                      <a:pt x="1008" y="751"/>
                      <a:pt x="568" y="1411"/>
                    </a:cubicBezTo>
                    <a:cubicBezTo>
                      <a:pt x="0" y="2279"/>
                      <a:pt x="234" y="3379"/>
                      <a:pt x="1368" y="3379"/>
                    </a:cubicBezTo>
                    <a:cubicBezTo>
                      <a:pt x="2202" y="3379"/>
                      <a:pt x="3003" y="3046"/>
                      <a:pt x="3603" y="2479"/>
                    </a:cubicBezTo>
                    <a:cubicBezTo>
                      <a:pt x="4304" y="1745"/>
                      <a:pt x="4270" y="544"/>
                      <a:pt x="3269" y="110"/>
                    </a:cubicBezTo>
                    <a:cubicBezTo>
                      <a:pt x="3094" y="34"/>
                      <a:pt x="2913" y="0"/>
                      <a:pt x="2732" y="0"/>
                    </a:cubicBezTo>
                    <a:close/>
                  </a:path>
                </a:pathLst>
              </a:custGeom>
              <a:solidFill>
                <a:srgbClr val="B55B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 name="Google Shape;1182;p41"/>
              <p:cNvSpPr/>
              <p:nvPr/>
            </p:nvSpPr>
            <p:spPr>
              <a:xfrm>
                <a:off x="11592225" y="2732688"/>
                <a:ext cx="594600" cy="1762950"/>
              </a:xfrm>
              <a:custGeom>
                <a:avLst/>
                <a:gdLst/>
                <a:ahLst/>
                <a:cxnLst/>
                <a:rect l="l" t="t" r="r" b="b"/>
                <a:pathLst>
                  <a:path w="23784" h="70518" extrusionOk="0">
                    <a:moveTo>
                      <a:pt x="12109" y="0"/>
                    </a:moveTo>
                    <a:cubicBezTo>
                      <a:pt x="12109" y="0"/>
                      <a:pt x="4303" y="26519"/>
                      <a:pt x="2936" y="36626"/>
                    </a:cubicBezTo>
                    <a:cubicBezTo>
                      <a:pt x="1535" y="47134"/>
                      <a:pt x="0" y="68683"/>
                      <a:pt x="0" y="68683"/>
                    </a:cubicBezTo>
                    <a:lnTo>
                      <a:pt x="5371" y="70517"/>
                    </a:lnTo>
                    <a:cubicBezTo>
                      <a:pt x="5371" y="70517"/>
                      <a:pt x="10608" y="49869"/>
                      <a:pt x="12242" y="39562"/>
                    </a:cubicBezTo>
                    <a:cubicBezTo>
                      <a:pt x="12743" y="36426"/>
                      <a:pt x="13877" y="32090"/>
                      <a:pt x="15211" y="27453"/>
                    </a:cubicBezTo>
                    <a:cubicBezTo>
                      <a:pt x="16912" y="21616"/>
                      <a:pt x="18981" y="15344"/>
                      <a:pt x="20682" y="10408"/>
                    </a:cubicBezTo>
                    <a:cubicBezTo>
                      <a:pt x="22450" y="5237"/>
                      <a:pt x="23784" y="1568"/>
                      <a:pt x="23784" y="1568"/>
                    </a:cubicBezTo>
                    <a:lnTo>
                      <a:pt x="12109" y="0"/>
                    </a:ln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 name="Google Shape;1183;p41"/>
              <p:cNvSpPr/>
              <p:nvPr/>
            </p:nvSpPr>
            <p:spPr>
              <a:xfrm>
                <a:off x="11968325" y="2925313"/>
                <a:ext cx="140950" cy="493725"/>
              </a:xfrm>
              <a:custGeom>
                <a:avLst/>
                <a:gdLst/>
                <a:ahLst/>
                <a:cxnLst/>
                <a:rect l="l" t="t" r="r" b="b"/>
                <a:pathLst>
                  <a:path w="5638" h="19749" extrusionOk="0">
                    <a:moveTo>
                      <a:pt x="4604" y="1"/>
                    </a:moveTo>
                    <a:cubicBezTo>
                      <a:pt x="1468" y="3270"/>
                      <a:pt x="0" y="13911"/>
                      <a:pt x="167" y="19748"/>
                    </a:cubicBezTo>
                    <a:cubicBezTo>
                      <a:pt x="1868" y="13911"/>
                      <a:pt x="3937" y="7639"/>
                      <a:pt x="5638" y="2703"/>
                    </a:cubicBezTo>
                    <a:lnTo>
                      <a:pt x="4604" y="1"/>
                    </a:ln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 name="Google Shape;1184;p41"/>
              <p:cNvSpPr/>
              <p:nvPr/>
            </p:nvSpPr>
            <p:spPr>
              <a:xfrm>
                <a:off x="12038375" y="2753513"/>
                <a:ext cx="313575" cy="1789650"/>
              </a:xfrm>
              <a:custGeom>
                <a:avLst/>
                <a:gdLst/>
                <a:ahLst/>
                <a:cxnLst/>
                <a:rect l="l" t="t" r="r" b="b"/>
                <a:pathLst>
                  <a:path w="12543" h="71586" extrusionOk="0">
                    <a:moveTo>
                      <a:pt x="567" y="1"/>
                    </a:moveTo>
                    <a:cubicBezTo>
                      <a:pt x="567" y="1"/>
                      <a:pt x="0" y="28688"/>
                      <a:pt x="768" y="38462"/>
                    </a:cubicBezTo>
                    <a:cubicBezTo>
                      <a:pt x="1635" y="49170"/>
                      <a:pt x="6438" y="71586"/>
                      <a:pt x="6438" y="71586"/>
                    </a:cubicBezTo>
                    <a:lnTo>
                      <a:pt x="12543" y="71586"/>
                    </a:lnTo>
                    <a:cubicBezTo>
                      <a:pt x="12543" y="71586"/>
                      <a:pt x="11709" y="51004"/>
                      <a:pt x="10441" y="40630"/>
                    </a:cubicBezTo>
                    <a:cubicBezTo>
                      <a:pt x="9007" y="28788"/>
                      <a:pt x="12009" y="1535"/>
                      <a:pt x="12009" y="1535"/>
                    </a:cubicBezTo>
                    <a:lnTo>
                      <a:pt x="567" y="1"/>
                    </a:ln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 name="Google Shape;1185;p41"/>
              <p:cNvSpPr/>
              <p:nvPr/>
            </p:nvSpPr>
            <p:spPr>
              <a:xfrm>
                <a:off x="12168475" y="4488938"/>
                <a:ext cx="192650" cy="57550"/>
              </a:xfrm>
              <a:custGeom>
                <a:avLst/>
                <a:gdLst/>
                <a:ahLst/>
                <a:cxnLst/>
                <a:rect l="l" t="t" r="r" b="b"/>
                <a:pathLst>
                  <a:path w="7706" h="2302" extrusionOk="0">
                    <a:moveTo>
                      <a:pt x="0" y="0"/>
                    </a:moveTo>
                    <a:lnTo>
                      <a:pt x="500" y="2302"/>
                    </a:lnTo>
                    <a:lnTo>
                      <a:pt x="7706" y="2302"/>
                    </a:lnTo>
                    <a:lnTo>
                      <a:pt x="7706" y="134"/>
                    </a:lnTo>
                    <a:lnTo>
                      <a:pt x="0" y="0"/>
                    </a:ln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 name="Google Shape;1186;p41"/>
              <p:cNvSpPr/>
              <p:nvPr/>
            </p:nvSpPr>
            <p:spPr>
              <a:xfrm>
                <a:off x="11574700" y="4380513"/>
                <a:ext cx="176825" cy="121800"/>
              </a:xfrm>
              <a:custGeom>
                <a:avLst/>
                <a:gdLst/>
                <a:ahLst/>
                <a:cxnLst/>
                <a:rect l="l" t="t" r="r" b="b"/>
                <a:pathLst>
                  <a:path w="7073" h="4872" extrusionOk="0">
                    <a:moveTo>
                      <a:pt x="268" y="1"/>
                    </a:moveTo>
                    <a:lnTo>
                      <a:pt x="1" y="2669"/>
                    </a:lnTo>
                    <a:lnTo>
                      <a:pt x="6372" y="4871"/>
                    </a:lnTo>
                    <a:lnTo>
                      <a:pt x="7073" y="2803"/>
                    </a:lnTo>
                    <a:lnTo>
                      <a:pt x="268" y="1"/>
                    </a:ln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 name="Google Shape;1187;p41"/>
              <p:cNvSpPr/>
              <p:nvPr/>
            </p:nvSpPr>
            <p:spPr>
              <a:xfrm>
                <a:off x="12227675" y="1717688"/>
                <a:ext cx="18375" cy="24300"/>
              </a:xfrm>
              <a:custGeom>
                <a:avLst/>
                <a:gdLst/>
                <a:ahLst/>
                <a:cxnLst/>
                <a:rect l="l" t="t" r="r" b="b"/>
                <a:pathLst>
                  <a:path w="735" h="972" extrusionOk="0">
                    <a:moveTo>
                      <a:pt x="424" y="0"/>
                    </a:moveTo>
                    <a:cubicBezTo>
                      <a:pt x="268" y="0"/>
                      <a:pt x="95" y="160"/>
                      <a:pt x="34" y="405"/>
                    </a:cubicBezTo>
                    <a:cubicBezTo>
                      <a:pt x="0" y="671"/>
                      <a:pt x="67" y="938"/>
                      <a:pt x="234" y="972"/>
                    </a:cubicBezTo>
                    <a:cubicBezTo>
                      <a:pt x="401" y="972"/>
                      <a:pt x="601" y="805"/>
                      <a:pt x="668" y="538"/>
                    </a:cubicBezTo>
                    <a:cubicBezTo>
                      <a:pt x="734" y="271"/>
                      <a:pt x="634" y="4"/>
                      <a:pt x="467" y="4"/>
                    </a:cubicBezTo>
                    <a:cubicBezTo>
                      <a:pt x="453" y="1"/>
                      <a:pt x="439" y="0"/>
                      <a:pt x="424"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 name="Google Shape;1188;p41"/>
              <p:cNvSpPr/>
              <p:nvPr/>
            </p:nvSpPr>
            <p:spPr>
              <a:xfrm>
                <a:off x="12153450" y="1700163"/>
                <a:ext cx="18375" cy="24325"/>
              </a:xfrm>
              <a:custGeom>
                <a:avLst/>
                <a:gdLst/>
                <a:ahLst/>
                <a:cxnLst/>
                <a:rect l="l" t="t" r="r" b="b"/>
                <a:pathLst>
                  <a:path w="735" h="973" extrusionOk="0">
                    <a:moveTo>
                      <a:pt x="424" y="1"/>
                    </a:moveTo>
                    <a:cubicBezTo>
                      <a:pt x="268" y="1"/>
                      <a:pt x="95" y="161"/>
                      <a:pt x="34" y="405"/>
                    </a:cubicBezTo>
                    <a:cubicBezTo>
                      <a:pt x="1" y="672"/>
                      <a:pt x="67" y="939"/>
                      <a:pt x="234" y="972"/>
                    </a:cubicBezTo>
                    <a:cubicBezTo>
                      <a:pt x="401" y="972"/>
                      <a:pt x="601" y="805"/>
                      <a:pt x="668" y="539"/>
                    </a:cubicBezTo>
                    <a:cubicBezTo>
                      <a:pt x="735" y="272"/>
                      <a:pt x="634" y="5"/>
                      <a:pt x="468" y="5"/>
                    </a:cubicBezTo>
                    <a:cubicBezTo>
                      <a:pt x="453" y="2"/>
                      <a:pt x="439" y="1"/>
                      <a:pt x="424"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 name="Google Shape;1189;p41"/>
              <p:cNvSpPr/>
              <p:nvPr/>
            </p:nvSpPr>
            <p:spPr>
              <a:xfrm>
                <a:off x="12148450" y="1722788"/>
                <a:ext cx="44225" cy="61725"/>
              </a:xfrm>
              <a:custGeom>
                <a:avLst/>
                <a:gdLst/>
                <a:ahLst/>
                <a:cxnLst/>
                <a:rect l="l" t="t" r="r" b="b"/>
                <a:pathLst>
                  <a:path w="1769" h="2469" extrusionOk="0">
                    <a:moveTo>
                      <a:pt x="1768" y="0"/>
                    </a:moveTo>
                    <a:cubicBezTo>
                      <a:pt x="1268" y="734"/>
                      <a:pt x="668" y="1368"/>
                      <a:pt x="1" y="1935"/>
                    </a:cubicBezTo>
                    <a:cubicBezTo>
                      <a:pt x="301" y="2302"/>
                      <a:pt x="734" y="2469"/>
                      <a:pt x="1201" y="2469"/>
                    </a:cubicBezTo>
                    <a:lnTo>
                      <a:pt x="1768" y="0"/>
                    </a:lnTo>
                    <a:close/>
                  </a:path>
                </a:pathLst>
              </a:custGeom>
              <a:solidFill>
                <a:srgbClr val="A0272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 name="Google Shape;1190;p41"/>
              <p:cNvSpPr/>
              <p:nvPr/>
            </p:nvSpPr>
            <p:spPr>
              <a:xfrm>
                <a:off x="12190975" y="1792388"/>
                <a:ext cx="53925" cy="16625"/>
              </a:xfrm>
              <a:custGeom>
                <a:avLst/>
                <a:gdLst/>
                <a:ahLst/>
                <a:cxnLst/>
                <a:rect l="l" t="t" r="r" b="b"/>
                <a:pathLst>
                  <a:path w="2157" h="665" extrusionOk="0">
                    <a:moveTo>
                      <a:pt x="2043" y="0"/>
                    </a:moveTo>
                    <a:cubicBezTo>
                      <a:pt x="2029" y="0"/>
                      <a:pt x="2015" y="6"/>
                      <a:pt x="2002" y="18"/>
                    </a:cubicBezTo>
                    <a:cubicBezTo>
                      <a:pt x="1605" y="341"/>
                      <a:pt x="1116" y="516"/>
                      <a:pt x="618" y="516"/>
                    </a:cubicBezTo>
                    <a:cubicBezTo>
                      <a:pt x="445" y="516"/>
                      <a:pt x="272" y="495"/>
                      <a:pt x="101" y="452"/>
                    </a:cubicBezTo>
                    <a:cubicBezTo>
                      <a:pt x="91" y="442"/>
                      <a:pt x="81" y="438"/>
                      <a:pt x="72" y="438"/>
                    </a:cubicBezTo>
                    <a:cubicBezTo>
                      <a:pt x="48" y="438"/>
                      <a:pt x="24" y="462"/>
                      <a:pt x="1" y="485"/>
                    </a:cubicBezTo>
                    <a:cubicBezTo>
                      <a:pt x="1" y="552"/>
                      <a:pt x="34" y="586"/>
                      <a:pt x="67" y="586"/>
                    </a:cubicBezTo>
                    <a:cubicBezTo>
                      <a:pt x="201" y="619"/>
                      <a:pt x="334" y="652"/>
                      <a:pt x="434" y="652"/>
                    </a:cubicBezTo>
                    <a:cubicBezTo>
                      <a:pt x="511" y="661"/>
                      <a:pt x="588" y="665"/>
                      <a:pt x="665" y="665"/>
                    </a:cubicBezTo>
                    <a:cubicBezTo>
                      <a:pt x="1186" y="665"/>
                      <a:pt x="1695" y="472"/>
                      <a:pt x="2102" y="152"/>
                    </a:cubicBezTo>
                    <a:cubicBezTo>
                      <a:pt x="2156" y="98"/>
                      <a:pt x="2101" y="0"/>
                      <a:pt x="2043"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 name="Google Shape;1191;p41"/>
              <p:cNvSpPr/>
              <p:nvPr/>
            </p:nvSpPr>
            <p:spPr>
              <a:xfrm>
                <a:off x="12244350" y="1684213"/>
                <a:ext cx="33375" cy="28600"/>
              </a:xfrm>
              <a:custGeom>
                <a:avLst/>
                <a:gdLst/>
                <a:ahLst/>
                <a:cxnLst/>
                <a:rect l="l" t="t" r="r" b="b"/>
                <a:pathLst>
                  <a:path w="1335" h="1144" extrusionOk="0">
                    <a:moveTo>
                      <a:pt x="151" y="0"/>
                    </a:moveTo>
                    <a:cubicBezTo>
                      <a:pt x="78" y="0"/>
                      <a:pt x="28" y="60"/>
                      <a:pt x="1" y="142"/>
                    </a:cubicBezTo>
                    <a:cubicBezTo>
                      <a:pt x="1" y="209"/>
                      <a:pt x="67" y="309"/>
                      <a:pt x="134" y="309"/>
                    </a:cubicBezTo>
                    <a:cubicBezTo>
                      <a:pt x="534" y="409"/>
                      <a:pt x="868" y="676"/>
                      <a:pt x="1001" y="1043"/>
                    </a:cubicBezTo>
                    <a:cubicBezTo>
                      <a:pt x="1035" y="1110"/>
                      <a:pt x="1068" y="1143"/>
                      <a:pt x="1135" y="1143"/>
                    </a:cubicBezTo>
                    <a:lnTo>
                      <a:pt x="1201" y="1143"/>
                    </a:lnTo>
                    <a:cubicBezTo>
                      <a:pt x="1302" y="1110"/>
                      <a:pt x="1335" y="1010"/>
                      <a:pt x="1302" y="943"/>
                    </a:cubicBezTo>
                    <a:cubicBezTo>
                      <a:pt x="1101" y="443"/>
                      <a:pt x="701" y="109"/>
                      <a:pt x="201" y="9"/>
                    </a:cubicBezTo>
                    <a:cubicBezTo>
                      <a:pt x="183" y="3"/>
                      <a:pt x="166" y="0"/>
                      <a:pt x="151"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 name="Google Shape;1192;p41"/>
              <p:cNvSpPr/>
              <p:nvPr/>
            </p:nvSpPr>
            <p:spPr>
              <a:xfrm>
                <a:off x="12140100" y="1658563"/>
                <a:ext cx="37575" cy="22550"/>
              </a:xfrm>
              <a:custGeom>
                <a:avLst/>
                <a:gdLst/>
                <a:ahLst/>
                <a:cxnLst/>
                <a:rect l="l" t="t" r="r" b="b"/>
                <a:pathLst>
                  <a:path w="1503" h="902" extrusionOk="0">
                    <a:moveTo>
                      <a:pt x="1369" y="1"/>
                    </a:moveTo>
                    <a:cubicBezTo>
                      <a:pt x="868" y="1"/>
                      <a:pt x="368" y="234"/>
                      <a:pt x="68" y="635"/>
                    </a:cubicBezTo>
                    <a:cubicBezTo>
                      <a:pt x="1" y="701"/>
                      <a:pt x="1" y="802"/>
                      <a:pt x="68" y="868"/>
                    </a:cubicBezTo>
                    <a:cubicBezTo>
                      <a:pt x="101" y="868"/>
                      <a:pt x="134" y="868"/>
                      <a:pt x="168" y="902"/>
                    </a:cubicBezTo>
                    <a:cubicBezTo>
                      <a:pt x="201" y="902"/>
                      <a:pt x="268" y="868"/>
                      <a:pt x="301" y="835"/>
                    </a:cubicBezTo>
                    <a:cubicBezTo>
                      <a:pt x="535" y="501"/>
                      <a:pt x="935" y="335"/>
                      <a:pt x="1335" y="335"/>
                    </a:cubicBezTo>
                    <a:cubicBezTo>
                      <a:pt x="1402" y="335"/>
                      <a:pt x="1502" y="268"/>
                      <a:pt x="1502" y="201"/>
                    </a:cubicBezTo>
                    <a:cubicBezTo>
                      <a:pt x="1502" y="101"/>
                      <a:pt x="1435" y="34"/>
                      <a:pt x="1369"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 name="Google Shape;1193;p41"/>
              <p:cNvSpPr/>
              <p:nvPr/>
            </p:nvSpPr>
            <p:spPr>
              <a:xfrm>
                <a:off x="12192650" y="4639788"/>
                <a:ext cx="44225" cy="21800"/>
              </a:xfrm>
              <a:custGeom>
                <a:avLst/>
                <a:gdLst/>
                <a:ahLst/>
                <a:cxnLst/>
                <a:rect l="l" t="t" r="r" b="b"/>
                <a:pathLst>
                  <a:path w="1769" h="872" extrusionOk="0">
                    <a:moveTo>
                      <a:pt x="335" y="151"/>
                    </a:moveTo>
                    <a:cubicBezTo>
                      <a:pt x="594" y="151"/>
                      <a:pt x="1098" y="407"/>
                      <a:pt x="1502" y="638"/>
                    </a:cubicBezTo>
                    <a:cubicBezTo>
                      <a:pt x="1278" y="677"/>
                      <a:pt x="1070" y="696"/>
                      <a:pt x="890" y="696"/>
                    </a:cubicBezTo>
                    <a:cubicBezTo>
                      <a:pt x="613" y="696"/>
                      <a:pt x="402" y="652"/>
                      <a:pt x="301" y="571"/>
                    </a:cubicBezTo>
                    <a:cubicBezTo>
                      <a:pt x="201" y="504"/>
                      <a:pt x="167" y="371"/>
                      <a:pt x="201" y="271"/>
                    </a:cubicBezTo>
                    <a:cubicBezTo>
                      <a:pt x="201" y="237"/>
                      <a:pt x="201" y="204"/>
                      <a:pt x="234" y="171"/>
                    </a:cubicBezTo>
                    <a:cubicBezTo>
                      <a:pt x="261" y="157"/>
                      <a:pt x="295" y="151"/>
                      <a:pt x="335" y="151"/>
                    </a:cubicBezTo>
                    <a:close/>
                    <a:moveTo>
                      <a:pt x="343" y="0"/>
                    </a:moveTo>
                    <a:cubicBezTo>
                      <a:pt x="275" y="0"/>
                      <a:pt x="215" y="11"/>
                      <a:pt x="167" y="37"/>
                    </a:cubicBezTo>
                    <a:cubicBezTo>
                      <a:pt x="67" y="71"/>
                      <a:pt x="34" y="171"/>
                      <a:pt x="34" y="271"/>
                    </a:cubicBezTo>
                    <a:cubicBezTo>
                      <a:pt x="0" y="404"/>
                      <a:pt x="67" y="571"/>
                      <a:pt x="201" y="671"/>
                    </a:cubicBezTo>
                    <a:cubicBezTo>
                      <a:pt x="401" y="805"/>
                      <a:pt x="601" y="871"/>
                      <a:pt x="834" y="871"/>
                    </a:cubicBezTo>
                    <a:cubicBezTo>
                      <a:pt x="1135" y="838"/>
                      <a:pt x="1435" y="805"/>
                      <a:pt x="1702" y="738"/>
                    </a:cubicBezTo>
                    <a:cubicBezTo>
                      <a:pt x="1735" y="738"/>
                      <a:pt x="1768" y="704"/>
                      <a:pt x="1768" y="671"/>
                    </a:cubicBezTo>
                    <a:cubicBezTo>
                      <a:pt x="1768" y="638"/>
                      <a:pt x="1768" y="604"/>
                      <a:pt x="1735" y="571"/>
                    </a:cubicBezTo>
                    <a:cubicBezTo>
                      <a:pt x="1648" y="513"/>
                      <a:pt x="803" y="0"/>
                      <a:pt x="343"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 name="Google Shape;1194;p41"/>
              <p:cNvSpPr/>
              <p:nvPr/>
            </p:nvSpPr>
            <p:spPr>
              <a:xfrm>
                <a:off x="12208500" y="4620463"/>
                <a:ext cx="28375" cy="37775"/>
              </a:xfrm>
              <a:custGeom>
                <a:avLst/>
                <a:gdLst/>
                <a:ahLst/>
                <a:cxnLst/>
                <a:rect l="l" t="t" r="r" b="b"/>
                <a:pathLst>
                  <a:path w="1135" h="1511" extrusionOk="0">
                    <a:moveTo>
                      <a:pt x="454" y="163"/>
                    </a:moveTo>
                    <a:cubicBezTo>
                      <a:pt x="501" y="163"/>
                      <a:pt x="543" y="194"/>
                      <a:pt x="567" y="243"/>
                    </a:cubicBezTo>
                    <a:cubicBezTo>
                      <a:pt x="801" y="543"/>
                      <a:pt x="934" y="910"/>
                      <a:pt x="968" y="1277"/>
                    </a:cubicBezTo>
                    <a:cubicBezTo>
                      <a:pt x="634" y="1010"/>
                      <a:pt x="200" y="443"/>
                      <a:pt x="234" y="243"/>
                    </a:cubicBezTo>
                    <a:cubicBezTo>
                      <a:pt x="234" y="210"/>
                      <a:pt x="234" y="177"/>
                      <a:pt x="334" y="177"/>
                    </a:cubicBezTo>
                    <a:lnTo>
                      <a:pt x="401" y="177"/>
                    </a:lnTo>
                    <a:cubicBezTo>
                      <a:pt x="418" y="168"/>
                      <a:pt x="436" y="163"/>
                      <a:pt x="454" y="163"/>
                    </a:cubicBezTo>
                    <a:close/>
                    <a:moveTo>
                      <a:pt x="404" y="1"/>
                    </a:moveTo>
                    <a:cubicBezTo>
                      <a:pt x="382" y="1"/>
                      <a:pt x="358" y="4"/>
                      <a:pt x="334" y="10"/>
                    </a:cubicBezTo>
                    <a:cubicBezTo>
                      <a:pt x="200" y="10"/>
                      <a:pt x="100" y="110"/>
                      <a:pt x="67" y="210"/>
                    </a:cubicBezTo>
                    <a:cubicBezTo>
                      <a:pt x="0" y="577"/>
                      <a:pt x="667" y="1311"/>
                      <a:pt x="1034" y="1511"/>
                    </a:cubicBezTo>
                    <a:lnTo>
                      <a:pt x="1101" y="1511"/>
                    </a:lnTo>
                    <a:cubicBezTo>
                      <a:pt x="1134" y="1477"/>
                      <a:pt x="1134" y="1477"/>
                      <a:pt x="1134" y="1444"/>
                    </a:cubicBezTo>
                    <a:cubicBezTo>
                      <a:pt x="1134" y="1411"/>
                      <a:pt x="1068" y="443"/>
                      <a:pt x="667" y="110"/>
                    </a:cubicBezTo>
                    <a:cubicBezTo>
                      <a:pt x="586" y="55"/>
                      <a:pt x="504" y="1"/>
                      <a:pt x="404" y="1"/>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 name="Google Shape;1195;p41"/>
              <p:cNvSpPr/>
              <p:nvPr/>
            </p:nvSpPr>
            <p:spPr>
              <a:xfrm>
                <a:off x="11539675" y="4538063"/>
                <a:ext cx="47575" cy="31775"/>
              </a:xfrm>
              <a:custGeom>
                <a:avLst/>
                <a:gdLst/>
                <a:ahLst/>
                <a:cxnLst/>
                <a:rect l="l" t="t" r="r" b="b"/>
                <a:pathLst>
                  <a:path w="1903" h="1271" extrusionOk="0">
                    <a:moveTo>
                      <a:pt x="301" y="170"/>
                    </a:moveTo>
                    <a:cubicBezTo>
                      <a:pt x="568" y="170"/>
                      <a:pt x="1168" y="671"/>
                      <a:pt x="1569" y="1071"/>
                    </a:cubicBezTo>
                    <a:cubicBezTo>
                      <a:pt x="835" y="937"/>
                      <a:pt x="334" y="737"/>
                      <a:pt x="201" y="504"/>
                    </a:cubicBezTo>
                    <a:cubicBezTo>
                      <a:pt x="134" y="404"/>
                      <a:pt x="134" y="304"/>
                      <a:pt x="201" y="237"/>
                    </a:cubicBezTo>
                    <a:cubicBezTo>
                      <a:pt x="201" y="204"/>
                      <a:pt x="234" y="170"/>
                      <a:pt x="268" y="170"/>
                    </a:cubicBezTo>
                    <a:close/>
                    <a:moveTo>
                      <a:pt x="278" y="0"/>
                    </a:moveTo>
                    <a:cubicBezTo>
                      <a:pt x="263" y="0"/>
                      <a:pt x="248" y="1"/>
                      <a:pt x="234" y="3"/>
                    </a:cubicBezTo>
                    <a:cubicBezTo>
                      <a:pt x="168" y="3"/>
                      <a:pt x="101" y="70"/>
                      <a:pt x="68" y="170"/>
                    </a:cubicBezTo>
                    <a:cubicBezTo>
                      <a:pt x="1" y="304"/>
                      <a:pt x="1" y="437"/>
                      <a:pt x="68" y="570"/>
                    </a:cubicBezTo>
                    <a:cubicBezTo>
                      <a:pt x="301" y="1004"/>
                      <a:pt x="1235" y="1204"/>
                      <a:pt x="1802" y="1271"/>
                    </a:cubicBezTo>
                    <a:cubicBezTo>
                      <a:pt x="1835" y="1271"/>
                      <a:pt x="1869" y="1238"/>
                      <a:pt x="1869" y="1238"/>
                    </a:cubicBezTo>
                    <a:cubicBezTo>
                      <a:pt x="1902" y="1204"/>
                      <a:pt x="1902" y="1171"/>
                      <a:pt x="1869" y="1138"/>
                    </a:cubicBezTo>
                    <a:cubicBezTo>
                      <a:pt x="1772" y="1008"/>
                      <a:pt x="765" y="0"/>
                      <a:pt x="278"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 name="Google Shape;1196;p41"/>
              <p:cNvSpPr/>
              <p:nvPr/>
            </p:nvSpPr>
            <p:spPr>
              <a:xfrm>
                <a:off x="11562200" y="4526238"/>
                <a:ext cx="30050" cy="43600"/>
              </a:xfrm>
              <a:custGeom>
                <a:avLst/>
                <a:gdLst/>
                <a:ahLst/>
                <a:cxnLst/>
                <a:rect l="l" t="t" r="r" b="b"/>
                <a:pathLst>
                  <a:path w="1202" h="1744" extrusionOk="0">
                    <a:moveTo>
                      <a:pt x="501" y="176"/>
                    </a:moveTo>
                    <a:cubicBezTo>
                      <a:pt x="601" y="210"/>
                      <a:pt x="701" y="276"/>
                      <a:pt x="768" y="376"/>
                    </a:cubicBezTo>
                    <a:cubicBezTo>
                      <a:pt x="901" y="743"/>
                      <a:pt x="934" y="1110"/>
                      <a:pt x="868" y="1510"/>
                    </a:cubicBezTo>
                    <a:cubicBezTo>
                      <a:pt x="534" y="1144"/>
                      <a:pt x="234" y="410"/>
                      <a:pt x="334" y="210"/>
                    </a:cubicBezTo>
                    <a:cubicBezTo>
                      <a:pt x="334" y="176"/>
                      <a:pt x="401" y="176"/>
                      <a:pt x="434" y="176"/>
                    </a:cubicBezTo>
                    <a:close/>
                    <a:moveTo>
                      <a:pt x="437" y="1"/>
                    </a:moveTo>
                    <a:cubicBezTo>
                      <a:pt x="301" y="1"/>
                      <a:pt x="228" y="60"/>
                      <a:pt x="201" y="143"/>
                    </a:cubicBezTo>
                    <a:cubicBezTo>
                      <a:pt x="0" y="476"/>
                      <a:pt x="534" y="1410"/>
                      <a:pt x="834" y="1711"/>
                    </a:cubicBezTo>
                    <a:cubicBezTo>
                      <a:pt x="868" y="1744"/>
                      <a:pt x="868" y="1744"/>
                      <a:pt x="901" y="1744"/>
                    </a:cubicBezTo>
                    <a:lnTo>
                      <a:pt x="934" y="1744"/>
                    </a:lnTo>
                    <a:cubicBezTo>
                      <a:pt x="934" y="1711"/>
                      <a:pt x="968" y="1711"/>
                      <a:pt x="968" y="1677"/>
                    </a:cubicBezTo>
                    <a:cubicBezTo>
                      <a:pt x="968" y="1644"/>
                      <a:pt x="1201" y="777"/>
                      <a:pt x="901" y="276"/>
                    </a:cubicBezTo>
                    <a:cubicBezTo>
                      <a:pt x="834" y="143"/>
                      <a:pt x="701" y="43"/>
                      <a:pt x="534" y="9"/>
                    </a:cubicBezTo>
                    <a:cubicBezTo>
                      <a:pt x="499" y="4"/>
                      <a:pt x="466" y="1"/>
                      <a:pt x="437" y="1"/>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 name="Google Shape;1197;p41"/>
              <p:cNvSpPr/>
              <p:nvPr/>
            </p:nvSpPr>
            <p:spPr>
              <a:xfrm>
                <a:off x="12296050" y="2067188"/>
                <a:ext cx="308575" cy="751400"/>
              </a:xfrm>
              <a:custGeom>
                <a:avLst/>
                <a:gdLst/>
                <a:ahLst/>
                <a:cxnLst/>
                <a:rect l="l" t="t" r="r" b="b"/>
                <a:pathLst>
                  <a:path w="12343" h="30056" extrusionOk="0">
                    <a:moveTo>
                      <a:pt x="4704" y="1"/>
                    </a:moveTo>
                    <a:lnTo>
                      <a:pt x="1" y="3437"/>
                    </a:lnTo>
                    <a:lnTo>
                      <a:pt x="1035" y="4971"/>
                    </a:lnTo>
                    <a:cubicBezTo>
                      <a:pt x="1368" y="5505"/>
                      <a:pt x="1735" y="6039"/>
                      <a:pt x="2069" y="6539"/>
                    </a:cubicBezTo>
                    <a:cubicBezTo>
                      <a:pt x="2736" y="7606"/>
                      <a:pt x="3370" y="8707"/>
                      <a:pt x="4004" y="9775"/>
                    </a:cubicBezTo>
                    <a:cubicBezTo>
                      <a:pt x="4604" y="10842"/>
                      <a:pt x="5171" y="11943"/>
                      <a:pt x="5671" y="13044"/>
                    </a:cubicBezTo>
                    <a:cubicBezTo>
                      <a:pt x="6172" y="14078"/>
                      <a:pt x="6572" y="15145"/>
                      <a:pt x="6906" y="16246"/>
                    </a:cubicBezTo>
                    <a:cubicBezTo>
                      <a:pt x="6972" y="16513"/>
                      <a:pt x="7039" y="16746"/>
                      <a:pt x="7072" y="17013"/>
                    </a:cubicBezTo>
                    <a:cubicBezTo>
                      <a:pt x="7106" y="17047"/>
                      <a:pt x="7106" y="17113"/>
                      <a:pt x="7072" y="17147"/>
                    </a:cubicBezTo>
                    <a:cubicBezTo>
                      <a:pt x="7039" y="17580"/>
                      <a:pt x="6906" y="18014"/>
                      <a:pt x="6739" y="18448"/>
                    </a:cubicBezTo>
                    <a:cubicBezTo>
                      <a:pt x="6305" y="19548"/>
                      <a:pt x="5772" y="20582"/>
                      <a:pt x="5171" y="21616"/>
                    </a:cubicBezTo>
                    <a:cubicBezTo>
                      <a:pt x="3937" y="23785"/>
                      <a:pt x="2503" y="25953"/>
                      <a:pt x="1102" y="28121"/>
                    </a:cubicBezTo>
                    <a:lnTo>
                      <a:pt x="3236" y="30056"/>
                    </a:lnTo>
                    <a:cubicBezTo>
                      <a:pt x="4304" y="29122"/>
                      <a:pt x="5238" y="28188"/>
                      <a:pt x="6172" y="27220"/>
                    </a:cubicBezTo>
                    <a:cubicBezTo>
                      <a:pt x="7106" y="26253"/>
                      <a:pt x="8006" y="25219"/>
                      <a:pt x="8874" y="24118"/>
                    </a:cubicBezTo>
                    <a:cubicBezTo>
                      <a:pt x="9774" y="22984"/>
                      <a:pt x="10575" y="21783"/>
                      <a:pt x="11275" y="20516"/>
                    </a:cubicBezTo>
                    <a:cubicBezTo>
                      <a:pt x="11676" y="19748"/>
                      <a:pt x="11976" y="18915"/>
                      <a:pt x="12176" y="18081"/>
                    </a:cubicBezTo>
                    <a:cubicBezTo>
                      <a:pt x="12243" y="17780"/>
                      <a:pt x="12276" y="17514"/>
                      <a:pt x="12310" y="17247"/>
                    </a:cubicBezTo>
                    <a:lnTo>
                      <a:pt x="12310" y="16746"/>
                    </a:lnTo>
                    <a:cubicBezTo>
                      <a:pt x="12310" y="16680"/>
                      <a:pt x="12343" y="16580"/>
                      <a:pt x="12310" y="16479"/>
                    </a:cubicBezTo>
                    <a:cubicBezTo>
                      <a:pt x="12276" y="16413"/>
                      <a:pt x="12276" y="16279"/>
                      <a:pt x="12276" y="16246"/>
                    </a:cubicBezTo>
                    <a:cubicBezTo>
                      <a:pt x="12243" y="15846"/>
                      <a:pt x="12176" y="15445"/>
                      <a:pt x="12109" y="15078"/>
                    </a:cubicBezTo>
                    <a:cubicBezTo>
                      <a:pt x="11809" y="13611"/>
                      <a:pt x="11376" y="12210"/>
                      <a:pt x="10842" y="10842"/>
                    </a:cubicBezTo>
                    <a:cubicBezTo>
                      <a:pt x="10308" y="9541"/>
                      <a:pt x="9708" y="8240"/>
                      <a:pt x="9074" y="7006"/>
                    </a:cubicBezTo>
                    <a:cubicBezTo>
                      <a:pt x="8440" y="5772"/>
                      <a:pt x="7740" y="4571"/>
                      <a:pt x="7039" y="3437"/>
                    </a:cubicBezTo>
                    <a:cubicBezTo>
                      <a:pt x="6672" y="2836"/>
                      <a:pt x="6272" y="2269"/>
                      <a:pt x="5905" y="1702"/>
                    </a:cubicBezTo>
                    <a:cubicBezTo>
                      <a:pt x="5538" y="1135"/>
                      <a:pt x="5138" y="601"/>
                      <a:pt x="4704"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 name="Google Shape;1198;p41"/>
              <p:cNvSpPr/>
              <p:nvPr/>
            </p:nvSpPr>
            <p:spPr>
              <a:xfrm>
                <a:off x="12262700" y="2761038"/>
                <a:ext cx="138450" cy="104250"/>
              </a:xfrm>
              <a:custGeom>
                <a:avLst/>
                <a:gdLst/>
                <a:ahLst/>
                <a:cxnLst/>
                <a:rect l="l" t="t" r="r" b="b"/>
                <a:pathLst>
                  <a:path w="5538" h="4170" extrusionOk="0">
                    <a:moveTo>
                      <a:pt x="3336" y="0"/>
                    </a:moveTo>
                    <a:lnTo>
                      <a:pt x="0" y="1001"/>
                    </a:lnTo>
                    <a:lnTo>
                      <a:pt x="2969" y="4170"/>
                    </a:lnTo>
                    <a:cubicBezTo>
                      <a:pt x="2969" y="4170"/>
                      <a:pt x="5538" y="2669"/>
                      <a:pt x="4871" y="1234"/>
                    </a:cubicBezTo>
                    <a:lnTo>
                      <a:pt x="3336" y="0"/>
                    </a:lnTo>
                    <a:close/>
                  </a:path>
                </a:pathLst>
              </a:custGeom>
              <a:solidFill>
                <a:srgbClr val="B55B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 name="Google Shape;1199;p41"/>
              <p:cNvSpPr/>
              <p:nvPr/>
            </p:nvSpPr>
            <p:spPr>
              <a:xfrm>
                <a:off x="12228500" y="2786038"/>
                <a:ext cx="109275" cy="120950"/>
              </a:xfrm>
              <a:custGeom>
                <a:avLst/>
                <a:gdLst/>
                <a:ahLst/>
                <a:cxnLst/>
                <a:rect l="l" t="t" r="r" b="b"/>
                <a:pathLst>
                  <a:path w="4371" h="4838" extrusionOk="0">
                    <a:moveTo>
                      <a:pt x="1368" y="1"/>
                    </a:moveTo>
                    <a:lnTo>
                      <a:pt x="1" y="2436"/>
                    </a:lnTo>
                    <a:lnTo>
                      <a:pt x="2403" y="4838"/>
                    </a:lnTo>
                    <a:lnTo>
                      <a:pt x="4371" y="3170"/>
                    </a:lnTo>
                    <a:lnTo>
                      <a:pt x="1368" y="1"/>
                    </a:lnTo>
                    <a:close/>
                  </a:path>
                </a:pathLst>
              </a:custGeom>
              <a:solidFill>
                <a:srgbClr val="B55B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 name="Google Shape;1200;p41"/>
              <p:cNvSpPr/>
              <p:nvPr/>
            </p:nvSpPr>
            <p:spPr>
              <a:xfrm>
                <a:off x="12040875" y="2606763"/>
                <a:ext cx="68400" cy="167625"/>
              </a:xfrm>
              <a:custGeom>
                <a:avLst/>
                <a:gdLst/>
                <a:ahLst/>
                <a:cxnLst/>
                <a:rect l="l" t="t" r="r" b="b"/>
                <a:pathLst>
                  <a:path w="2736" h="6705" extrusionOk="0">
                    <a:moveTo>
                      <a:pt x="1735" y="0"/>
                    </a:moveTo>
                    <a:cubicBezTo>
                      <a:pt x="634" y="2102"/>
                      <a:pt x="0" y="6438"/>
                      <a:pt x="0" y="6438"/>
                    </a:cubicBezTo>
                    <a:lnTo>
                      <a:pt x="2736" y="6705"/>
                    </a:lnTo>
                    <a:cubicBezTo>
                      <a:pt x="2736" y="6705"/>
                      <a:pt x="1969" y="1835"/>
                      <a:pt x="1735"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3" name="Google Shape;1015;p41">
            <a:extLst>
              <a:ext uri="{FF2B5EF4-FFF2-40B4-BE49-F238E27FC236}">
                <a16:creationId xmlns:a16="http://schemas.microsoft.com/office/drawing/2014/main" id="{64A9F61C-EFBA-C428-9493-B8A0EA685507}"/>
              </a:ext>
            </a:extLst>
          </p:cNvPr>
          <p:cNvSpPr txBox="1"/>
          <p:nvPr/>
        </p:nvSpPr>
        <p:spPr>
          <a:xfrm>
            <a:off x="889803" y="2784597"/>
            <a:ext cx="2560778" cy="934990"/>
          </a:xfrm>
          <a:prstGeom prst="rect">
            <a:avLst/>
          </a:prstGeom>
          <a:noFill/>
          <a:ln>
            <a:noFill/>
          </a:ln>
        </p:spPr>
        <p:txBody>
          <a:bodyPr spcFirstLastPara="1" wrap="square" lIns="91425" tIns="91425" rIns="91425" bIns="91425" anchor="ctr" anchorCtr="0">
            <a:noAutofit/>
          </a:bodyPr>
          <a:lstStyle/>
          <a:p>
            <a:r>
              <a:rPr lang="en" sz="1400" b="1">
                <a:solidFill>
                  <a:schemeClr val="bg2">
                    <a:lumMod val="60000"/>
                    <a:lumOff val="40000"/>
                  </a:schemeClr>
                </a:solidFill>
                <a:latin typeface="Source Sans Pro"/>
                <a:ea typeface="Source Sans Pro"/>
                <a:cs typeface="Source Sans Pro"/>
              </a:rPr>
              <a:t>Beneficiaries:</a:t>
            </a:r>
          </a:p>
          <a:p>
            <a:endParaRPr lang="en" sz="300">
              <a:solidFill>
                <a:schemeClr val="lt1"/>
              </a:solidFill>
              <a:latin typeface="Source Sans Pro"/>
              <a:ea typeface="Source Sans Pro"/>
              <a:cs typeface="Source Sans Pro"/>
            </a:endParaRPr>
          </a:p>
          <a:p>
            <a:pPr marL="285750" lvl="0" indent="-285750" rtl="0">
              <a:lnSpc>
                <a:spcPct val="100000"/>
              </a:lnSpc>
              <a:spcBef>
                <a:spcPts val="0"/>
              </a:spcBef>
              <a:spcAft>
                <a:spcPts val="0"/>
              </a:spcAft>
              <a:buFont typeface="Arial" panose="020B0604020202020204" pitchFamily="34" charset="0"/>
              <a:buChar char="•"/>
            </a:pPr>
            <a:r>
              <a:rPr lang="en" sz="1400">
                <a:solidFill>
                  <a:schemeClr val="lt1"/>
                </a:solidFill>
                <a:latin typeface="Source Sans Pro"/>
                <a:ea typeface="Source Sans Pro"/>
                <a:cs typeface="Source Sans Pro"/>
              </a:rPr>
              <a:t>All segments</a:t>
            </a:r>
          </a:p>
        </p:txBody>
      </p:sp>
      <p:sp>
        <p:nvSpPr>
          <p:cNvPr id="4" name="Google Shape;1015;p41">
            <a:extLst>
              <a:ext uri="{FF2B5EF4-FFF2-40B4-BE49-F238E27FC236}">
                <a16:creationId xmlns:a16="http://schemas.microsoft.com/office/drawing/2014/main" id="{3EB8FE03-2C5C-789B-92D6-4A913A6F29AF}"/>
              </a:ext>
            </a:extLst>
          </p:cNvPr>
          <p:cNvSpPr txBox="1"/>
          <p:nvPr/>
        </p:nvSpPr>
        <p:spPr>
          <a:xfrm>
            <a:off x="6213788" y="1202114"/>
            <a:ext cx="2319373" cy="1939372"/>
          </a:xfrm>
          <a:prstGeom prst="rect">
            <a:avLst/>
          </a:prstGeom>
          <a:noFill/>
          <a:ln>
            <a:noFill/>
          </a:ln>
        </p:spPr>
        <p:txBody>
          <a:bodyPr spcFirstLastPara="1" wrap="square" lIns="91425" tIns="91425" rIns="91425" bIns="91425" anchor="ctr" anchorCtr="0">
            <a:noAutofit/>
          </a:bodyPr>
          <a:lstStyle/>
          <a:p>
            <a:pPr marL="285750" indent="-285750">
              <a:buFont typeface="Arial" panose="020B0604020202020204" pitchFamily="34" charset="0"/>
              <a:buChar char="•"/>
            </a:pPr>
            <a:r>
              <a:rPr lang="en" sz="1400">
                <a:solidFill>
                  <a:schemeClr val="lt1"/>
                </a:solidFill>
                <a:latin typeface="Source Sans Pro"/>
                <a:ea typeface="Source Sans Pro"/>
                <a:cs typeface="Source Sans Pro"/>
              </a:rPr>
              <a:t>For specific segments</a:t>
            </a:r>
          </a:p>
          <a:p>
            <a:endParaRPr lang="en" sz="500">
              <a:solidFill>
                <a:schemeClr val="lt1"/>
              </a:solidFill>
              <a:latin typeface="Source Sans Pro"/>
              <a:ea typeface="Source Sans Pro"/>
              <a:cs typeface="Source Sans Pro"/>
            </a:endParaRPr>
          </a:p>
          <a:p>
            <a:pPr marL="285750" indent="-285750">
              <a:buFont typeface="Arial" panose="020B0604020202020204" pitchFamily="34" charset="0"/>
              <a:buChar char="•"/>
            </a:pPr>
            <a:r>
              <a:rPr lang="en" sz="1400">
                <a:solidFill>
                  <a:schemeClr val="lt1"/>
                </a:solidFill>
                <a:latin typeface="Source Sans Pro"/>
                <a:ea typeface="Source Sans Pro"/>
                <a:cs typeface="Source Sans Pro"/>
              </a:rPr>
              <a:t>Non transacting visitors can be targeted</a:t>
            </a:r>
          </a:p>
          <a:p>
            <a:endParaRPr lang="en" sz="800">
              <a:solidFill>
                <a:schemeClr val="lt1"/>
              </a:solidFill>
              <a:latin typeface="Source Sans Pro"/>
              <a:ea typeface="Source Sans Pro"/>
              <a:cs typeface="Source Sans Pro"/>
            </a:endParaRPr>
          </a:p>
          <a:p>
            <a:r>
              <a:rPr lang="en" sz="1400" b="1">
                <a:solidFill>
                  <a:schemeClr val="bg2">
                    <a:lumMod val="60000"/>
                    <a:lumOff val="40000"/>
                  </a:schemeClr>
                </a:solidFill>
                <a:latin typeface="Source Sans Pro"/>
                <a:ea typeface="Source Sans Pro"/>
                <a:cs typeface="Source Sans Pro"/>
              </a:rPr>
              <a:t>Sample Promotions:</a:t>
            </a:r>
          </a:p>
          <a:p>
            <a:endParaRPr lang="en" sz="500">
              <a:solidFill>
                <a:schemeClr val="lt1"/>
              </a:solidFill>
              <a:latin typeface="Source Sans Pro"/>
              <a:ea typeface="Source Sans Pro"/>
              <a:cs typeface="Source Sans Pro"/>
            </a:endParaRPr>
          </a:p>
          <a:p>
            <a:pPr marL="285750" indent="-285750">
              <a:buFont typeface="Arial" panose="020B0604020202020204" pitchFamily="34" charset="0"/>
              <a:buChar char="•"/>
            </a:pPr>
            <a:r>
              <a:rPr lang="en-CA" sz="1400">
                <a:solidFill>
                  <a:schemeClr val="lt1"/>
                </a:solidFill>
                <a:latin typeface="Source Sans Pro"/>
                <a:ea typeface="Source Sans Pro"/>
                <a:cs typeface="Source Sans Pro"/>
              </a:rPr>
              <a:t>G</a:t>
            </a:r>
            <a:r>
              <a:rPr lang="en" sz="1400">
                <a:solidFill>
                  <a:schemeClr val="lt1"/>
                </a:solidFill>
                <a:latin typeface="Source Sans Pro"/>
                <a:ea typeface="Source Sans Pro"/>
                <a:cs typeface="Source Sans Pro"/>
              </a:rPr>
              <a:t>et 500 CP when you spend over $50 </a:t>
            </a:r>
          </a:p>
          <a:p>
            <a:pPr marL="285750" indent="-285750">
              <a:buFont typeface="Arial" panose="020B0604020202020204" pitchFamily="34" charset="0"/>
              <a:buChar char="•"/>
            </a:pPr>
            <a:r>
              <a:rPr lang="en" sz="1400">
                <a:solidFill>
                  <a:schemeClr val="lt1"/>
                </a:solidFill>
                <a:latin typeface="Source Sans Pro"/>
                <a:ea typeface="Source Sans Pro"/>
                <a:cs typeface="Source Sans Pro"/>
              </a:rPr>
              <a:t>$10 off over $100</a:t>
            </a:r>
          </a:p>
        </p:txBody>
      </p:sp>
      <p:sp>
        <p:nvSpPr>
          <p:cNvPr id="5" name="Google Shape;1015;p41">
            <a:extLst>
              <a:ext uri="{FF2B5EF4-FFF2-40B4-BE49-F238E27FC236}">
                <a16:creationId xmlns:a16="http://schemas.microsoft.com/office/drawing/2014/main" id="{C0D0B316-C194-6312-B307-436E97FF3BDD}"/>
              </a:ext>
            </a:extLst>
          </p:cNvPr>
          <p:cNvSpPr txBox="1"/>
          <p:nvPr/>
        </p:nvSpPr>
        <p:spPr>
          <a:xfrm>
            <a:off x="6214561" y="4028944"/>
            <a:ext cx="2411543" cy="799548"/>
          </a:xfrm>
          <a:prstGeom prst="rect">
            <a:avLst/>
          </a:prstGeom>
          <a:noFill/>
          <a:ln>
            <a:noFill/>
          </a:ln>
        </p:spPr>
        <p:txBody>
          <a:bodyPr spcFirstLastPara="1" wrap="square" lIns="91425" tIns="91425" rIns="91425" bIns="91425" anchor="ctr" anchorCtr="0">
            <a:noAutofit/>
          </a:bodyPr>
          <a:lstStyle/>
          <a:p>
            <a:r>
              <a:rPr lang="en" sz="1400" b="1">
                <a:solidFill>
                  <a:schemeClr val="bg2">
                    <a:lumMod val="60000"/>
                    <a:lumOff val="40000"/>
                  </a:schemeClr>
                </a:solidFill>
                <a:latin typeface="Source Sans Pro"/>
                <a:ea typeface="Source Sans Pro"/>
                <a:cs typeface="Source Sans Pro"/>
              </a:rPr>
              <a:t>Benefits:</a:t>
            </a:r>
          </a:p>
          <a:p>
            <a:pPr marL="285750" lvl="0" indent="-285750" rtl="0">
              <a:lnSpc>
                <a:spcPct val="100000"/>
              </a:lnSpc>
              <a:spcBef>
                <a:spcPts val="0"/>
              </a:spcBef>
              <a:spcAft>
                <a:spcPts val="0"/>
              </a:spcAft>
              <a:buFont typeface="Arial" panose="020B0604020202020204" pitchFamily="34" charset="0"/>
              <a:buChar char="•"/>
            </a:pPr>
            <a:r>
              <a:rPr lang="en" sz="1400">
                <a:solidFill>
                  <a:schemeClr val="lt1"/>
                </a:solidFill>
                <a:latin typeface="Source Sans Pro"/>
                <a:ea typeface="Source Sans Pro"/>
                <a:cs typeface="Source Sans Pro"/>
              </a:rPr>
              <a:t>Conversion Rate</a:t>
            </a:r>
          </a:p>
          <a:p>
            <a:pPr marL="285750" lvl="0" indent="-285750" rtl="0">
              <a:lnSpc>
                <a:spcPct val="100000"/>
              </a:lnSpc>
              <a:spcBef>
                <a:spcPts val="0"/>
              </a:spcBef>
              <a:spcAft>
                <a:spcPts val="0"/>
              </a:spcAft>
              <a:buFont typeface="Arial" panose="020B0604020202020204" pitchFamily="34" charset="0"/>
              <a:buChar char="•"/>
            </a:pPr>
            <a:r>
              <a:rPr lang="en" sz="1400">
                <a:solidFill>
                  <a:schemeClr val="lt1"/>
                </a:solidFill>
                <a:latin typeface="Source Sans Pro"/>
                <a:ea typeface="Source Sans Pro"/>
                <a:cs typeface="Source Sans Pro"/>
              </a:rPr>
              <a:t>Revenue</a:t>
            </a:r>
          </a:p>
          <a:p>
            <a:pPr marL="285750" lvl="0" indent="-285750" rtl="0">
              <a:lnSpc>
                <a:spcPct val="100000"/>
              </a:lnSpc>
              <a:spcBef>
                <a:spcPts val="0"/>
              </a:spcBef>
              <a:spcAft>
                <a:spcPts val="0"/>
              </a:spcAft>
              <a:buFont typeface="Arial" panose="020B0604020202020204" pitchFamily="34" charset="0"/>
              <a:buChar char="•"/>
            </a:pPr>
            <a:r>
              <a:rPr lang="en" sz="1400">
                <a:solidFill>
                  <a:schemeClr val="lt1"/>
                </a:solidFill>
                <a:latin typeface="Source Sans Pro"/>
                <a:ea typeface="Source Sans Pro"/>
                <a:cs typeface="Source Sans Pro"/>
              </a:rPr>
              <a:t>Customer Loyalty</a:t>
            </a:r>
          </a:p>
        </p:txBody>
      </p:sp>
      <p:sp>
        <p:nvSpPr>
          <p:cNvPr id="6" name="Google Shape;1015;p41">
            <a:extLst>
              <a:ext uri="{FF2B5EF4-FFF2-40B4-BE49-F238E27FC236}">
                <a16:creationId xmlns:a16="http://schemas.microsoft.com/office/drawing/2014/main" id="{6B7FF75A-2088-D2C2-56AC-ABBB784612DD}"/>
              </a:ext>
            </a:extLst>
          </p:cNvPr>
          <p:cNvSpPr txBox="1"/>
          <p:nvPr/>
        </p:nvSpPr>
        <p:spPr>
          <a:xfrm>
            <a:off x="6213789" y="3231406"/>
            <a:ext cx="2319373" cy="609085"/>
          </a:xfrm>
          <a:prstGeom prst="rect">
            <a:avLst/>
          </a:prstGeom>
          <a:noFill/>
          <a:ln>
            <a:noFill/>
          </a:ln>
        </p:spPr>
        <p:txBody>
          <a:bodyPr spcFirstLastPara="1" wrap="square" lIns="91425" tIns="91425" rIns="91425" bIns="91425" anchor="ctr" anchorCtr="0">
            <a:noAutofit/>
          </a:bodyPr>
          <a:lstStyle/>
          <a:p>
            <a:r>
              <a:rPr lang="en" sz="1400" b="1">
                <a:solidFill>
                  <a:schemeClr val="bg2">
                    <a:lumMod val="60000"/>
                    <a:lumOff val="40000"/>
                  </a:schemeClr>
                </a:solidFill>
                <a:latin typeface="Source Sans Pro"/>
                <a:ea typeface="Source Sans Pro"/>
                <a:cs typeface="Source Sans Pro"/>
              </a:rPr>
              <a:t>Beneficiaries:</a:t>
            </a:r>
          </a:p>
          <a:p>
            <a:endParaRPr lang="en" sz="300">
              <a:solidFill>
                <a:schemeClr val="lt1"/>
              </a:solidFill>
              <a:latin typeface="Source Sans Pro"/>
              <a:ea typeface="Source Sans Pro"/>
              <a:cs typeface="Source Sans Pro"/>
            </a:endParaRPr>
          </a:p>
          <a:p>
            <a:pPr marL="285750" lvl="0" indent="-285750" rtl="0">
              <a:lnSpc>
                <a:spcPct val="100000"/>
              </a:lnSpc>
              <a:spcBef>
                <a:spcPts val="0"/>
              </a:spcBef>
              <a:spcAft>
                <a:spcPts val="0"/>
              </a:spcAft>
              <a:buFont typeface="Arial" panose="020B0604020202020204" pitchFamily="34" charset="0"/>
              <a:buChar char="•"/>
            </a:pPr>
            <a:r>
              <a:rPr lang="en" sz="1400">
                <a:solidFill>
                  <a:schemeClr val="lt1"/>
                </a:solidFill>
                <a:latin typeface="Source Sans Pro"/>
                <a:ea typeface="Source Sans Pro"/>
                <a:cs typeface="Source Sans Pro"/>
              </a:rPr>
              <a:t>Mainly Deal Seekers &amp; Confused Shoppers</a:t>
            </a:r>
          </a:p>
        </p:txBody>
      </p:sp>
      <p:pic>
        <p:nvPicPr>
          <p:cNvPr id="7" name="Picture 2" descr="Website design - Free computer icons">
            <a:extLst>
              <a:ext uri="{FF2B5EF4-FFF2-40B4-BE49-F238E27FC236}">
                <a16:creationId xmlns:a16="http://schemas.microsoft.com/office/drawing/2014/main" id="{D5EEA28B-9E6C-6A4C-1910-085C5F37F0BC}"/>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10000" b="90000" l="10000" r="90000">
                        <a14:backgroundMark x1="24805" y1="26172" x2="72656" y2="19336"/>
                        <a14:backgroundMark x1="72656" y1="19336" x2="80273" y2="27344"/>
                        <a14:backgroundMark x1="80273" y1="27344" x2="82031" y2="61523"/>
                        <a14:backgroundMark x1="82031" y1="61523" x2="87695" y2="35352"/>
                        <a14:backgroundMark x1="87695" y1="35352" x2="80078" y2="18750"/>
                        <a14:backgroundMark x1="80078" y1="18750" x2="70703" y2="14453"/>
                        <a14:backgroundMark x1="70703" y1="14453" x2="35352" y2="15234"/>
                        <a14:backgroundMark x1="35352" y1="15234" x2="25781" y2="23242"/>
                        <a14:backgroundMark x1="25781" y1="23242" x2="24609" y2="25977"/>
                      </a14:backgroundRemoval>
                    </a14:imgEffect>
                  </a14:imgLayer>
                </a14:imgProps>
              </a:ext>
              <a:ext uri="{28A0092B-C50C-407E-A947-70E740481C1C}">
                <a14:useLocalDpi xmlns:a14="http://schemas.microsoft.com/office/drawing/2010/main" val="0"/>
              </a:ext>
            </a:extLst>
          </a:blip>
          <a:srcRect l="14655" t="18457" r="17538" b="17580"/>
          <a:stretch/>
        </p:blipFill>
        <p:spPr bwMode="auto">
          <a:xfrm>
            <a:off x="2944745" y="1278107"/>
            <a:ext cx="700238" cy="66054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Reminder Generic Outline Color icon">
            <a:extLst>
              <a:ext uri="{FF2B5EF4-FFF2-40B4-BE49-F238E27FC236}">
                <a16:creationId xmlns:a16="http://schemas.microsoft.com/office/drawing/2014/main" id="{75E7DC81-4DDE-2DB7-984F-A77A208FD90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03958" y="1546225"/>
            <a:ext cx="656514" cy="497724"/>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4048C07E-9353-2FDC-9142-27B1C00D00A4}"/>
              </a:ext>
            </a:extLst>
          </p:cNvPr>
          <p:cNvGrpSpPr/>
          <p:nvPr/>
        </p:nvGrpSpPr>
        <p:grpSpPr>
          <a:xfrm>
            <a:off x="893609" y="3783160"/>
            <a:ext cx="2319373" cy="812942"/>
            <a:chOff x="893609" y="3783160"/>
            <a:chExt cx="2319373" cy="812942"/>
          </a:xfrm>
        </p:grpSpPr>
        <p:sp>
          <p:nvSpPr>
            <p:cNvPr id="2" name="Google Shape;1015;p41">
              <a:extLst>
                <a:ext uri="{FF2B5EF4-FFF2-40B4-BE49-F238E27FC236}">
                  <a16:creationId xmlns:a16="http://schemas.microsoft.com/office/drawing/2014/main" id="{43175748-2B6E-B401-06BB-7557BB79A626}"/>
                </a:ext>
              </a:extLst>
            </p:cNvPr>
            <p:cNvSpPr txBox="1"/>
            <p:nvPr/>
          </p:nvSpPr>
          <p:spPr>
            <a:xfrm>
              <a:off x="893609" y="3783160"/>
              <a:ext cx="2319373" cy="799548"/>
            </a:xfrm>
            <a:prstGeom prst="rect">
              <a:avLst/>
            </a:prstGeom>
            <a:noFill/>
            <a:ln>
              <a:noFill/>
            </a:ln>
          </p:spPr>
          <p:txBody>
            <a:bodyPr spcFirstLastPara="1" wrap="square" lIns="91425" tIns="91425" rIns="91425" bIns="91425" anchor="ctr" anchorCtr="0">
              <a:noAutofit/>
            </a:bodyPr>
            <a:lstStyle/>
            <a:p>
              <a:r>
                <a:rPr lang="en" sz="1400" b="1">
                  <a:solidFill>
                    <a:schemeClr val="bg2">
                      <a:lumMod val="60000"/>
                      <a:lumOff val="40000"/>
                    </a:schemeClr>
                  </a:solidFill>
                  <a:latin typeface="Source Sans Pro"/>
                  <a:ea typeface="Source Sans Pro"/>
                  <a:cs typeface="Source Sans Pro"/>
                </a:rPr>
                <a:t>Benefits:</a:t>
              </a:r>
            </a:p>
            <a:p>
              <a:endParaRPr lang="en" sz="300">
                <a:solidFill>
                  <a:schemeClr val="lt1"/>
                </a:solidFill>
                <a:latin typeface="Source Sans Pro"/>
                <a:ea typeface="Source Sans Pro"/>
                <a:cs typeface="Source Sans Pro"/>
              </a:endParaRPr>
            </a:p>
            <a:p>
              <a:pPr marL="285750" lvl="0" indent="-285750" rtl="0">
                <a:lnSpc>
                  <a:spcPct val="100000"/>
                </a:lnSpc>
                <a:spcBef>
                  <a:spcPts val="0"/>
                </a:spcBef>
                <a:spcAft>
                  <a:spcPts val="0"/>
                </a:spcAft>
                <a:buFont typeface="Arial" panose="020B0604020202020204" pitchFamily="34" charset="0"/>
                <a:buChar char="•"/>
              </a:pPr>
              <a:r>
                <a:rPr lang="en" sz="1400">
                  <a:solidFill>
                    <a:schemeClr val="lt1"/>
                  </a:solidFill>
                  <a:latin typeface="Source Sans Pro"/>
                  <a:ea typeface="Source Sans Pro"/>
                  <a:cs typeface="Source Sans Pro"/>
                </a:rPr>
                <a:t>Customer Loyalty</a:t>
              </a:r>
            </a:p>
            <a:p>
              <a:pPr marL="285750" lvl="0" indent="-285750" rtl="0">
                <a:lnSpc>
                  <a:spcPct val="100000"/>
                </a:lnSpc>
                <a:spcBef>
                  <a:spcPts val="0"/>
                </a:spcBef>
                <a:spcAft>
                  <a:spcPts val="0"/>
                </a:spcAft>
                <a:buFont typeface="Arial" panose="020B0604020202020204" pitchFamily="34" charset="0"/>
                <a:buChar char="•"/>
              </a:pPr>
              <a:r>
                <a:rPr lang="en" sz="1400">
                  <a:solidFill>
                    <a:schemeClr val="lt1"/>
                  </a:solidFill>
                  <a:latin typeface="Source Sans Pro"/>
                  <a:ea typeface="Source Sans Pro"/>
                  <a:cs typeface="Source Sans Pro"/>
                </a:rPr>
                <a:t>Conversion Rate</a:t>
              </a:r>
            </a:p>
            <a:p>
              <a:pPr marL="285750" lvl="0" indent="-285750" rtl="0">
                <a:lnSpc>
                  <a:spcPct val="100000"/>
                </a:lnSpc>
                <a:spcBef>
                  <a:spcPts val="0"/>
                </a:spcBef>
                <a:spcAft>
                  <a:spcPts val="0"/>
                </a:spcAft>
                <a:buFont typeface="Arial" panose="020B0604020202020204" pitchFamily="34" charset="0"/>
                <a:buChar char="•"/>
              </a:pPr>
              <a:r>
                <a:rPr lang="en" sz="1400">
                  <a:solidFill>
                    <a:schemeClr val="lt1"/>
                  </a:solidFill>
                  <a:latin typeface="Source Sans Pro"/>
                  <a:ea typeface="Source Sans Pro"/>
                  <a:cs typeface="Source Sans Pro"/>
                </a:rPr>
                <a:t>Revenue</a:t>
              </a:r>
            </a:p>
          </p:txBody>
        </p:sp>
        <p:sp>
          <p:nvSpPr>
            <p:cNvPr id="9" name="Arrow: Up 8">
              <a:extLst>
                <a:ext uri="{FF2B5EF4-FFF2-40B4-BE49-F238E27FC236}">
                  <a16:creationId xmlns:a16="http://schemas.microsoft.com/office/drawing/2014/main" id="{D414ECC3-96A3-0483-E7B5-2831A0F47C08}"/>
                </a:ext>
              </a:extLst>
            </p:cNvPr>
            <p:cNvSpPr/>
            <p:nvPr/>
          </p:nvSpPr>
          <p:spPr>
            <a:xfrm>
              <a:off x="2664406" y="4030892"/>
              <a:ext cx="161666" cy="150814"/>
            </a:xfrm>
            <a:prstGeom prst="upArrow">
              <a:avLst>
                <a:gd name="adj1" fmla="val 33814"/>
                <a:gd name="adj2" fmla="val 5000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3" name="Arrow: Up 12">
              <a:extLst>
                <a:ext uri="{FF2B5EF4-FFF2-40B4-BE49-F238E27FC236}">
                  <a16:creationId xmlns:a16="http://schemas.microsoft.com/office/drawing/2014/main" id="{E063A48E-6DBF-D2BD-5068-7444399B3E44}"/>
                </a:ext>
              </a:extLst>
            </p:cNvPr>
            <p:cNvSpPr/>
            <p:nvPr/>
          </p:nvSpPr>
          <p:spPr>
            <a:xfrm>
              <a:off x="2523521" y="4226044"/>
              <a:ext cx="161666" cy="150814"/>
            </a:xfrm>
            <a:prstGeom prst="upArrow">
              <a:avLst>
                <a:gd name="adj1" fmla="val 33814"/>
                <a:gd name="adj2" fmla="val 5000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4" name="Arrow: Up 13">
              <a:extLst>
                <a:ext uri="{FF2B5EF4-FFF2-40B4-BE49-F238E27FC236}">
                  <a16:creationId xmlns:a16="http://schemas.microsoft.com/office/drawing/2014/main" id="{95842E8D-815D-FF25-02A0-537D90CB34EF}"/>
                </a:ext>
              </a:extLst>
            </p:cNvPr>
            <p:cNvSpPr/>
            <p:nvPr/>
          </p:nvSpPr>
          <p:spPr>
            <a:xfrm>
              <a:off x="1968756" y="4445288"/>
              <a:ext cx="161666" cy="150814"/>
            </a:xfrm>
            <a:prstGeom prst="upArrow">
              <a:avLst>
                <a:gd name="adj1" fmla="val 33814"/>
                <a:gd name="adj2" fmla="val 5000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0" name="Arrow: Up 9">
            <a:extLst>
              <a:ext uri="{FF2B5EF4-FFF2-40B4-BE49-F238E27FC236}">
                <a16:creationId xmlns:a16="http://schemas.microsoft.com/office/drawing/2014/main" id="{775EA086-A78B-0EE6-6775-08BE9E906C02}"/>
              </a:ext>
            </a:extLst>
          </p:cNvPr>
          <p:cNvSpPr/>
          <p:nvPr/>
        </p:nvSpPr>
        <p:spPr>
          <a:xfrm>
            <a:off x="7821470" y="4253920"/>
            <a:ext cx="161666" cy="150814"/>
          </a:xfrm>
          <a:prstGeom prst="upArrow">
            <a:avLst>
              <a:gd name="adj1" fmla="val 33814"/>
              <a:gd name="adj2" fmla="val 5000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1" name="Arrow: Up 10">
            <a:extLst>
              <a:ext uri="{FF2B5EF4-FFF2-40B4-BE49-F238E27FC236}">
                <a16:creationId xmlns:a16="http://schemas.microsoft.com/office/drawing/2014/main" id="{902EDBC3-AF84-03B9-9351-29FCCE750D1B}"/>
              </a:ext>
            </a:extLst>
          </p:cNvPr>
          <p:cNvSpPr/>
          <p:nvPr/>
        </p:nvSpPr>
        <p:spPr>
          <a:xfrm>
            <a:off x="7269403" y="4460407"/>
            <a:ext cx="161666" cy="150814"/>
          </a:xfrm>
          <a:prstGeom prst="upArrow">
            <a:avLst>
              <a:gd name="adj1" fmla="val 33814"/>
              <a:gd name="adj2" fmla="val 5000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2" name="Arrow: Up 11">
            <a:extLst>
              <a:ext uri="{FF2B5EF4-FFF2-40B4-BE49-F238E27FC236}">
                <a16:creationId xmlns:a16="http://schemas.microsoft.com/office/drawing/2014/main" id="{A097D634-7403-DC4F-D6EF-77380D8B8349}"/>
              </a:ext>
            </a:extLst>
          </p:cNvPr>
          <p:cNvSpPr/>
          <p:nvPr/>
        </p:nvSpPr>
        <p:spPr>
          <a:xfrm>
            <a:off x="7983136" y="4677678"/>
            <a:ext cx="161666" cy="150814"/>
          </a:xfrm>
          <a:prstGeom prst="upArrow">
            <a:avLst>
              <a:gd name="adj1" fmla="val 33814"/>
              <a:gd name="adj2" fmla="val 5000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323331122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010"/>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ED611A6A-E34C-B684-5437-52F278B3CD1E}"/>
              </a:ext>
            </a:extLst>
          </p:cNvPr>
          <p:cNvGraphicFramePr>
            <a:graphicFrameLocks noChangeAspect="1"/>
          </p:cNvGraphicFramePr>
          <p:nvPr>
            <p:custDataLst>
              <p:tags r:id="rId1"/>
            </p:custDataLst>
            <p:extLst>
              <p:ext uri="{D42A27DB-BD31-4B8C-83A1-F6EECF244321}">
                <p14:modId xmlns:p14="http://schemas.microsoft.com/office/powerpoint/2010/main" val="304053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425" imgH="424" progId="TCLayout.ActiveDocument.1">
                  <p:embed/>
                </p:oleObj>
              </mc:Choice>
              <mc:Fallback>
                <p:oleObj name="Diapositiva think-cell" r:id="rId4" imgW="425" imgH="424" progId="TCLayout.ActiveDocument.1">
                  <p:embed/>
                  <p:pic>
                    <p:nvPicPr>
                      <p:cNvPr id="11" name="think-cell data - do not delete" hidden="1">
                        <a:extLst>
                          <a:ext uri="{FF2B5EF4-FFF2-40B4-BE49-F238E27FC236}">
                            <a16:creationId xmlns:a16="http://schemas.microsoft.com/office/drawing/2014/main" id="{ED611A6A-E34C-B684-5437-52F278B3CD1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11" name="Google Shape;1011;p41"/>
          <p:cNvSpPr txBox="1">
            <a:spLocks noGrp="1"/>
          </p:cNvSpPr>
          <p:nvPr>
            <p:ph type="title"/>
          </p:nvPr>
        </p:nvSpPr>
        <p:spPr>
          <a:xfrm>
            <a:off x="205151" y="45500"/>
            <a:ext cx="8700939" cy="572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2800"/>
              <a:t>Customer Development Strategies</a:t>
            </a:r>
            <a:endParaRPr sz="2800"/>
          </a:p>
        </p:txBody>
      </p:sp>
      <p:sp>
        <p:nvSpPr>
          <p:cNvPr id="1012" name="Google Shape;1012;p41"/>
          <p:cNvSpPr/>
          <p:nvPr/>
        </p:nvSpPr>
        <p:spPr>
          <a:xfrm>
            <a:off x="4654525" y="829667"/>
            <a:ext cx="3796500" cy="324900"/>
          </a:xfrm>
          <a:prstGeom prst="roundRect">
            <a:avLst>
              <a:gd name="adj" fmla="val 50000"/>
            </a:avLst>
          </a:prstGeom>
          <a:solidFill>
            <a:srgbClr val="2F9C8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 name="Google Shape;1013;p41"/>
          <p:cNvSpPr/>
          <p:nvPr/>
        </p:nvSpPr>
        <p:spPr>
          <a:xfrm>
            <a:off x="713225" y="829667"/>
            <a:ext cx="3796500" cy="324900"/>
          </a:xfrm>
          <a:prstGeom prst="roundRect">
            <a:avLst>
              <a:gd name="adj" fmla="val 50000"/>
            </a:avLst>
          </a:prstGeom>
          <a:solidFill>
            <a:schemeClr val="accent2">
              <a:lumMod val="7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 name="Google Shape;1015;p41"/>
          <p:cNvSpPr txBox="1"/>
          <p:nvPr/>
        </p:nvSpPr>
        <p:spPr>
          <a:xfrm>
            <a:off x="889903" y="1218256"/>
            <a:ext cx="2319373" cy="1917117"/>
          </a:xfrm>
          <a:prstGeom prst="rect">
            <a:avLst/>
          </a:prstGeom>
          <a:noFill/>
          <a:ln>
            <a:noFill/>
          </a:ln>
        </p:spPr>
        <p:txBody>
          <a:bodyPr spcFirstLastPara="1" wrap="square" lIns="91425" tIns="91425" rIns="91425" bIns="91425" anchor="ctr" anchorCtr="0">
            <a:noAutofit/>
          </a:bodyPr>
          <a:lstStyle/>
          <a:p>
            <a:pPr marL="285750" indent="-285750">
              <a:buFont typeface="Arial" panose="020B0604020202020204" pitchFamily="34" charset="0"/>
              <a:buChar char="•"/>
            </a:pPr>
            <a:r>
              <a:rPr lang="en" sz="1400">
                <a:solidFill>
                  <a:schemeClr val="lt1"/>
                </a:solidFill>
                <a:latin typeface="Source Sans Pro"/>
                <a:ea typeface="Source Sans Pro"/>
                <a:cs typeface="Source Sans Pro"/>
              </a:rPr>
              <a:t>Customer survey to clarify pain points</a:t>
            </a:r>
          </a:p>
          <a:p>
            <a:endParaRPr lang="en" sz="500">
              <a:solidFill>
                <a:schemeClr val="lt1"/>
              </a:solidFill>
              <a:latin typeface="Source Sans Pro"/>
              <a:ea typeface="Source Sans Pro"/>
              <a:cs typeface="Source Sans Pro"/>
            </a:endParaRPr>
          </a:p>
          <a:p>
            <a:pPr marL="285750" lvl="0" indent="-285750" rtl="0">
              <a:lnSpc>
                <a:spcPct val="100000"/>
              </a:lnSpc>
              <a:spcBef>
                <a:spcPts val="0"/>
              </a:spcBef>
              <a:spcAft>
                <a:spcPts val="0"/>
              </a:spcAft>
              <a:buFont typeface="Arial" panose="020B0604020202020204" pitchFamily="34" charset="0"/>
              <a:buChar char="•"/>
            </a:pPr>
            <a:r>
              <a:rPr lang="en" sz="1400">
                <a:solidFill>
                  <a:schemeClr val="lt1"/>
                </a:solidFill>
                <a:latin typeface="Source Sans Pro"/>
                <a:ea typeface="Source Sans Pro"/>
                <a:cs typeface="Source Sans Pro"/>
              </a:rPr>
              <a:t>Streamline admin &amp; informational pages</a:t>
            </a:r>
          </a:p>
          <a:p>
            <a:pPr lvl="0" rtl="0">
              <a:lnSpc>
                <a:spcPct val="100000"/>
              </a:lnSpc>
              <a:spcBef>
                <a:spcPts val="0"/>
              </a:spcBef>
              <a:spcAft>
                <a:spcPts val="0"/>
              </a:spcAft>
            </a:pPr>
            <a:endParaRPr lang="en" sz="500">
              <a:solidFill>
                <a:schemeClr val="lt1"/>
              </a:solidFill>
              <a:latin typeface="Source Sans Pro"/>
              <a:ea typeface="Source Sans Pro"/>
              <a:cs typeface="Source Sans Pro"/>
            </a:endParaRPr>
          </a:p>
          <a:p>
            <a:pPr marL="285750" lvl="0" indent="-285750" rtl="0">
              <a:lnSpc>
                <a:spcPct val="100000"/>
              </a:lnSpc>
              <a:spcBef>
                <a:spcPts val="0"/>
              </a:spcBef>
              <a:spcAft>
                <a:spcPts val="0"/>
              </a:spcAft>
              <a:buFont typeface="Arial" panose="020B0604020202020204" pitchFamily="34" charset="0"/>
              <a:buChar char="•"/>
            </a:pPr>
            <a:r>
              <a:rPr lang="en" sz="1400">
                <a:solidFill>
                  <a:schemeClr val="lt1"/>
                </a:solidFill>
                <a:latin typeface="Source Sans Pro"/>
                <a:ea typeface="Source Sans Pro"/>
                <a:cs typeface="Source Sans Pro"/>
              </a:rPr>
              <a:t>Incentivize Customer Reviews</a:t>
            </a:r>
          </a:p>
          <a:p>
            <a:pPr lvl="0" rtl="0">
              <a:lnSpc>
                <a:spcPct val="100000"/>
              </a:lnSpc>
              <a:spcBef>
                <a:spcPts val="0"/>
              </a:spcBef>
              <a:spcAft>
                <a:spcPts val="0"/>
              </a:spcAft>
            </a:pPr>
            <a:endParaRPr lang="en" sz="500">
              <a:solidFill>
                <a:schemeClr val="lt1"/>
              </a:solidFill>
              <a:latin typeface="Source Sans Pro"/>
              <a:ea typeface="Source Sans Pro"/>
              <a:cs typeface="Source Sans Pro"/>
            </a:endParaRPr>
          </a:p>
          <a:p>
            <a:pPr marL="285750" lvl="0" indent="-285750" rtl="0">
              <a:lnSpc>
                <a:spcPct val="100000"/>
              </a:lnSpc>
              <a:spcBef>
                <a:spcPts val="0"/>
              </a:spcBef>
              <a:spcAft>
                <a:spcPts val="0"/>
              </a:spcAft>
              <a:buFont typeface="Arial" panose="020B0604020202020204" pitchFamily="34" charset="0"/>
              <a:buChar char="•"/>
            </a:pPr>
            <a:r>
              <a:rPr lang="en" sz="1400">
                <a:solidFill>
                  <a:schemeClr val="lt1"/>
                </a:solidFill>
                <a:latin typeface="Source Sans Pro"/>
                <a:ea typeface="Source Sans Pro"/>
                <a:cs typeface="Source Sans Pro"/>
              </a:rPr>
              <a:t>Review warrenty &amp; return policies</a:t>
            </a:r>
          </a:p>
        </p:txBody>
      </p:sp>
      <p:sp>
        <p:nvSpPr>
          <p:cNvPr id="1026" name="Google Shape;1026;p41"/>
          <p:cNvSpPr txBox="1"/>
          <p:nvPr/>
        </p:nvSpPr>
        <p:spPr>
          <a:xfrm>
            <a:off x="691954" y="882599"/>
            <a:ext cx="3566903" cy="222357"/>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800">
                <a:solidFill>
                  <a:srgbClr val="FFFFFF"/>
                </a:solidFill>
                <a:latin typeface="Hammersmith One"/>
                <a:ea typeface="Hammersmith One"/>
                <a:cs typeface="Hammersmith One"/>
                <a:sym typeface="Hammersmith One"/>
              </a:rPr>
              <a:t>Website Redesign &amp; Reliability </a:t>
            </a:r>
            <a:endParaRPr sz="1800">
              <a:solidFill>
                <a:srgbClr val="FFFFFF"/>
              </a:solidFill>
              <a:latin typeface="Hammersmith One"/>
              <a:ea typeface="Hammersmith One"/>
              <a:cs typeface="Hammersmith One"/>
              <a:sym typeface="Hammersmith One"/>
            </a:endParaRPr>
          </a:p>
        </p:txBody>
      </p:sp>
      <p:sp>
        <p:nvSpPr>
          <p:cNvPr id="1027" name="Google Shape;1027;p41"/>
          <p:cNvSpPr txBox="1"/>
          <p:nvPr/>
        </p:nvSpPr>
        <p:spPr>
          <a:xfrm>
            <a:off x="5922310" y="886590"/>
            <a:ext cx="2362707" cy="2244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a:solidFill>
                  <a:schemeClr val="lt1"/>
                </a:solidFill>
                <a:latin typeface="Hammersmith One"/>
                <a:ea typeface="Hammersmith One"/>
                <a:cs typeface="Hammersmith One"/>
                <a:sym typeface="Hammersmith One"/>
              </a:rPr>
              <a:t>Reminder Initiative</a:t>
            </a:r>
            <a:endParaRPr sz="1800">
              <a:solidFill>
                <a:schemeClr val="lt1"/>
              </a:solidFill>
              <a:latin typeface="Hammersmith One"/>
              <a:ea typeface="Hammersmith One"/>
              <a:cs typeface="Hammersmith One"/>
              <a:sym typeface="Hammersmith One"/>
            </a:endParaRPr>
          </a:p>
        </p:txBody>
      </p:sp>
      <p:sp>
        <p:nvSpPr>
          <p:cNvPr id="1028" name="Google Shape;1028;p41"/>
          <p:cNvSpPr/>
          <p:nvPr/>
        </p:nvSpPr>
        <p:spPr>
          <a:xfrm>
            <a:off x="3422823" y="4349867"/>
            <a:ext cx="2597056" cy="177868"/>
          </a:xfrm>
          <a:custGeom>
            <a:avLst/>
            <a:gdLst/>
            <a:ahLst/>
            <a:cxnLst/>
            <a:rect l="l" t="t" r="r" b="b"/>
            <a:pathLst>
              <a:path w="161716" h="9441" extrusionOk="0">
                <a:moveTo>
                  <a:pt x="80858" y="1"/>
                </a:moveTo>
                <a:cubicBezTo>
                  <a:pt x="36193" y="1"/>
                  <a:pt x="0" y="2136"/>
                  <a:pt x="0" y="4738"/>
                </a:cubicBezTo>
                <a:cubicBezTo>
                  <a:pt x="0" y="7339"/>
                  <a:pt x="36193" y="9441"/>
                  <a:pt x="80858" y="9441"/>
                </a:cubicBezTo>
                <a:cubicBezTo>
                  <a:pt x="125523" y="9441"/>
                  <a:pt x="161716" y="7339"/>
                  <a:pt x="161716" y="4738"/>
                </a:cubicBezTo>
                <a:cubicBezTo>
                  <a:pt x="161716" y="2136"/>
                  <a:pt x="125523" y="1"/>
                  <a:pt x="80858" y="1"/>
                </a:cubicBezTo>
                <a:close/>
              </a:path>
            </a:pathLst>
          </a:custGeom>
          <a:solidFill>
            <a:srgbClr val="F5F5F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29" name="Google Shape;1029;p41"/>
          <p:cNvGrpSpPr/>
          <p:nvPr/>
        </p:nvGrpSpPr>
        <p:grpSpPr>
          <a:xfrm>
            <a:off x="3222390" y="1368122"/>
            <a:ext cx="1738209" cy="3102605"/>
            <a:chOff x="4765234" y="1949077"/>
            <a:chExt cx="1484254" cy="2649778"/>
          </a:xfrm>
        </p:grpSpPr>
        <p:sp>
          <p:nvSpPr>
            <p:cNvPr id="1030" name="Google Shape;1030;p41"/>
            <p:cNvSpPr/>
            <p:nvPr/>
          </p:nvSpPr>
          <p:spPr>
            <a:xfrm>
              <a:off x="5959077" y="4450147"/>
              <a:ext cx="290411" cy="2124"/>
            </a:xfrm>
            <a:custGeom>
              <a:avLst/>
              <a:gdLst/>
              <a:ahLst/>
              <a:cxnLst/>
              <a:rect l="l" t="t" r="r" b="b"/>
              <a:pathLst>
                <a:path w="13811" h="101" extrusionOk="0">
                  <a:moveTo>
                    <a:pt x="1" y="0"/>
                  </a:moveTo>
                  <a:lnTo>
                    <a:pt x="1" y="100"/>
                  </a:lnTo>
                  <a:lnTo>
                    <a:pt x="13811" y="100"/>
                  </a:lnTo>
                  <a:lnTo>
                    <a:pt x="13811" y="0"/>
                  </a:lnTo>
                  <a:close/>
                </a:path>
              </a:pathLst>
            </a:custGeom>
            <a:solidFill>
              <a:srgbClr val="EBEBE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 name="Google Shape;1031;p41"/>
            <p:cNvSpPr/>
            <p:nvPr/>
          </p:nvSpPr>
          <p:spPr>
            <a:xfrm>
              <a:off x="5132803" y="4473993"/>
              <a:ext cx="75762" cy="2124"/>
            </a:xfrm>
            <a:custGeom>
              <a:avLst/>
              <a:gdLst/>
              <a:ahLst/>
              <a:cxnLst/>
              <a:rect l="l" t="t" r="r" b="b"/>
              <a:pathLst>
                <a:path w="3603" h="101" extrusionOk="0">
                  <a:moveTo>
                    <a:pt x="0" y="0"/>
                  </a:moveTo>
                  <a:lnTo>
                    <a:pt x="0" y="100"/>
                  </a:lnTo>
                  <a:lnTo>
                    <a:pt x="3603" y="100"/>
                  </a:lnTo>
                  <a:lnTo>
                    <a:pt x="3603" y="0"/>
                  </a:lnTo>
                  <a:close/>
                </a:path>
              </a:pathLst>
            </a:custGeom>
            <a:solidFill>
              <a:srgbClr val="EBEBE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 name="Google Shape;1032;p41"/>
            <p:cNvSpPr/>
            <p:nvPr/>
          </p:nvSpPr>
          <p:spPr>
            <a:xfrm>
              <a:off x="5781621" y="4368769"/>
              <a:ext cx="168367" cy="2124"/>
            </a:xfrm>
            <a:custGeom>
              <a:avLst/>
              <a:gdLst/>
              <a:ahLst/>
              <a:cxnLst/>
              <a:rect l="l" t="t" r="r" b="b"/>
              <a:pathLst>
                <a:path w="8007" h="101" extrusionOk="0">
                  <a:moveTo>
                    <a:pt x="0" y="1"/>
                  </a:moveTo>
                  <a:lnTo>
                    <a:pt x="0" y="101"/>
                  </a:lnTo>
                  <a:lnTo>
                    <a:pt x="8006" y="101"/>
                  </a:lnTo>
                  <a:lnTo>
                    <a:pt x="8006" y="1"/>
                  </a:lnTo>
                  <a:close/>
                </a:path>
              </a:pathLst>
            </a:custGeom>
            <a:solidFill>
              <a:srgbClr val="EBEBE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 name="Google Shape;1033;p41"/>
            <p:cNvSpPr/>
            <p:nvPr/>
          </p:nvSpPr>
          <p:spPr>
            <a:xfrm>
              <a:off x="5104037" y="2676204"/>
              <a:ext cx="25275" cy="24581"/>
            </a:xfrm>
            <a:custGeom>
              <a:avLst/>
              <a:gdLst/>
              <a:ahLst/>
              <a:cxnLst/>
              <a:rect l="l" t="t" r="r" b="b"/>
              <a:pathLst>
                <a:path w="1202" h="1169" extrusionOk="0">
                  <a:moveTo>
                    <a:pt x="0" y="1"/>
                  </a:moveTo>
                  <a:lnTo>
                    <a:pt x="0" y="1168"/>
                  </a:lnTo>
                  <a:lnTo>
                    <a:pt x="1201" y="1168"/>
                  </a:lnTo>
                  <a:lnTo>
                    <a:pt x="1201"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 name="Google Shape;1034;p41"/>
            <p:cNvSpPr/>
            <p:nvPr/>
          </p:nvSpPr>
          <p:spPr>
            <a:xfrm>
              <a:off x="5880516" y="3009393"/>
              <a:ext cx="24581" cy="24581"/>
            </a:xfrm>
            <a:custGeom>
              <a:avLst/>
              <a:gdLst/>
              <a:ahLst/>
              <a:cxnLst/>
              <a:rect l="l" t="t" r="r" b="b"/>
              <a:pathLst>
                <a:path w="1169" h="1169" extrusionOk="0">
                  <a:moveTo>
                    <a:pt x="1" y="1"/>
                  </a:moveTo>
                  <a:lnTo>
                    <a:pt x="1" y="1168"/>
                  </a:lnTo>
                  <a:lnTo>
                    <a:pt x="1168" y="1168"/>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 name="Google Shape;1035;p41"/>
            <p:cNvSpPr/>
            <p:nvPr/>
          </p:nvSpPr>
          <p:spPr>
            <a:xfrm>
              <a:off x="5880516" y="3050776"/>
              <a:ext cx="24581" cy="24581"/>
            </a:xfrm>
            <a:custGeom>
              <a:avLst/>
              <a:gdLst/>
              <a:ahLst/>
              <a:cxnLst/>
              <a:rect l="l" t="t" r="r" b="b"/>
              <a:pathLst>
                <a:path w="1169" h="1169" extrusionOk="0">
                  <a:moveTo>
                    <a:pt x="1" y="1"/>
                  </a:moveTo>
                  <a:lnTo>
                    <a:pt x="1" y="1168"/>
                  </a:lnTo>
                  <a:lnTo>
                    <a:pt x="1168" y="1168"/>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 name="Google Shape;1036;p41"/>
            <p:cNvSpPr/>
            <p:nvPr/>
          </p:nvSpPr>
          <p:spPr>
            <a:xfrm>
              <a:off x="5840542" y="3009393"/>
              <a:ext cx="25275" cy="24581"/>
            </a:xfrm>
            <a:custGeom>
              <a:avLst/>
              <a:gdLst/>
              <a:ahLst/>
              <a:cxnLst/>
              <a:rect l="l" t="t" r="r" b="b"/>
              <a:pathLst>
                <a:path w="1202" h="1169" extrusionOk="0">
                  <a:moveTo>
                    <a:pt x="0" y="1"/>
                  </a:moveTo>
                  <a:lnTo>
                    <a:pt x="0" y="1168"/>
                  </a:lnTo>
                  <a:lnTo>
                    <a:pt x="1201" y="1168"/>
                  </a:lnTo>
                  <a:lnTo>
                    <a:pt x="1201"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 name="Google Shape;1037;p41"/>
            <p:cNvSpPr/>
            <p:nvPr/>
          </p:nvSpPr>
          <p:spPr>
            <a:xfrm>
              <a:off x="5840542" y="3050776"/>
              <a:ext cx="25275" cy="24581"/>
            </a:xfrm>
            <a:custGeom>
              <a:avLst/>
              <a:gdLst/>
              <a:ahLst/>
              <a:cxnLst/>
              <a:rect l="l" t="t" r="r" b="b"/>
              <a:pathLst>
                <a:path w="1202" h="1169" extrusionOk="0">
                  <a:moveTo>
                    <a:pt x="0" y="1"/>
                  </a:moveTo>
                  <a:lnTo>
                    <a:pt x="0" y="1168"/>
                  </a:lnTo>
                  <a:lnTo>
                    <a:pt x="1201" y="1168"/>
                  </a:lnTo>
                  <a:lnTo>
                    <a:pt x="1201"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 name="Google Shape;1038;p41"/>
            <p:cNvSpPr/>
            <p:nvPr/>
          </p:nvSpPr>
          <p:spPr>
            <a:xfrm>
              <a:off x="5840542" y="3092159"/>
              <a:ext cx="25275" cy="25275"/>
            </a:xfrm>
            <a:custGeom>
              <a:avLst/>
              <a:gdLst/>
              <a:ahLst/>
              <a:cxnLst/>
              <a:rect l="l" t="t" r="r" b="b"/>
              <a:pathLst>
                <a:path w="1202" h="1202" extrusionOk="0">
                  <a:moveTo>
                    <a:pt x="0" y="1"/>
                  </a:moveTo>
                  <a:lnTo>
                    <a:pt x="0" y="1202"/>
                  </a:lnTo>
                  <a:lnTo>
                    <a:pt x="1201" y="1202"/>
                  </a:lnTo>
                  <a:lnTo>
                    <a:pt x="1201"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 name="Google Shape;1039;p41"/>
            <p:cNvSpPr/>
            <p:nvPr/>
          </p:nvSpPr>
          <p:spPr>
            <a:xfrm>
              <a:off x="5801262" y="3009393"/>
              <a:ext cx="24560" cy="24581"/>
            </a:xfrm>
            <a:custGeom>
              <a:avLst/>
              <a:gdLst/>
              <a:ahLst/>
              <a:cxnLst/>
              <a:rect l="l" t="t" r="r" b="b"/>
              <a:pathLst>
                <a:path w="1168" h="1169" extrusionOk="0">
                  <a:moveTo>
                    <a:pt x="0" y="1"/>
                  </a:moveTo>
                  <a:lnTo>
                    <a:pt x="0" y="1168"/>
                  </a:lnTo>
                  <a:lnTo>
                    <a:pt x="1168" y="1168"/>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 name="Google Shape;1040;p41"/>
            <p:cNvSpPr/>
            <p:nvPr/>
          </p:nvSpPr>
          <p:spPr>
            <a:xfrm>
              <a:off x="5801262" y="3050776"/>
              <a:ext cx="24560" cy="24581"/>
            </a:xfrm>
            <a:custGeom>
              <a:avLst/>
              <a:gdLst/>
              <a:ahLst/>
              <a:cxnLst/>
              <a:rect l="l" t="t" r="r" b="b"/>
              <a:pathLst>
                <a:path w="1168" h="1169" extrusionOk="0">
                  <a:moveTo>
                    <a:pt x="0" y="1"/>
                  </a:moveTo>
                  <a:lnTo>
                    <a:pt x="0" y="1168"/>
                  </a:lnTo>
                  <a:lnTo>
                    <a:pt x="1168" y="1168"/>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 name="Google Shape;1041;p41"/>
            <p:cNvSpPr/>
            <p:nvPr/>
          </p:nvSpPr>
          <p:spPr>
            <a:xfrm>
              <a:off x="5801262" y="3092159"/>
              <a:ext cx="24560" cy="25275"/>
            </a:xfrm>
            <a:custGeom>
              <a:avLst/>
              <a:gdLst/>
              <a:ahLst/>
              <a:cxnLst/>
              <a:rect l="l" t="t" r="r" b="b"/>
              <a:pathLst>
                <a:path w="1168" h="1202" extrusionOk="0">
                  <a:moveTo>
                    <a:pt x="0" y="1"/>
                  </a:moveTo>
                  <a:lnTo>
                    <a:pt x="0" y="1202"/>
                  </a:lnTo>
                  <a:lnTo>
                    <a:pt x="1168" y="1202"/>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 name="Google Shape;1042;p41"/>
            <p:cNvSpPr/>
            <p:nvPr/>
          </p:nvSpPr>
          <p:spPr>
            <a:xfrm>
              <a:off x="5801262" y="3134257"/>
              <a:ext cx="24560" cy="24560"/>
            </a:xfrm>
            <a:custGeom>
              <a:avLst/>
              <a:gdLst/>
              <a:ahLst/>
              <a:cxnLst/>
              <a:rect l="l" t="t" r="r" b="b"/>
              <a:pathLst>
                <a:path w="1168" h="1168" extrusionOk="0">
                  <a:moveTo>
                    <a:pt x="0" y="0"/>
                  </a:moveTo>
                  <a:lnTo>
                    <a:pt x="0" y="1168"/>
                  </a:lnTo>
                  <a:lnTo>
                    <a:pt x="1168" y="1168"/>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 name="Google Shape;1043;p41"/>
            <p:cNvSpPr/>
            <p:nvPr/>
          </p:nvSpPr>
          <p:spPr>
            <a:xfrm>
              <a:off x="5801262" y="3175640"/>
              <a:ext cx="24560" cy="25275"/>
            </a:xfrm>
            <a:custGeom>
              <a:avLst/>
              <a:gdLst/>
              <a:ahLst/>
              <a:cxnLst/>
              <a:rect l="l" t="t" r="r" b="b"/>
              <a:pathLst>
                <a:path w="1168" h="1202" extrusionOk="0">
                  <a:moveTo>
                    <a:pt x="0" y="0"/>
                  </a:moveTo>
                  <a:lnTo>
                    <a:pt x="0" y="1201"/>
                  </a:lnTo>
                  <a:lnTo>
                    <a:pt x="1168" y="1201"/>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 name="Google Shape;1044;p41"/>
            <p:cNvSpPr/>
            <p:nvPr/>
          </p:nvSpPr>
          <p:spPr>
            <a:xfrm>
              <a:off x="5801262" y="3217717"/>
              <a:ext cx="24560" cy="24581"/>
            </a:xfrm>
            <a:custGeom>
              <a:avLst/>
              <a:gdLst/>
              <a:ahLst/>
              <a:cxnLst/>
              <a:rect l="l" t="t" r="r" b="b"/>
              <a:pathLst>
                <a:path w="1168" h="1169" extrusionOk="0">
                  <a:moveTo>
                    <a:pt x="0" y="1"/>
                  </a:moveTo>
                  <a:lnTo>
                    <a:pt x="0" y="1168"/>
                  </a:lnTo>
                  <a:lnTo>
                    <a:pt x="1168" y="1168"/>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 name="Google Shape;1045;p41"/>
            <p:cNvSpPr/>
            <p:nvPr/>
          </p:nvSpPr>
          <p:spPr>
            <a:xfrm>
              <a:off x="5801262" y="3259100"/>
              <a:ext cx="24560" cy="24581"/>
            </a:xfrm>
            <a:custGeom>
              <a:avLst/>
              <a:gdLst/>
              <a:ahLst/>
              <a:cxnLst/>
              <a:rect l="l" t="t" r="r" b="b"/>
              <a:pathLst>
                <a:path w="1168" h="1169" extrusionOk="0">
                  <a:moveTo>
                    <a:pt x="0" y="1"/>
                  </a:moveTo>
                  <a:lnTo>
                    <a:pt x="0" y="1168"/>
                  </a:lnTo>
                  <a:lnTo>
                    <a:pt x="1168" y="1168"/>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 name="Google Shape;1046;p41"/>
            <p:cNvSpPr/>
            <p:nvPr/>
          </p:nvSpPr>
          <p:spPr>
            <a:xfrm>
              <a:off x="5801262" y="3300483"/>
              <a:ext cx="24560" cy="25275"/>
            </a:xfrm>
            <a:custGeom>
              <a:avLst/>
              <a:gdLst/>
              <a:ahLst/>
              <a:cxnLst/>
              <a:rect l="l" t="t" r="r" b="b"/>
              <a:pathLst>
                <a:path w="1168" h="1202" extrusionOk="0">
                  <a:moveTo>
                    <a:pt x="0" y="1"/>
                  </a:moveTo>
                  <a:lnTo>
                    <a:pt x="0" y="1202"/>
                  </a:lnTo>
                  <a:lnTo>
                    <a:pt x="1168" y="1202"/>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 name="Google Shape;1047;p41"/>
            <p:cNvSpPr/>
            <p:nvPr/>
          </p:nvSpPr>
          <p:spPr>
            <a:xfrm>
              <a:off x="5801262" y="3342581"/>
              <a:ext cx="24560" cy="24560"/>
            </a:xfrm>
            <a:custGeom>
              <a:avLst/>
              <a:gdLst/>
              <a:ahLst/>
              <a:cxnLst/>
              <a:rect l="l" t="t" r="r" b="b"/>
              <a:pathLst>
                <a:path w="1168" h="1168" extrusionOk="0">
                  <a:moveTo>
                    <a:pt x="0" y="0"/>
                  </a:moveTo>
                  <a:lnTo>
                    <a:pt x="0" y="1168"/>
                  </a:lnTo>
                  <a:lnTo>
                    <a:pt x="1168" y="1168"/>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 name="Google Shape;1048;p41"/>
            <p:cNvSpPr/>
            <p:nvPr/>
          </p:nvSpPr>
          <p:spPr>
            <a:xfrm>
              <a:off x="5801262" y="3383965"/>
              <a:ext cx="24560" cy="25275"/>
            </a:xfrm>
            <a:custGeom>
              <a:avLst/>
              <a:gdLst/>
              <a:ahLst/>
              <a:cxnLst/>
              <a:rect l="l" t="t" r="r" b="b"/>
              <a:pathLst>
                <a:path w="1168" h="1202" extrusionOk="0">
                  <a:moveTo>
                    <a:pt x="0" y="0"/>
                  </a:moveTo>
                  <a:lnTo>
                    <a:pt x="0" y="1201"/>
                  </a:lnTo>
                  <a:lnTo>
                    <a:pt x="1168" y="1201"/>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 name="Google Shape;1049;p41"/>
            <p:cNvSpPr/>
            <p:nvPr/>
          </p:nvSpPr>
          <p:spPr>
            <a:xfrm>
              <a:off x="5801262" y="3426042"/>
              <a:ext cx="24560" cy="24581"/>
            </a:xfrm>
            <a:custGeom>
              <a:avLst/>
              <a:gdLst/>
              <a:ahLst/>
              <a:cxnLst/>
              <a:rect l="l" t="t" r="r" b="b"/>
              <a:pathLst>
                <a:path w="1168" h="1169" extrusionOk="0">
                  <a:moveTo>
                    <a:pt x="0" y="1"/>
                  </a:moveTo>
                  <a:lnTo>
                    <a:pt x="0" y="1168"/>
                  </a:lnTo>
                  <a:lnTo>
                    <a:pt x="1168" y="1168"/>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 name="Google Shape;1050;p41"/>
            <p:cNvSpPr/>
            <p:nvPr/>
          </p:nvSpPr>
          <p:spPr>
            <a:xfrm>
              <a:off x="5801262" y="3467425"/>
              <a:ext cx="24560" cy="24581"/>
            </a:xfrm>
            <a:custGeom>
              <a:avLst/>
              <a:gdLst/>
              <a:ahLst/>
              <a:cxnLst/>
              <a:rect l="l" t="t" r="r" b="b"/>
              <a:pathLst>
                <a:path w="1168" h="1169" extrusionOk="0">
                  <a:moveTo>
                    <a:pt x="0" y="1"/>
                  </a:moveTo>
                  <a:lnTo>
                    <a:pt x="0" y="1168"/>
                  </a:lnTo>
                  <a:lnTo>
                    <a:pt x="1168" y="1168"/>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 name="Google Shape;1051;p41"/>
            <p:cNvSpPr/>
            <p:nvPr/>
          </p:nvSpPr>
          <p:spPr>
            <a:xfrm>
              <a:off x="5801262" y="3508808"/>
              <a:ext cx="24560" cy="25275"/>
            </a:xfrm>
            <a:custGeom>
              <a:avLst/>
              <a:gdLst/>
              <a:ahLst/>
              <a:cxnLst/>
              <a:rect l="l" t="t" r="r" b="b"/>
              <a:pathLst>
                <a:path w="1168" h="1202" extrusionOk="0">
                  <a:moveTo>
                    <a:pt x="0" y="1"/>
                  </a:moveTo>
                  <a:lnTo>
                    <a:pt x="0" y="1202"/>
                  </a:lnTo>
                  <a:lnTo>
                    <a:pt x="1168" y="1202"/>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 name="Google Shape;1052;p41"/>
            <p:cNvSpPr/>
            <p:nvPr/>
          </p:nvSpPr>
          <p:spPr>
            <a:xfrm>
              <a:off x="5801262" y="3550906"/>
              <a:ext cx="24560" cy="24560"/>
            </a:xfrm>
            <a:custGeom>
              <a:avLst/>
              <a:gdLst/>
              <a:ahLst/>
              <a:cxnLst/>
              <a:rect l="l" t="t" r="r" b="b"/>
              <a:pathLst>
                <a:path w="1168" h="1168" extrusionOk="0">
                  <a:moveTo>
                    <a:pt x="0" y="0"/>
                  </a:moveTo>
                  <a:lnTo>
                    <a:pt x="0" y="1168"/>
                  </a:lnTo>
                  <a:lnTo>
                    <a:pt x="1168" y="1168"/>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 name="Google Shape;1053;p41"/>
            <p:cNvSpPr/>
            <p:nvPr/>
          </p:nvSpPr>
          <p:spPr>
            <a:xfrm>
              <a:off x="5801262" y="3592289"/>
              <a:ext cx="24560" cy="24560"/>
            </a:xfrm>
            <a:custGeom>
              <a:avLst/>
              <a:gdLst/>
              <a:ahLst/>
              <a:cxnLst/>
              <a:rect l="l" t="t" r="r" b="b"/>
              <a:pathLst>
                <a:path w="1168" h="1168" extrusionOk="0">
                  <a:moveTo>
                    <a:pt x="0" y="0"/>
                  </a:moveTo>
                  <a:lnTo>
                    <a:pt x="0" y="1168"/>
                  </a:lnTo>
                  <a:lnTo>
                    <a:pt x="1168" y="1168"/>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 name="Google Shape;1054;p41"/>
            <p:cNvSpPr/>
            <p:nvPr/>
          </p:nvSpPr>
          <p:spPr>
            <a:xfrm>
              <a:off x="5801262" y="3633672"/>
              <a:ext cx="24560" cy="25275"/>
            </a:xfrm>
            <a:custGeom>
              <a:avLst/>
              <a:gdLst/>
              <a:ahLst/>
              <a:cxnLst/>
              <a:rect l="l" t="t" r="r" b="b"/>
              <a:pathLst>
                <a:path w="1168" h="1202" extrusionOk="0">
                  <a:moveTo>
                    <a:pt x="0" y="0"/>
                  </a:moveTo>
                  <a:lnTo>
                    <a:pt x="0" y="1201"/>
                  </a:lnTo>
                  <a:lnTo>
                    <a:pt x="1168" y="1201"/>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 name="Google Shape;1055;p41"/>
            <p:cNvSpPr/>
            <p:nvPr/>
          </p:nvSpPr>
          <p:spPr>
            <a:xfrm>
              <a:off x="5801262" y="3675749"/>
              <a:ext cx="24560" cy="24581"/>
            </a:xfrm>
            <a:custGeom>
              <a:avLst/>
              <a:gdLst/>
              <a:ahLst/>
              <a:cxnLst/>
              <a:rect l="l" t="t" r="r" b="b"/>
              <a:pathLst>
                <a:path w="1168" h="1169" extrusionOk="0">
                  <a:moveTo>
                    <a:pt x="0" y="1"/>
                  </a:moveTo>
                  <a:lnTo>
                    <a:pt x="0" y="1168"/>
                  </a:lnTo>
                  <a:lnTo>
                    <a:pt x="1168" y="1168"/>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 name="Google Shape;1056;p41"/>
            <p:cNvSpPr/>
            <p:nvPr/>
          </p:nvSpPr>
          <p:spPr>
            <a:xfrm>
              <a:off x="5801262" y="3717132"/>
              <a:ext cx="24560" cy="25275"/>
            </a:xfrm>
            <a:custGeom>
              <a:avLst/>
              <a:gdLst/>
              <a:ahLst/>
              <a:cxnLst/>
              <a:rect l="l" t="t" r="r" b="b"/>
              <a:pathLst>
                <a:path w="1168" h="1202" extrusionOk="0">
                  <a:moveTo>
                    <a:pt x="0" y="1"/>
                  </a:moveTo>
                  <a:lnTo>
                    <a:pt x="0" y="1202"/>
                  </a:lnTo>
                  <a:lnTo>
                    <a:pt x="1168" y="1202"/>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 name="Google Shape;1057;p41"/>
            <p:cNvSpPr/>
            <p:nvPr/>
          </p:nvSpPr>
          <p:spPr>
            <a:xfrm>
              <a:off x="5729703" y="3325738"/>
              <a:ext cx="24581" cy="24581"/>
            </a:xfrm>
            <a:custGeom>
              <a:avLst/>
              <a:gdLst/>
              <a:ahLst/>
              <a:cxnLst/>
              <a:rect l="l" t="t" r="r" b="b"/>
              <a:pathLst>
                <a:path w="1169" h="1169" extrusionOk="0">
                  <a:moveTo>
                    <a:pt x="1" y="1"/>
                  </a:moveTo>
                  <a:lnTo>
                    <a:pt x="1" y="1168"/>
                  </a:lnTo>
                  <a:lnTo>
                    <a:pt x="1168" y="1168"/>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 name="Google Shape;1058;p41"/>
            <p:cNvSpPr/>
            <p:nvPr/>
          </p:nvSpPr>
          <p:spPr>
            <a:xfrm>
              <a:off x="5729703" y="3367121"/>
              <a:ext cx="24581" cy="25275"/>
            </a:xfrm>
            <a:custGeom>
              <a:avLst/>
              <a:gdLst/>
              <a:ahLst/>
              <a:cxnLst/>
              <a:rect l="l" t="t" r="r" b="b"/>
              <a:pathLst>
                <a:path w="1169" h="1202" extrusionOk="0">
                  <a:moveTo>
                    <a:pt x="1" y="1"/>
                  </a:moveTo>
                  <a:lnTo>
                    <a:pt x="1" y="1202"/>
                  </a:lnTo>
                  <a:lnTo>
                    <a:pt x="1168" y="1202"/>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 name="Google Shape;1059;p41"/>
            <p:cNvSpPr/>
            <p:nvPr/>
          </p:nvSpPr>
          <p:spPr>
            <a:xfrm>
              <a:off x="5729703" y="3409219"/>
              <a:ext cx="24581" cy="24560"/>
            </a:xfrm>
            <a:custGeom>
              <a:avLst/>
              <a:gdLst/>
              <a:ahLst/>
              <a:cxnLst/>
              <a:rect l="l" t="t" r="r" b="b"/>
              <a:pathLst>
                <a:path w="1169" h="1168" extrusionOk="0">
                  <a:moveTo>
                    <a:pt x="1" y="0"/>
                  </a:moveTo>
                  <a:lnTo>
                    <a:pt x="1" y="1168"/>
                  </a:lnTo>
                  <a:lnTo>
                    <a:pt x="1168" y="1168"/>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 name="Google Shape;1060;p41"/>
            <p:cNvSpPr/>
            <p:nvPr/>
          </p:nvSpPr>
          <p:spPr>
            <a:xfrm>
              <a:off x="5729703" y="3450602"/>
              <a:ext cx="24581" cy="24560"/>
            </a:xfrm>
            <a:custGeom>
              <a:avLst/>
              <a:gdLst/>
              <a:ahLst/>
              <a:cxnLst/>
              <a:rect l="l" t="t" r="r" b="b"/>
              <a:pathLst>
                <a:path w="1169" h="1168" extrusionOk="0">
                  <a:moveTo>
                    <a:pt x="1" y="0"/>
                  </a:moveTo>
                  <a:lnTo>
                    <a:pt x="1" y="1168"/>
                  </a:lnTo>
                  <a:lnTo>
                    <a:pt x="1168" y="1168"/>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 name="Google Shape;1061;p41"/>
            <p:cNvSpPr/>
            <p:nvPr/>
          </p:nvSpPr>
          <p:spPr>
            <a:xfrm>
              <a:off x="5729703" y="3491985"/>
              <a:ext cx="24581" cy="25275"/>
            </a:xfrm>
            <a:custGeom>
              <a:avLst/>
              <a:gdLst/>
              <a:ahLst/>
              <a:cxnLst/>
              <a:rect l="l" t="t" r="r" b="b"/>
              <a:pathLst>
                <a:path w="1169" h="1202" extrusionOk="0">
                  <a:moveTo>
                    <a:pt x="1" y="0"/>
                  </a:moveTo>
                  <a:lnTo>
                    <a:pt x="1" y="1201"/>
                  </a:lnTo>
                  <a:lnTo>
                    <a:pt x="1168" y="1201"/>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2" name="Google Shape;1062;p41"/>
            <p:cNvSpPr/>
            <p:nvPr/>
          </p:nvSpPr>
          <p:spPr>
            <a:xfrm>
              <a:off x="5729703" y="3534062"/>
              <a:ext cx="24581" cy="24581"/>
            </a:xfrm>
            <a:custGeom>
              <a:avLst/>
              <a:gdLst/>
              <a:ahLst/>
              <a:cxnLst/>
              <a:rect l="l" t="t" r="r" b="b"/>
              <a:pathLst>
                <a:path w="1169" h="1169" extrusionOk="0">
                  <a:moveTo>
                    <a:pt x="1" y="1"/>
                  </a:moveTo>
                  <a:lnTo>
                    <a:pt x="1" y="1168"/>
                  </a:lnTo>
                  <a:lnTo>
                    <a:pt x="1168" y="1168"/>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 name="Google Shape;1063;p41"/>
            <p:cNvSpPr/>
            <p:nvPr/>
          </p:nvSpPr>
          <p:spPr>
            <a:xfrm>
              <a:off x="5729703" y="3575445"/>
              <a:ext cx="24581" cy="24581"/>
            </a:xfrm>
            <a:custGeom>
              <a:avLst/>
              <a:gdLst/>
              <a:ahLst/>
              <a:cxnLst/>
              <a:rect l="l" t="t" r="r" b="b"/>
              <a:pathLst>
                <a:path w="1169" h="1169" extrusionOk="0">
                  <a:moveTo>
                    <a:pt x="1" y="1"/>
                  </a:moveTo>
                  <a:lnTo>
                    <a:pt x="1" y="1168"/>
                  </a:lnTo>
                  <a:lnTo>
                    <a:pt x="1168" y="1168"/>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 name="Google Shape;1064;p41"/>
            <p:cNvSpPr/>
            <p:nvPr/>
          </p:nvSpPr>
          <p:spPr>
            <a:xfrm>
              <a:off x="5729703" y="3616829"/>
              <a:ext cx="24581" cy="25275"/>
            </a:xfrm>
            <a:custGeom>
              <a:avLst/>
              <a:gdLst/>
              <a:ahLst/>
              <a:cxnLst/>
              <a:rect l="l" t="t" r="r" b="b"/>
              <a:pathLst>
                <a:path w="1169" h="1202" extrusionOk="0">
                  <a:moveTo>
                    <a:pt x="1" y="1"/>
                  </a:moveTo>
                  <a:lnTo>
                    <a:pt x="1" y="1202"/>
                  </a:lnTo>
                  <a:lnTo>
                    <a:pt x="1168" y="1202"/>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 name="Google Shape;1065;p41"/>
            <p:cNvSpPr/>
            <p:nvPr/>
          </p:nvSpPr>
          <p:spPr>
            <a:xfrm>
              <a:off x="5729703" y="3658927"/>
              <a:ext cx="24581" cy="24560"/>
            </a:xfrm>
            <a:custGeom>
              <a:avLst/>
              <a:gdLst/>
              <a:ahLst/>
              <a:cxnLst/>
              <a:rect l="l" t="t" r="r" b="b"/>
              <a:pathLst>
                <a:path w="1169" h="1168" extrusionOk="0">
                  <a:moveTo>
                    <a:pt x="1" y="0"/>
                  </a:moveTo>
                  <a:lnTo>
                    <a:pt x="1" y="1168"/>
                  </a:lnTo>
                  <a:lnTo>
                    <a:pt x="1168" y="1168"/>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 name="Google Shape;1066;p41"/>
            <p:cNvSpPr/>
            <p:nvPr/>
          </p:nvSpPr>
          <p:spPr>
            <a:xfrm>
              <a:off x="5729703" y="3700310"/>
              <a:ext cx="24581" cy="25275"/>
            </a:xfrm>
            <a:custGeom>
              <a:avLst/>
              <a:gdLst/>
              <a:ahLst/>
              <a:cxnLst/>
              <a:rect l="l" t="t" r="r" b="b"/>
              <a:pathLst>
                <a:path w="1169" h="1202" extrusionOk="0">
                  <a:moveTo>
                    <a:pt x="1" y="0"/>
                  </a:moveTo>
                  <a:lnTo>
                    <a:pt x="1" y="1201"/>
                  </a:lnTo>
                  <a:lnTo>
                    <a:pt x="1168" y="1201"/>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 name="Google Shape;1067;p41"/>
            <p:cNvSpPr/>
            <p:nvPr/>
          </p:nvSpPr>
          <p:spPr>
            <a:xfrm>
              <a:off x="5729703" y="3825174"/>
              <a:ext cx="24581" cy="25254"/>
            </a:xfrm>
            <a:custGeom>
              <a:avLst/>
              <a:gdLst/>
              <a:ahLst/>
              <a:cxnLst/>
              <a:rect l="l" t="t" r="r" b="b"/>
              <a:pathLst>
                <a:path w="1169" h="1201" extrusionOk="0">
                  <a:moveTo>
                    <a:pt x="1" y="0"/>
                  </a:moveTo>
                  <a:lnTo>
                    <a:pt x="1" y="1201"/>
                  </a:lnTo>
                  <a:lnTo>
                    <a:pt x="1168" y="1201"/>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 name="Google Shape;1068;p41"/>
            <p:cNvSpPr/>
            <p:nvPr/>
          </p:nvSpPr>
          <p:spPr>
            <a:xfrm>
              <a:off x="5690423" y="3325738"/>
              <a:ext cx="24581" cy="24581"/>
            </a:xfrm>
            <a:custGeom>
              <a:avLst/>
              <a:gdLst/>
              <a:ahLst/>
              <a:cxnLst/>
              <a:rect l="l" t="t" r="r" b="b"/>
              <a:pathLst>
                <a:path w="1169" h="1169" extrusionOk="0">
                  <a:moveTo>
                    <a:pt x="1" y="1"/>
                  </a:moveTo>
                  <a:lnTo>
                    <a:pt x="1" y="1168"/>
                  </a:lnTo>
                  <a:lnTo>
                    <a:pt x="1168" y="1168"/>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 name="Google Shape;1069;p41"/>
            <p:cNvSpPr/>
            <p:nvPr/>
          </p:nvSpPr>
          <p:spPr>
            <a:xfrm>
              <a:off x="5690423" y="3367121"/>
              <a:ext cx="24581" cy="25275"/>
            </a:xfrm>
            <a:custGeom>
              <a:avLst/>
              <a:gdLst/>
              <a:ahLst/>
              <a:cxnLst/>
              <a:rect l="l" t="t" r="r" b="b"/>
              <a:pathLst>
                <a:path w="1169" h="1202" extrusionOk="0">
                  <a:moveTo>
                    <a:pt x="1" y="1"/>
                  </a:moveTo>
                  <a:lnTo>
                    <a:pt x="1" y="1202"/>
                  </a:lnTo>
                  <a:lnTo>
                    <a:pt x="1168" y="1202"/>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 name="Google Shape;1070;p41"/>
            <p:cNvSpPr/>
            <p:nvPr/>
          </p:nvSpPr>
          <p:spPr>
            <a:xfrm>
              <a:off x="5690423" y="3409219"/>
              <a:ext cx="24581" cy="24560"/>
            </a:xfrm>
            <a:custGeom>
              <a:avLst/>
              <a:gdLst/>
              <a:ahLst/>
              <a:cxnLst/>
              <a:rect l="l" t="t" r="r" b="b"/>
              <a:pathLst>
                <a:path w="1169" h="1168" extrusionOk="0">
                  <a:moveTo>
                    <a:pt x="1" y="0"/>
                  </a:moveTo>
                  <a:lnTo>
                    <a:pt x="1" y="1168"/>
                  </a:lnTo>
                  <a:lnTo>
                    <a:pt x="1168" y="1168"/>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 name="Google Shape;1071;p41"/>
            <p:cNvSpPr/>
            <p:nvPr/>
          </p:nvSpPr>
          <p:spPr>
            <a:xfrm>
              <a:off x="5690423" y="3450602"/>
              <a:ext cx="24581" cy="24560"/>
            </a:xfrm>
            <a:custGeom>
              <a:avLst/>
              <a:gdLst/>
              <a:ahLst/>
              <a:cxnLst/>
              <a:rect l="l" t="t" r="r" b="b"/>
              <a:pathLst>
                <a:path w="1169" h="1168" extrusionOk="0">
                  <a:moveTo>
                    <a:pt x="1" y="0"/>
                  </a:moveTo>
                  <a:lnTo>
                    <a:pt x="1" y="1168"/>
                  </a:lnTo>
                  <a:lnTo>
                    <a:pt x="1168" y="1168"/>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 name="Google Shape;1072;p41"/>
            <p:cNvSpPr/>
            <p:nvPr/>
          </p:nvSpPr>
          <p:spPr>
            <a:xfrm>
              <a:off x="5690423" y="3491985"/>
              <a:ext cx="24581" cy="25275"/>
            </a:xfrm>
            <a:custGeom>
              <a:avLst/>
              <a:gdLst/>
              <a:ahLst/>
              <a:cxnLst/>
              <a:rect l="l" t="t" r="r" b="b"/>
              <a:pathLst>
                <a:path w="1169" h="1202" extrusionOk="0">
                  <a:moveTo>
                    <a:pt x="1" y="0"/>
                  </a:moveTo>
                  <a:lnTo>
                    <a:pt x="1" y="1201"/>
                  </a:lnTo>
                  <a:lnTo>
                    <a:pt x="1168" y="1201"/>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 name="Google Shape;1073;p41"/>
            <p:cNvSpPr/>
            <p:nvPr/>
          </p:nvSpPr>
          <p:spPr>
            <a:xfrm>
              <a:off x="5690423" y="3534062"/>
              <a:ext cx="24581" cy="24581"/>
            </a:xfrm>
            <a:custGeom>
              <a:avLst/>
              <a:gdLst/>
              <a:ahLst/>
              <a:cxnLst/>
              <a:rect l="l" t="t" r="r" b="b"/>
              <a:pathLst>
                <a:path w="1169" h="1169" extrusionOk="0">
                  <a:moveTo>
                    <a:pt x="1" y="1"/>
                  </a:moveTo>
                  <a:lnTo>
                    <a:pt x="1" y="1168"/>
                  </a:lnTo>
                  <a:lnTo>
                    <a:pt x="1168" y="1168"/>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 name="Google Shape;1074;p41"/>
            <p:cNvSpPr/>
            <p:nvPr/>
          </p:nvSpPr>
          <p:spPr>
            <a:xfrm>
              <a:off x="5690423" y="3575445"/>
              <a:ext cx="24581" cy="24581"/>
            </a:xfrm>
            <a:custGeom>
              <a:avLst/>
              <a:gdLst/>
              <a:ahLst/>
              <a:cxnLst/>
              <a:rect l="l" t="t" r="r" b="b"/>
              <a:pathLst>
                <a:path w="1169" h="1169" extrusionOk="0">
                  <a:moveTo>
                    <a:pt x="1" y="1"/>
                  </a:moveTo>
                  <a:lnTo>
                    <a:pt x="1" y="1168"/>
                  </a:lnTo>
                  <a:lnTo>
                    <a:pt x="1168" y="1168"/>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 name="Google Shape;1075;p41"/>
            <p:cNvSpPr/>
            <p:nvPr/>
          </p:nvSpPr>
          <p:spPr>
            <a:xfrm>
              <a:off x="5690423" y="3616829"/>
              <a:ext cx="24581" cy="25275"/>
            </a:xfrm>
            <a:custGeom>
              <a:avLst/>
              <a:gdLst/>
              <a:ahLst/>
              <a:cxnLst/>
              <a:rect l="l" t="t" r="r" b="b"/>
              <a:pathLst>
                <a:path w="1169" h="1202" extrusionOk="0">
                  <a:moveTo>
                    <a:pt x="1" y="1"/>
                  </a:moveTo>
                  <a:lnTo>
                    <a:pt x="1" y="1202"/>
                  </a:lnTo>
                  <a:lnTo>
                    <a:pt x="1168" y="1202"/>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 name="Google Shape;1076;p41"/>
            <p:cNvSpPr/>
            <p:nvPr/>
          </p:nvSpPr>
          <p:spPr>
            <a:xfrm>
              <a:off x="5690423" y="3658927"/>
              <a:ext cx="24581" cy="24560"/>
            </a:xfrm>
            <a:custGeom>
              <a:avLst/>
              <a:gdLst/>
              <a:ahLst/>
              <a:cxnLst/>
              <a:rect l="l" t="t" r="r" b="b"/>
              <a:pathLst>
                <a:path w="1169" h="1168" extrusionOk="0">
                  <a:moveTo>
                    <a:pt x="1" y="0"/>
                  </a:moveTo>
                  <a:lnTo>
                    <a:pt x="1" y="1168"/>
                  </a:lnTo>
                  <a:lnTo>
                    <a:pt x="1168" y="1168"/>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 name="Google Shape;1077;p41"/>
            <p:cNvSpPr/>
            <p:nvPr/>
          </p:nvSpPr>
          <p:spPr>
            <a:xfrm>
              <a:off x="5690423" y="3783770"/>
              <a:ext cx="24581" cy="24581"/>
            </a:xfrm>
            <a:custGeom>
              <a:avLst/>
              <a:gdLst/>
              <a:ahLst/>
              <a:cxnLst/>
              <a:rect l="l" t="t" r="r" b="b"/>
              <a:pathLst>
                <a:path w="1169" h="1169" extrusionOk="0">
                  <a:moveTo>
                    <a:pt x="1" y="1"/>
                  </a:moveTo>
                  <a:lnTo>
                    <a:pt x="1" y="1168"/>
                  </a:lnTo>
                  <a:lnTo>
                    <a:pt x="1168" y="1168"/>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8" name="Google Shape;1078;p41"/>
            <p:cNvSpPr/>
            <p:nvPr/>
          </p:nvSpPr>
          <p:spPr>
            <a:xfrm>
              <a:off x="5690423" y="3825174"/>
              <a:ext cx="24581" cy="25254"/>
            </a:xfrm>
            <a:custGeom>
              <a:avLst/>
              <a:gdLst/>
              <a:ahLst/>
              <a:cxnLst/>
              <a:rect l="l" t="t" r="r" b="b"/>
              <a:pathLst>
                <a:path w="1169" h="1201" extrusionOk="0">
                  <a:moveTo>
                    <a:pt x="1" y="0"/>
                  </a:moveTo>
                  <a:lnTo>
                    <a:pt x="1" y="1201"/>
                  </a:lnTo>
                  <a:lnTo>
                    <a:pt x="1168" y="1201"/>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 name="Google Shape;1079;p41"/>
            <p:cNvSpPr/>
            <p:nvPr/>
          </p:nvSpPr>
          <p:spPr>
            <a:xfrm>
              <a:off x="5651143" y="3325738"/>
              <a:ext cx="24581" cy="24581"/>
            </a:xfrm>
            <a:custGeom>
              <a:avLst/>
              <a:gdLst/>
              <a:ahLst/>
              <a:cxnLst/>
              <a:rect l="l" t="t" r="r" b="b"/>
              <a:pathLst>
                <a:path w="1169" h="1169" extrusionOk="0">
                  <a:moveTo>
                    <a:pt x="1" y="1"/>
                  </a:moveTo>
                  <a:lnTo>
                    <a:pt x="1" y="1168"/>
                  </a:lnTo>
                  <a:lnTo>
                    <a:pt x="1168" y="1168"/>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 name="Google Shape;1080;p41"/>
            <p:cNvSpPr/>
            <p:nvPr/>
          </p:nvSpPr>
          <p:spPr>
            <a:xfrm>
              <a:off x="5651143" y="3367121"/>
              <a:ext cx="24581" cy="25275"/>
            </a:xfrm>
            <a:custGeom>
              <a:avLst/>
              <a:gdLst/>
              <a:ahLst/>
              <a:cxnLst/>
              <a:rect l="l" t="t" r="r" b="b"/>
              <a:pathLst>
                <a:path w="1169" h="1202" extrusionOk="0">
                  <a:moveTo>
                    <a:pt x="1" y="1"/>
                  </a:moveTo>
                  <a:lnTo>
                    <a:pt x="1" y="1202"/>
                  </a:lnTo>
                  <a:lnTo>
                    <a:pt x="1168" y="1202"/>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 name="Google Shape;1081;p41"/>
            <p:cNvSpPr/>
            <p:nvPr/>
          </p:nvSpPr>
          <p:spPr>
            <a:xfrm>
              <a:off x="5651143" y="3409219"/>
              <a:ext cx="24581" cy="24560"/>
            </a:xfrm>
            <a:custGeom>
              <a:avLst/>
              <a:gdLst/>
              <a:ahLst/>
              <a:cxnLst/>
              <a:rect l="l" t="t" r="r" b="b"/>
              <a:pathLst>
                <a:path w="1169" h="1168" extrusionOk="0">
                  <a:moveTo>
                    <a:pt x="1" y="0"/>
                  </a:moveTo>
                  <a:lnTo>
                    <a:pt x="1" y="1168"/>
                  </a:lnTo>
                  <a:lnTo>
                    <a:pt x="1168" y="1168"/>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 name="Google Shape;1082;p41"/>
            <p:cNvSpPr/>
            <p:nvPr/>
          </p:nvSpPr>
          <p:spPr>
            <a:xfrm>
              <a:off x="5651143" y="3450602"/>
              <a:ext cx="24581" cy="24560"/>
            </a:xfrm>
            <a:custGeom>
              <a:avLst/>
              <a:gdLst/>
              <a:ahLst/>
              <a:cxnLst/>
              <a:rect l="l" t="t" r="r" b="b"/>
              <a:pathLst>
                <a:path w="1169" h="1168" extrusionOk="0">
                  <a:moveTo>
                    <a:pt x="1" y="0"/>
                  </a:moveTo>
                  <a:lnTo>
                    <a:pt x="1" y="1168"/>
                  </a:lnTo>
                  <a:lnTo>
                    <a:pt x="1168" y="1168"/>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 name="Google Shape;1083;p41"/>
            <p:cNvSpPr/>
            <p:nvPr/>
          </p:nvSpPr>
          <p:spPr>
            <a:xfrm>
              <a:off x="5651143" y="3491985"/>
              <a:ext cx="24581" cy="25275"/>
            </a:xfrm>
            <a:custGeom>
              <a:avLst/>
              <a:gdLst/>
              <a:ahLst/>
              <a:cxnLst/>
              <a:rect l="l" t="t" r="r" b="b"/>
              <a:pathLst>
                <a:path w="1169" h="1202" extrusionOk="0">
                  <a:moveTo>
                    <a:pt x="1" y="0"/>
                  </a:moveTo>
                  <a:lnTo>
                    <a:pt x="1" y="1201"/>
                  </a:lnTo>
                  <a:lnTo>
                    <a:pt x="1168" y="1201"/>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 name="Google Shape;1084;p41"/>
            <p:cNvSpPr/>
            <p:nvPr/>
          </p:nvSpPr>
          <p:spPr>
            <a:xfrm>
              <a:off x="5651143" y="3534062"/>
              <a:ext cx="24581" cy="24581"/>
            </a:xfrm>
            <a:custGeom>
              <a:avLst/>
              <a:gdLst/>
              <a:ahLst/>
              <a:cxnLst/>
              <a:rect l="l" t="t" r="r" b="b"/>
              <a:pathLst>
                <a:path w="1169" h="1169" extrusionOk="0">
                  <a:moveTo>
                    <a:pt x="1" y="1"/>
                  </a:moveTo>
                  <a:lnTo>
                    <a:pt x="1" y="1168"/>
                  </a:lnTo>
                  <a:lnTo>
                    <a:pt x="1168" y="1168"/>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 name="Google Shape;1085;p41"/>
            <p:cNvSpPr/>
            <p:nvPr/>
          </p:nvSpPr>
          <p:spPr>
            <a:xfrm>
              <a:off x="5651143" y="3575445"/>
              <a:ext cx="24581" cy="24581"/>
            </a:xfrm>
            <a:custGeom>
              <a:avLst/>
              <a:gdLst/>
              <a:ahLst/>
              <a:cxnLst/>
              <a:rect l="l" t="t" r="r" b="b"/>
              <a:pathLst>
                <a:path w="1169" h="1169" extrusionOk="0">
                  <a:moveTo>
                    <a:pt x="1" y="1"/>
                  </a:moveTo>
                  <a:lnTo>
                    <a:pt x="1" y="1168"/>
                  </a:lnTo>
                  <a:lnTo>
                    <a:pt x="1168" y="1168"/>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 name="Google Shape;1086;p41"/>
            <p:cNvSpPr/>
            <p:nvPr/>
          </p:nvSpPr>
          <p:spPr>
            <a:xfrm>
              <a:off x="5651143" y="3616829"/>
              <a:ext cx="24581" cy="25275"/>
            </a:xfrm>
            <a:custGeom>
              <a:avLst/>
              <a:gdLst/>
              <a:ahLst/>
              <a:cxnLst/>
              <a:rect l="l" t="t" r="r" b="b"/>
              <a:pathLst>
                <a:path w="1169" h="1202" extrusionOk="0">
                  <a:moveTo>
                    <a:pt x="1" y="1"/>
                  </a:moveTo>
                  <a:lnTo>
                    <a:pt x="1" y="1202"/>
                  </a:lnTo>
                  <a:lnTo>
                    <a:pt x="1168" y="1202"/>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 name="Google Shape;1087;p41"/>
            <p:cNvSpPr/>
            <p:nvPr/>
          </p:nvSpPr>
          <p:spPr>
            <a:xfrm>
              <a:off x="5244315" y="2693048"/>
              <a:ext cx="25275" cy="24560"/>
            </a:xfrm>
            <a:custGeom>
              <a:avLst/>
              <a:gdLst/>
              <a:ahLst/>
              <a:cxnLst/>
              <a:rect l="l" t="t" r="r" b="b"/>
              <a:pathLst>
                <a:path w="1202" h="1168" extrusionOk="0">
                  <a:moveTo>
                    <a:pt x="1" y="0"/>
                  </a:moveTo>
                  <a:lnTo>
                    <a:pt x="1" y="1168"/>
                  </a:lnTo>
                  <a:lnTo>
                    <a:pt x="1202" y="1168"/>
                  </a:lnTo>
                  <a:lnTo>
                    <a:pt x="1202"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 name="Google Shape;1088;p41"/>
            <p:cNvSpPr/>
            <p:nvPr/>
          </p:nvSpPr>
          <p:spPr>
            <a:xfrm>
              <a:off x="5205034" y="2693048"/>
              <a:ext cx="24581" cy="24560"/>
            </a:xfrm>
            <a:custGeom>
              <a:avLst/>
              <a:gdLst/>
              <a:ahLst/>
              <a:cxnLst/>
              <a:rect l="l" t="t" r="r" b="b"/>
              <a:pathLst>
                <a:path w="1169" h="1168" extrusionOk="0">
                  <a:moveTo>
                    <a:pt x="1" y="0"/>
                  </a:moveTo>
                  <a:lnTo>
                    <a:pt x="1" y="1168"/>
                  </a:lnTo>
                  <a:lnTo>
                    <a:pt x="1168" y="1168"/>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 name="Google Shape;1089;p41"/>
            <p:cNvSpPr/>
            <p:nvPr/>
          </p:nvSpPr>
          <p:spPr>
            <a:xfrm>
              <a:off x="5427405" y="3217717"/>
              <a:ext cx="24560" cy="24581"/>
            </a:xfrm>
            <a:custGeom>
              <a:avLst/>
              <a:gdLst/>
              <a:ahLst/>
              <a:cxnLst/>
              <a:rect l="l" t="t" r="r" b="b"/>
              <a:pathLst>
                <a:path w="1168" h="1169" extrusionOk="0">
                  <a:moveTo>
                    <a:pt x="0" y="1"/>
                  </a:moveTo>
                  <a:lnTo>
                    <a:pt x="0" y="1168"/>
                  </a:lnTo>
                  <a:lnTo>
                    <a:pt x="1168" y="1168"/>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 name="Google Shape;1090;p41"/>
            <p:cNvSpPr/>
            <p:nvPr/>
          </p:nvSpPr>
          <p:spPr>
            <a:xfrm>
              <a:off x="5427405" y="3259100"/>
              <a:ext cx="24560" cy="24581"/>
            </a:xfrm>
            <a:custGeom>
              <a:avLst/>
              <a:gdLst/>
              <a:ahLst/>
              <a:cxnLst/>
              <a:rect l="l" t="t" r="r" b="b"/>
              <a:pathLst>
                <a:path w="1168" h="1169" extrusionOk="0">
                  <a:moveTo>
                    <a:pt x="0" y="1"/>
                  </a:moveTo>
                  <a:lnTo>
                    <a:pt x="0" y="1168"/>
                  </a:lnTo>
                  <a:lnTo>
                    <a:pt x="1168" y="1168"/>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 name="Google Shape;1091;p41"/>
            <p:cNvSpPr/>
            <p:nvPr/>
          </p:nvSpPr>
          <p:spPr>
            <a:xfrm>
              <a:off x="5427405" y="3300483"/>
              <a:ext cx="24560" cy="25275"/>
            </a:xfrm>
            <a:custGeom>
              <a:avLst/>
              <a:gdLst/>
              <a:ahLst/>
              <a:cxnLst/>
              <a:rect l="l" t="t" r="r" b="b"/>
              <a:pathLst>
                <a:path w="1168" h="1202" extrusionOk="0">
                  <a:moveTo>
                    <a:pt x="0" y="1"/>
                  </a:moveTo>
                  <a:lnTo>
                    <a:pt x="0" y="1202"/>
                  </a:lnTo>
                  <a:lnTo>
                    <a:pt x="1168" y="1202"/>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 name="Google Shape;1092;p41"/>
            <p:cNvSpPr/>
            <p:nvPr/>
          </p:nvSpPr>
          <p:spPr>
            <a:xfrm>
              <a:off x="5427405" y="3342581"/>
              <a:ext cx="24560" cy="24560"/>
            </a:xfrm>
            <a:custGeom>
              <a:avLst/>
              <a:gdLst/>
              <a:ahLst/>
              <a:cxnLst/>
              <a:rect l="l" t="t" r="r" b="b"/>
              <a:pathLst>
                <a:path w="1168" h="1168" extrusionOk="0">
                  <a:moveTo>
                    <a:pt x="0" y="0"/>
                  </a:moveTo>
                  <a:lnTo>
                    <a:pt x="0" y="1168"/>
                  </a:lnTo>
                  <a:lnTo>
                    <a:pt x="1168" y="1168"/>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 name="Google Shape;1093;p41"/>
            <p:cNvSpPr/>
            <p:nvPr/>
          </p:nvSpPr>
          <p:spPr>
            <a:xfrm>
              <a:off x="5427405" y="3383965"/>
              <a:ext cx="24560" cy="25275"/>
            </a:xfrm>
            <a:custGeom>
              <a:avLst/>
              <a:gdLst/>
              <a:ahLst/>
              <a:cxnLst/>
              <a:rect l="l" t="t" r="r" b="b"/>
              <a:pathLst>
                <a:path w="1168" h="1202" extrusionOk="0">
                  <a:moveTo>
                    <a:pt x="0" y="0"/>
                  </a:moveTo>
                  <a:lnTo>
                    <a:pt x="0" y="1201"/>
                  </a:lnTo>
                  <a:lnTo>
                    <a:pt x="1168" y="1201"/>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 name="Google Shape;1094;p41"/>
            <p:cNvSpPr/>
            <p:nvPr/>
          </p:nvSpPr>
          <p:spPr>
            <a:xfrm>
              <a:off x="5427405" y="3426042"/>
              <a:ext cx="24560" cy="24581"/>
            </a:xfrm>
            <a:custGeom>
              <a:avLst/>
              <a:gdLst/>
              <a:ahLst/>
              <a:cxnLst/>
              <a:rect l="l" t="t" r="r" b="b"/>
              <a:pathLst>
                <a:path w="1168" h="1169" extrusionOk="0">
                  <a:moveTo>
                    <a:pt x="0" y="1"/>
                  </a:moveTo>
                  <a:lnTo>
                    <a:pt x="0" y="1168"/>
                  </a:lnTo>
                  <a:lnTo>
                    <a:pt x="1168" y="1168"/>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 name="Google Shape;1095;p41"/>
            <p:cNvSpPr/>
            <p:nvPr/>
          </p:nvSpPr>
          <p:spPr>
            <a:xfrm>
              <a:off x="5427405" y="3467425"/>
              <a:ext cx="24560" cy="24581"/>
            </a:xfrm>
            <a:custGeom>
              <a:avLst/>
              <a:gdLst/>
              <a:ahLst/>
              <a:cxnLst/>
              <a:rect l="l" t="t" r="r" b="b"/>
              <a:pathLst>
                <a:path w="1168" h="1169" extrusionOk="0">
                  <a:moveTo>
                    <a:pt x="0" y="1"/>
                  </a:moveTo>
                  <a:lnTo>
                    <a:pt x="0" y="1168"/>
                  </a:lnTo>
                  <a:lnTo>
                    <a:pt x="1168" y="1168"/>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 name="Google Shape;1096;p41"/>
            <p:cNvSpPr/>
            <p:nvPr/>
          </p:nvSpPr>
          <p:spPr>
            <a:xfrm>
              <a:off x="5427405" y="3550906"/>
              <a:ext cx="24560" cy="24560"/>
            </a:xfrm>
            <a:custGeom>
              <a:avLst/>
              <a:gdLst/>
              <a:ahLst/>
              <a:cxnLst/>
              <a:rect l="l" t="t" r="r" b="b"/>
              <a:pathLst>
                <a:path w="1168" h="1168" extrusionOk="0">
                  <a:moveTo>
                    <a:pt x="0" y="0"/>
                  </a:moveTo>
                  <a:lnTo>
                    <a:pt x="0" y="1168"/>
                  </a:lnTo>
                  <a:lnTo>
                    <a:pt x="1168" y="1168"/>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 name="Google Shape;1097;p41"/>
            <p:cNvSpPr/>
            <p:nvPr/>
          </p:nvSpPr>
          <p:spPr>
            <a:xfrm>
              <a:off x="5427405" y="3592289"/>
              <a:ext cx="24560" cy="24560"/>
            </a:xfrm>
            <a:custGeom>
              <a:avLst/>
              <a:gdLst/>
              <a:ahLst/>
              <a:cxnLst/>
              <a:rect l="l" t="t" r="r" b="b"/>
              <a:pathLst>
                <a:path w="1168" h="1168" extrusionOk="0">
                  <a:moveTo>
                    <a:pt x="0" y="0"/>
                  </a:moveTo>
                  <a:lnTo>
                    <a:pt x="0" y="1168"/>
                  </a:lnTo>
                  <a:lnTo>
                    <a:pt x="1168" y="1168"/>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 name="Google Shape;1098;p41"/>
            <p:cNvSpPr/>
            <p:nvPr/>
          </p:nvSpPr>
          <p:spPr>
            <a:xfrm>
              <a:off x="5427405" y="3633672"/>
              <a:ext cx="24560" cy="25275"/>
            </a:xfrm>
            <a:custGeom>
              <a:avLst/>
              <a:gdLst/>
              <a:ahLst/>
              <a:cxnLst/>
              <a:rect l="l" t="t" r="r" b="b"/>
              <a:pathLst>
                <a:path w="1168" h="1202" extrusionOk="0">
                  <a:moveTo>
                    <a:pt x="0" y="0"/>
                  </a:moveTo>
                  <a:lnTo>
                    <a:pt x="0" y="1201"/>
                  </a:lnTo>
                  <a:lnTo>
                    <a:pt x="1168" y="1201"/>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 name="Google Shape;1099;p41"/>
            <p:cNvSpPr/>
            <p:nvPr/>
          </p:nvSpPr>
          <p:spPr>
            <a:xfrm>
              <a:off x="5427405" y="3675749"/>
              <a:ext cx="24560" cy="24581"/>
            </a:xfrm>
            <a:custGeom>
              <a:avLst/>
              <a:gdLst/>
              <a:ahLst/>
              <a:cxnLst/>
              <a:rect l="l" t="t" r="r" b="b"/>
              <a:pathLst>
                <a:path w="1168" h="1169" extrusionOk="0">
                  <a:moveTo>
                    <a:pt x="0" y="1"/>
                  </a:moveTo>
                  <a:lnTo>
                    <a:pt x="0" y="1168"/>
                  </a:lnTo>
                  <a:lnTo>
                    <a:pt x="1168" y="1168"/>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 name="Google Shape;1100;p41"/>
            <p:cNvSpPr/>
            <p:nvPr/>
          </p:nvSpPr>
          <p:spPr>
            <a:xfrm>
              <a:off x="5427405" y="3717132"/>
              <a:ext cx="24560" cy="25275"/>
            </a:xfrm>
            <a:custGeom>
              <a:avLst/>
              <a:gdLst/>
              <a:ahLst/>
              <a:cxnLst/>
              <a:rect l="l" t="t" r="r" b="b"/>
              <a:pathLst>
                <a:path w="1168" h="1202" extrusionOk="0">
                  <a:moveTo>
                    <a:pt x="0" y="1"/>
                  </a:moveTo>
                  <a:lnTo>
                    <a:pt x="0" y="1202"/>
                  </a:lnTo>
                  <a:lnTo>
                    <a:pt x="1168" y="1202"/>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 name="Google Shape;1101;p41"/>
            <p:cNvSpPr/>
            <p:nvPr/>
          </p:nvSpPr>
          <p:spPr>
            <a:xfrm>
              <a:off x="5427405" y="3759230"/>
              <a:ext cx="24560" cy="24560"/>
            </a:xfrm>
            <a:custGeom>
              <a:avLst/>
              <a:gdLst/>
              <a:ahLst/>
              <a:cxnLst/>
              <a:rect l="l" t="t" r="r" b="b"/>
              <a:pathLst>
                <a:path w="1168" h="1168" extrusionOk="0">
                  <a:moveTo>
                    <a:pt x="0" y="0"/>
                  </a:moveTo>
                  <a:lnTo>
                    <a:pt x="0" y="1168"/>
                  </a:lnTo>
                  <a:lnTo>
                    <a:pt x="1168" y="1168"/>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 name="Google Shape;1102;p41"/>
            <p:cNvSpPr/>
            <p:nvPr/>
          </p:nvSpPr>
          <p:spPr>
            <a:xfrm>
              <a:off x="5427405" y="3800613"/>
              <a:ext cx="24560" cy="24560"/>
            </a:xfrm>
            <a:custGeom>
              <a:avLst/>
              <a:gdLst/>
              <a:ahLst/>
              <a:cxnLst/>
              <a:rect l="l" t="t" r="r" b="b"/>
              <a:pathLst>
                <a:path w="1168" h="1168" extrusionOk="0">
                  <a:moveTo>
                    <a:pt x="0" y="0"/>
                  </a:moveTo>
                  <a:lnTo>
                    <a:pt x="0" y="1168"/>
                  </a:lnTo>
                  <a:lnTo>
                    <a:pt x="1168" y="1168"/>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 name="Google Shape;1103;p41"/>
            <p:cNvSpPr/>
            <p:nvPr/>
          </p:nvSpPr>
          <p:spPr>
            <a:xfrm>
              <a:off x="5427405" y="3841996"/>
              <a:ext cx="24560" cy="25275"/>
            </a:xfrm>
            <a:custGeom>
              <a:avLst/>
              <a:gdLst/>
              <a:ahLst/>
              <a:cxnLst/>
              <a:rect l="l" t="t" r="r" b="b"/>
              <a:pathLst>
                <a:path w="1168" h="1202" extrusionOk="0">
                  <a:moveTo>
                    <a:pt x="0" y="1"/>
                  </a:moveTo>
                  <a:lnTo>
                    <a:pt x="0" y="1201"/>
                  </a:lnTo>
                  <a:lnTo>
                    <a:pt x="1168" y="1201"/>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 name="Google Shape;1104;p41"/>
            <p:cNvSpPr/>
            <p:nvPr/>
          </p:nvSpPr>
          <p:spPr>
            <a:xfrm>
              <a:off x="5388125" y="3550906"/>
              <a:ext cx="24560" cy="24560"/>
            </a:xfrm>
            <a:custGeom>
              <a:avLst/>
              <a:gdLst/>
              <a:ahLst/>
              <a:cxnLst/>
              <a:rect l="l" t="t" r="r" b="b"/>
              <a:pathLst>
                <a:path w="1168" h="1168" extrusionOk="0">
                  <a:moveTo>
                    <a:pt x="0" y="0"/>
                  </a:moveTo>
                  <a:lnTo>
                    <a:pt x="0" y="1168"/>
                  </a:lnTo>
                  <a:lnTo>
                    <a:pt x="1168" y="1168"/>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 name="Google Shape;1105;p41"/>
            <p:cNvSpPr/>
            <p:nvPr/>
          </p:nvSpPr>
          <p:spPr>
            <a:xfrm>
              <a:off x="5388125" y="3592289"/>
              <a:ext cx="24560" cy="24560"/>
            </a:xfrm>
            <a:custGeom>
              <a:avLst/>
              <a:gdLst/>
              <a:ahLst/>
              <a:cxnLst/>
              <a:rect l="l" t="t" r="r" b="b"/>
              <a:pathLst>
                <a:path w="1168" h="1168" extrusionOk="0">
                  <a:moveTo>
                    <a:pt x="0" y="0"/>
                  </a:moveTo>
                  <a:lnTo>
                    <a:pt x="0" y="1168"/>
                  </a:lnTo>
                  <a:lnTo>
                    <a:pt x="1168" y="1168"/>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 name="Google Shape;1106;p41"/>
            <p:cNvSpPr/>
            <p:nvPr/>
          </p:nvSpPr>
          <p:spPr>
            <a:xfrm>
              <a:off x="5388125" y="3633672"/>
              <a:ext cx="24560" cy="25275"/>
            </a:xfrm>
            <a:custGeom>
              <a:avLst/>
              <a:gdLst/>
              <a:ahLst/>
              <a:cxnLst/>
              <a:rect l="l" t="t" r="r" b="b"/>
              <a:pathLst>
                <a:path w="1168" h="1202" extrusionOk="0">
                  <a:moveTo>
                    <a:pt x="0" y="0"/>
                  </a:moveTo>
                  <a:lnTo>
                    <a:pt x="0" y="1201"/>
                  </a:lnTo>
                  <a:lnTo>
                    <a:pt x="1168" y="1201"/>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 name="Google Shape;1107;p41"/>
            <p:cNvSpPr/>
            <p:nvPr/>
          </p:nvSpPr>
          <p:spPr>
            <a:xfrm>
              <a:off x="5388125" y="3675749"/>
              <a:ext cx="24560" cy="24581"/>
            </a:xfrm>
            <a:custGeom>
              <a:avLst/>
              <a:gdLst/>
              <a:ahLst/>
              <a:cxnLst/>
              <a:rect l="l" t="t" r="r" b="b"/>
              <a:pathLst>
                <a:path w="1168" h="1169" extrusionOk="0">
                  <a:moveTo>
                    <a:pt x="0" y="1"/>
                  </a:moveTo>
                  <a:lnTo>
                    <a:pt x="0" y="1168"/>
                  </a:lnTo>
                  <a:lnTo>
                    <a:pt x="1168" y="1168"/>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 name="Google Shape;1108;p41"/>
            <p:cNvSpPr/>
            <p:nvPr/>
          </p:nvSpPr>
          <p:spPr>
            <a:xfrm>
              <a:off x="5388125" y="3717132"/>
              <a:ext cx="24560" cy="25275"/>
            </a:xfrm>
            <a:custGeom>
              <a:avLst/>
              <a:gdLst/>
              <a:ahLst/>
              <a:cxnLst/>
              <a:rect l="l" t="t" r="r" b="b"/>
              <a:pathLst>
                <a:path w="1168" h="1202" extrusionOk="0">
                  <a:moveTo>
                    <a:pt x="0" y="1"/>
                  </a:moveTo>
                  <a:lnTo>
                    <a:pt x="0" y="1202"/>
                  </a:lnTo>
                  <a:lnTo>
                    <a:pt x="1168" y="1202"/>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 name="Google Shape;1109;p41"/>
            <p:cNvSpPr/>
            <p:nvPr/>
          </p:nvSpPr>
          <p:spPr>
            <a:xfrm>
              <a:off x="5388125" y="3759230"/>
              <a:ext cx="24560" cy="24560"/>
            </a:xfrm>
            <a:custGeom>
              <a:avLst/>
              <a:gdLst/>
              <a:ahLst/>
              <a:cxnLst/>
              <a:rect l="l" t="t" r="r" b="b"/>
              <a:pathLst>
                <a:path w="1168" h="1168" extrusionOk="0">
                  <a:moveTo>
                    <a:pt x="0" y="0"/>
                  </a:moveTo>
                  <a:lnTo>
                    <a:pt x="0" y="1168"/>
                  </a:lnTo>
                  <a:lnTo>
                    <a:pt x="1168" y="1168"/>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 name="Google Shape;1110;p41"/>
            <p:cNvSpPr/>
            <p:nvPr/>
          </p:nvSpPr>
          <p:spPr>
            <a:xfrm>
              <a:off x="5388125" y="3800613"/>
              <a:ext cx="24560" cy="24560"/>
            </a:xfrm>
            <a:custGeom>
              <a:avLst/>
              <a:gdLst/>
              <a:ahLst/>
              <a:cxnLst/>
              <a:rect l="l" t="t" r="r" b="b"/>
              <a:pathLst>
                <a:path w="1168" h="1168" extrusionOk="0">
                  <a:moveTo>
                    <a:pt x="0" y="0"/>
                  </a:moveTo>
                  <a:lnTo>
                    <a:pt x="0" y="1168"/>
                  </a:lnTo>
                  <a:lnTo>
                    <a:pt x="1168" y="1168"/>
                  </a:lnTo>
                  <a:lnTo>
                    <a:pt x="1168"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 name="Google Shape;1111;p41"/>
            <p:cNvSpPr/>
            <p:nvPr/>
          </p:nvSpPr>
          <p:spPr>
            <a:xfrm>
              <a:off x="5388125" y="3841996"/>
              <a:ext cx="24560" cy="25275"/>
            </a:xfrm>
            <a:custGeom>
              <a:avLst/>
              <a:gdLst/>
              <a:ahLst/>
              <a:cxnLst/>
              <a:rect l="l" t="t" r="r" b="b"/>
              <a:pathLst>
                <a:path w="1168" h="1202" extrusionOk="0">
                  <a:moveTo>
                    <a:pt x="0" y="1"/>
                  </a:moveTo>
                  <a:lnTo>
                    <a:pt x="0" y="1201"/>
                  </a:lnTo>
                  <a:lnTo>
                    <a:pt x="1168" y="1201"/>
                  </a:lnTo>
                  <a:lnTo>
                    <a:pt x="1168"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 name="Google Shape;1112;p41"/>
            <p:cNvSpPr/>
            <p:nvPr/>
          </p:nvSpPr>
          <p:spPr>
            <a:xfrm>
              <a:off x="4765234" y="2373464"/>
              <a:ext cx="210464" cy="196145"/>
            </a:xfrm>
            <a:custGeom>
              <a:avLst/>
              <a:gdLst/>
              <a:ahLst/>
              <a:cxnLst/>
              <a:rect l="l" t="t" r="r" b="b"/>
              <a:pathLst>
                <a:path w="10009" h="9328" extrusionOk="0">
                  <a:moveTo>
                    <a:pt x="640" y="1"/>
                  </a:moveTo>
                  <a:cubicBezTo>
                    <a:pt x="580" y="1"/>
                    <a:pt x="533" y="7"/>
                    <a:pt x="501" y="21"/>
                  </a:cubicBezTo>
                  <a:cubicBezTo>
                    <a:pt x="1" y="221"/>
                    <a:pt x="68" y="4524"/>
                    <a:pt x="501" y="4624"/>
                  </a:cubicBezTo>
                  <a:cubicBezTo>
                    <a:pt x="902" y="4758"/>
                    <a:pt x="4337" y="5792"/>
                    <a:pt x="4337" y="5792"/>
                  </a:cubicBezTo>
                  <a:lnTo>
                    <a:pt x="8707" y="9328"/>
                  </a:lnTo>
                  <a:lnTo>
                    <a:pt x="10008" y="6759"/>
                  </a:lnTo>
                  <a:lnTo>
                    <a:pt x="5905" y="3924"/>
                  </a:lnTo>
                  <a:cubicBezTo>
                    <a:pt x="5905" y="3924"/>
                    <a:pt x="5305" y="1655"/>
                    <a:pt x="5004" y="1422"/>
                  </a:cubicBezTo>
                  <a:cubicBezTo>
                    <a:pt x="4756" y="1204"/>
                    <a:pt x="1463" y="1"/>
                    <a:pt x="640" y="1"/>
                  </a:cubicBezTo>
                  <a:close/>
                </a:path>
              </a:pathLst>
            </a:custGeom>
            <a:solidFill>
              <a:srgbClr val="E4897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 name="Google Shape;1113;p41"/>
            <p:cNvSpPr/>
            <p:nvPr/>
          </p:nvSpPr>
          <p:spPr>
            <a:xfrm>
              <a:off x="4899919" y="2335319"/>
              <a:ext cx="611648" cy="402887"/>
            </a:xfrm>
            <a:custGeom>
              <a:avLst/>
              <a:gdLst/>
              <a:ahLst/>
              <a:cxnLst/>
              <a:rect l="l" t="t" r="r" b="b"/>
              <a:pathLst>
                <a:path w="29088" h="19160" extrusionOk="0">
                  <a:moveTo>
                    <a:pt x="28421" y="0"/>
                  </a:moveTo>
                  <a:cubicBezTo>
                    <a:pt x="25144" y="900"/>
                    <a:pt x="18462" y="13064"/>
                    <a:pt x="14040" y="13064"/>
                  </a:cubicBezTo>
                  <a:cubicBezTo>
                    <a:pt x="13871" y="13064"/>
                    <a:pt x="13706" y="13046"/>
                    <a:pt x="13543" y="13010"/>
                  </a:cubicBezTo>
                  <a:cubicBezTo>
                    <a:pt x="9174" y="11976"/>
                    <a:pt x="1902" y="7139"/>
                    <a:pt x="1902" y="7139"/>
                  </a:cubicBezTo>
                  <a:lnTo>
                    <a:pt x="0" y="10575"/>
                  </a:lnTo>
                  <a:cubicBezTo>
                    <a:pt x="0" y="10575"/>
                    <a:pt x="10008" y="18714"/>
                    <a:pt x="14611" y="19147"/>
                  </a:cubicBezTo>
                  <a:cubicBezTo>
                    <a:pt x="14702" y="19156"/>
                    <a:pt x="14796" y="19160"/>
                    <a:pt x="14891" y="19160"/>
                  </a:cubicBezTo>
                  <a:cubicBezTo>
                    <a:pt x="17443" y="19160"/>
                    <a:pt x="21403" y="16213"/>
                    <a:pt x="24618" y="13577"/>
                  </a:cubicBezTo>
                  <a:cubicBezTo>
                    <a:pt x="26286" y="12076"/>
                    <a:pt x="27887" y="10641"/>
                    <a:pt x="28588" y="9941"/>
                  </a:cubicBezTo>
                  <a:cubicBezTo>
                    <a:pt x="28888" y="9641"/>
                    <a:pt x="29088" y="9474"/>
                    <a:pt x="29088" y="9474"/>
                  </a:cubicBezTo>
                  <a:lnTo>
                    <a:pt x="28421" y="0"/>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 name="Google Shape;1114;p41"/>
            <p:cNvSpPr/>
            <p:nvPr/>
          </p:nvSpPr>
          <p:spPr>
            <a:xfrm>
              <a:off x="4905960" y="2334674"/>
              <a:ext cx="611648" cy="402887"/>
            </a:xfrm>
            <a:custGeom>
              <a:avLst/>
              <a:gdLst/>
              <a:ahLst/>
              <a:cxnLst/>
              <a:rect l="l" t="t" r="r" b="b"/>
              <a:pathLst>
                <a:path w="29088" h="19160" extrusionOk="0">
                  <a:moveTo>
                    <a:pt x="28421" y="0"/>
                  </a:moveTo>
                  <a:cubicBezTo>
                    <a:pt x="25144" y="900"/>
                    <a:pt x="18462" y="13064"/>
                    <a:pt x="14040" y="13064"/>
                  </a:cubicBezTo>
                  <a:cubicBezTo>
                    <a:pt x="13871" y="13064"/>
                    <a:pt x="13706" y="13046"/>
                    <a:pt x="13543" y="13010"/>
                  </a:cubicBezTo>
                  <a:cubicBezTo>
                    <a:pt x="9174" y="11976"/>
                    <a:pt x="1902" y="7139"/>
                    <a:pt x="1902" y="7139"/>
                  </a:cubicBezTo>
                  <a:lnTo>
                    <a:pt x="0" y="10575"/>
                  </a:lnTo>
                  <a:cubicBezTo>
                    <a:pt x="0" y="10575"/>
                    <a:pt x="10008" y="18714"/>
                    <a:pt x="14611" y="19147"/>
                  </a:cubicBezTo>
                  <a:cubicBezTo>
                    <a:pt x="14702" y="19156"/>
                    <a:pt x="14796" y="19160"/>
                    <a:pt x="14891" y="19160"/>
                  </a:cubicBezTo>
                  <a:cubicBezTo>
                    <a:pt x="17443" y="19160"/>
                    <a:pt x="21403" y="16213"/>
                    <a:pt x="24618" y="13577"/>
                  </a:cubicBezTo>
                  <a:cubicBezTo>
                    <a:pt x="26286" y="12076"/>
                    <a:pt x="27887" y="10641"/>
                    <a:pt x="28588" y="9941"/>
                  </a:cubicBezTo>
                  <a:cubicBezTo>
                    <a:pt x="28888" y="9641"/>
                    <a:pt x="29088" y="9474"/>
                    <a:pt x="29088" y="9474"/>
                  </a:cubicBezTo>
                  <a:lnTo>
                    <a:pt x="28421"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 name="Google Shape;1115;p41"/>
            <p:cNvSpPr/>
            <p:nvPr/>
          </p:nvSpPr>
          <p:spPr>
            <a:xfrm>
              <a:off x="4889405" y="2470698"/>
              <a:ext cx="65942" cy="108039"/>
            </a:xfrm>
            <a:custGeom>
              <a:avLst/>
              <a:gdLst/>
              <a:ahLst/>
              <a:cxnLst/>
              <a:rect l="l" t="t" r="r" b="b"/>
              <a:pathLst>
                <a:path w="3136" h="5138" extrusionOk="0">
                  <a:moveTo>
                    <a:pt x="1968" y="0"/>
                  </a:moveTo>
                  <a:lnTo>
                    <a:pt x="0" y="3870"/>
                  </a:lnTo>
                  <a:lnTo>
                    <a:pt x="834" y="5137"/>
                  </a:lnTo>
                  <a:lnTo>
                    <a:pt x="3136" y="567"/>
                  </a:lnTo>
                  <a:lnTo>
                    <a:pt x="1968" y="0"/>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 name="Google Shape;1116;p41"/>
            <p:cNvSpPr/>
            <p:nvPr/>
          </p:nvSpPr>
          <p:spPr>
            <a:xfrm>
              <a:off x="4889405" y="2470698"/>
              <a:ext cx="65942" cy="108039"/>
            </a:xfrm>
            <a:custGeom>
              <a:avLst/>
              <a:gdLst/>
              <a:ahLst/>
              <a:cxnLst/>
              <a:rect l="l" t="t" r="r" b="b"/>
              <a:pathLst>
                <a:path w="3136" h="5138" extrusionOk="0">
                  <a:moveTo>
                    <a:pt x="1968" y="0"/>
                  </a:moveTo>
                  <a:lnTo>
                    <a:pt x="0" y="3870"/>
                  </a:lnTo>
                  <a:lnTo>
                    <a:pt x="834" y="5137"/>
                  </a:lnTo>
                  <a:lnTo>
                    <a:pt x="3136" y="567"/>
                  </a:lnTo>
                  <a:lnTo>
                    <a:pt x="1968"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 name="Google Shape;1117;p41"/>
            <p:cNvSpPr/>
            <p:nvPr/>
          </p:nvSpPr>
          <p:spPr>
            <a:xfrm>
              <a:off x="5417585" y="2479109"/>
              <a:ext cx="84173" cy="141704"/>
            </a:xfrm>
            <a:custGeom>
              <a:avLst/>
              <a:gdLst/>
              <a:ahLst/>
              <a:cxnLst/>
              <a:rect l="l" t="t" r="r" b="b"/>
              <a:pathLst>
                <a:path w="4003" h="6739" extrusionOk="0">
                  <a:moveTo>
                    <a:pt x="3402" y="1"/>
                  </a:moveTo>
                  <a:cubicBezTo>
                    <a:pt x="3402" y="1"/>
                    <a:pt x="834" y="3036"/>
                    <a:pt x="0" y="6739"/>
                  </a:cubicBezTo>
                  <a:cubicBezTo>
                    <a:pt x="1801" y="5238"/>
                    <a:pt x="3269" y="3803"/>
                    <a:pt x="4003" y="3103"/>
                  </a:cubicBezTo>
                  <a:lnTo>
                    <a:pt x="3402" y="1"/>
                  </a:ln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 name="Google Shape;1118;p41"/>
            <p:cNvSpPr/>
            <p:nvPr/>
          </p:nvSpPr>
          <p:spPr>
            <a:xfrm>
              <a:off x="5424587" y="4380692"/>
              <a:ext cx="84888" cy="160650"/>
            </a:xfrm>
            <a:custGeom>
              <a:avLst/>
              <a:gdLst/>
              <a:ahLst/>
              <a:cxnLst/>
              <a:rect l="l" t="t" r="r" b="b"/>
              <a:pathLst>
                <a:path w="4037" h="7640" extrusionOk="0">
                  <a:moveTo>
                    <a:pt x="3403" y="1"/>
                  </a:moveTo>
                  <a:lnTo>
                    <a:pt x="1" y="334"/>
                  </a:lnTo>
                  <a:lnTo>
                    <a:pt x="634" y="7640"/>
                  </a:lnTo>
                  <a:lnTo>
                    <a:pt x="4037" y="7273"/>
                  </a:lnTo>
                  <a:lnTo>
                    <a:pt x="3403" y="1"/>
                  </a:lnTo>
                  <a:close/>
                </a:path>
              </a:pathLst>
            </a:custGeom>
            <a:solidFill>
              <a:srgbClr val="E4897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 name="Google Shape;1119;p41"/>
            <p:cNvSpPr/>
            <p:nvPr/>
          </p:nvSpPr>
          <p:spPr>
            <a:xfrm>
              <a:off x="5789339" y="4368769"/>
              <a:ext cx="75068" cy="159956"/>
            </a:xfrm>
            <a:custGeom>
              <a:avLst/>
              <a:gdLst/>
              <a:ahLst/>
              <a:cxnLst/>
              <a:rect l="l" t="t" r="r" b="b"/>
              <a:pathLst>
                <a:path w="3570" h="7607" extrusionOk="0">
                  <a:moveTo>
                    <a:pt x="0" y="1"/>
                  </a:moveTo>
                  <a:lnTo>
                    <a:pt x="267" y="7606"/>
                  </a:lnTo>
                  <a:lnTo>
                    <a:pt x="3570" y="7606"/>
                  </a:lnTo>
                  <a:lnTo>
                    <a:pt x="3303" y="1"/>
                  </a:lnTo>
                  <a:close/>
                </a:path>
              </a:pathLst>
            </a:custGeom>
            <a:solidFill>
              <a:srgbClr val="E4897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 name="Google Shape;1120;p41"/>
            <p:cNvSpPr/>
            <p:nvPr/>
          </p:nvSpPr>
          <p:spPr>
            <a:xfrm>
              <a:off x="5651858" y="4520843"/>
              <a:ext cx="237800" cy="78012"/>
            </a:xfrm>
            <a:custGeom>
              <a:avLst/>
              <a:gdLst/>
              <a:ahLst/>
              <a:cxnLst/>
              <a:rect l="l" t="t" r="r" b="b"/>
              <a:pathLst>
                <a:path w="11309" h="3710" extrusionOk="0">
                  <a:moveTo>
                    <a:pt x="6281" y="1"/>
                  </a:moveTo>
                  <a:cubicBezTo>
                    <a:pt x="6087" y="1"/>
                    <a:pt x="5920" y="92"/>
                    <a:pt x="5804" y="207"/>
                  </a:cubicBezTo>
                  <a:cubicBezTo>
                    <a:pt x="5004" y="941"/>
                    <a:pt x="3103" y="1709"/>
                    <a:pt x="567" y="2242"/>
                  </a:cubicBezTo>
                  <a:cubicBezTo>
                    <a:pt x="0" y="2376"/>
                    <a:pt x="200" y="3710"/>
                    <a:pt x="1568" y="3710"/>
                  </a:cubicBezTo>
                  <a:cubicBezTo>
                    <a:pt x="2936" y="3710"/>
                    <a:pt x="5938" y="3610"/>
                    <a:pt x="6939" y="3610"/>
                  </a:cubicBezTo>
                  <a:cubicBezTo>
                    <a:pt x="8573" y="3610"/>
                    <a:pt x="9507" y="3710"/>
                    <a:pt x="10775" y="3710"/>
                  </a:cubicBezTo>
                  <a:cubicBezTo>
                    <a:pt x="11075" y="3710"/>
                    <a:pt x="11308" y="3443"/>
                    <a:pt x="11275" y="3143"/>
                  </a:cubicBezTo>
                  <a:lnTo>
                    <a:pt x="10608" y="207"/>
                  </a:lnTo>
                  <a:cubicBezTo>
                    <a:pt x="10575" y="74"/>
                    <a:pt x="10474" y="7"/>
                    <a:pt x="10341" y="7"/>
                  </a:cubicBezTo>
                  <a:lnTo>
                    <a:pt x="6372" y="7"/>
                  </a:lnTo>
                  <a:cubicBezTo>
                    <a:pt x="6341" y="3"/>
                    <a:pt x="6311" y="1"/>
                    <a:pt x="6281" y="1"/>
                  </a:cubicBezTo>
                  <a:close/>
                </a:path>
              </a:pathLst>
            </a:custGeom>
            <a:solidFill>
              <a:srgbClr val="2E353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 name="Google Shape;1121;p41"/>
            <p:cNvSpPr/>
            <p:nvPr/>
          </p:nvSpPr>
          <p:spPr>
            <a:xfrm>
              <a:off x="5745853" y="4515292"/>
              <a:ext cx="36483" cy="17642"/>
            </a:xfrm>
            <a:custGeom>
              <a:avLst/>
              <a:gdLst/>
              <a:ahLst/>
              <a:cxnLst/>
              <a:rect l="l" t="t" r="r" b="b"/>
              <a:pathLst>
                <a:path w="1735" h="839" extrusionOk="0">
                  <a:moveTo>
                    <a:pt x="278" y="156"/>
                  </a:moveTo>
                  <a:cubicBezTo>
                    <a:pt x="293" y="156"/>
                    <a:pt x="312" y="160"/>
                    <a:pt x="334" y="171"/>
                  </a:cubicBezTo>
                  <a:cubicBezTo>
                    <a:pt x="701" y="238"/>
                    <a:pt x="1101" y="371"/>
                    <a:pt x="1435" y="605"/>
                  </a:cubicBezTo>
                  <a:cubicBezTo>
                    <a:pt x="1281" y="661"/>
                    <a:pt x="1117" y="687"/>
                    <a:pt x="950" y="687"/>
                  </a:cubicBezTo>
                  <a:cubicBezTo>
                    <a:pt x="717" y="687"/>
                    <a:pt x="481" y="635"/>
                    <a:pt x="267" y="538"/>
                  </a:cubicBezTo>
                  <a:cubicBezTo>
                    <a:pt x="200" y="471"/>
                    <a:pt x="167" y="371"/>
                    <a:pt x="167" y="271"/>
                  </a:cubicBezTo>
                  <a:cubicBezTo>
                    <a:pt x="167" y="205"/>
                    <a:pt x="200" y="171"/>
                    <a:pt x="234" y="171"/>
                  </a:cubicBezTo>
                  <a:cubicBezTo>
                    <a:pt x="234" y="171"/>
                    <a:pt x="249" y="156"/>
                    <a:pt x="278" y="156"/>
                  </a:cubicBezTo>
                  <a:close/>
                  <a:moveTo>
                    <a:pt x="308" y="1"/>
                  </a:moveTo>
                  <a:cubicBezTo>
                    <a:pt x="241" y="1"/>
                    <a:pt x="181" y="12"/>
                    <a:pt x="134" y="38"/>
                  </a:cubicBezTo>
                  <a:cubicBezTo>
                    <a:pt x="67" y="71"/>
                    <a:pt x="0" y="171"/>
                    <a:pt x="0" y="238"/>
                  </a:cubicBezTo>
                  <a:cubicBezTo>
                    <a:pt x="0" y="405"/>
                    <a:pt x="67" y="572"/>
                    <a:pt x="167" y="672"/>
                  </a:cubicBezTo>
                  <a:cubicBezTo>
                    <a:pt x="367" y="805"/>
                    <a:pt x="567" y="838"/>
                    <a:pt x="801" y="838"/>
                  </a:cubicBezTo>
                  <a:cubicBezTo>
                    <a:pt x="1101" y="838"/>
                    <a:pt x="1368" y="772"/>
                    <a:pt x="1668" y="705"/>
                  </a:cubicBezTo>
                  <a:cubicBezTo>
                    <a:pt x="1701" y="705"/>
                    <a:pt x="1735" y="672"/>
                    <a:pt x="1735" y="638"/>
                  </a:cubicBezTo>
                  <a:cubicBezTo>
                    <a:pt x="1735" y="605"/>
                    <a:pt x="1701" y="572"/>
                    <a:pt x="1701" y="572"/>
                  </a:cubicBezTo>
                  <a:cubicBezTo>
                    <a:pt x="1585" y="514"/>
                    <a:pt x="762" y="1"/>
                    <a:pt x="308" y="1"/>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 name="Google Shape;1122;p41"/>
            <p:cNvSpPr/>
            <p:nvPr/>
          </p:nvSpPr>
          <p:spPr>
            <a:xfrm>
              <a:off x="5758470" y="4499689"/>
              <a:ext cx="23866" cy="31142"/>
            </a:xfrm>
            <a:custGeom>
              <a:avLst/>
              <a:gdLst/>
              <a:ahLst/>
              <a:cxnLst/>
              <a:rect l="l" t="t" r="r" b="b"/>
              <a:pathLst>
                <a:path w="1135" h="1481" extrusionOk="0">
                  <a:moveTo>
                    <a:pt x="434" y="133"/>
                  </a:moveTo>
                  <a:cubicBezTo>
                    <a:pt x="470" y="133"/>
                    <a:pt x="519" y="164"/>
                    <a:pt x="568" y="213"/>
                  </a:cubicBezTo>
                  <a:cubicBezTo>
                    <a:pt x="801" y="480"/>
                    <a:pt x="935" y="847"/>
                    <a:pt x="935" y="1213"/>
                  </a:cubicBezTo>
                  <a:cubicBezTo>
                    <a:pt x="601" y="980"/>
                    <a:pt x="201" y="413"/>
                    <a:pt x="234" y="213"/>
                  </a:cubicBezTo>
                  <a:cubicBezTo>
                    <a:pt x="234" y="179"/>
                    <a:pt x="234" y="146"/>
                    <a:pt x="334" y="146"/>
                  </a:cubicBezTo>
                  <a:lnTo>
                    <a:pt x="401" y="146"/>
                  </a:lnTo>
                  <a:cubicBezTo>
                    <a:pt x="410" y="137"/>
                    <a:pt x="421" y="133"/>
                    <a:pt x="434" y="133"/>
                  </a:cubicBezTo>
                  <a:close/>
                  <a:moveTo>
                    <a:pt x="414" y="0"/>
                  </a:moveTo>
                  <a:cubicBezTo>
                    <a:pt x="386" y="0"/>
                    <a:pt x="359" y="4"/>
                    <a:pt x="334" y="13"/>
                  </a:cubicBezTo>
                  <a:cubicBezTo>
                    <a:pt x="201" y="13"/>
                    <a:pt x="101" y="79"/>
                    <a:pt x="67" y="213"/>
                  </a:cubicBezTo>
                  <a:cubicBezTo>
                    <a:pt x="1" y="546"/>
                    <a:pt x="668" y="1280"/>
                    <a:pt x="1001" y="1447"/>
                  </a:cubicBezTo>
                  <a:lnTo>
                    <a:pt x="1035" y="1447"/>
                  </a:lnTo>
                  <a:cubicBezTo>
                    <a:pt x="1068" y="1480"/>
                    <a:pt x="1068" y="1480"/>
                    <a:pt x="1101" y="1480"/>
                  </a:cubicBezTo>
                  <a:cubicBezTo>
                    <a:pt x="1101" y="1447"/>
                    <a:pt x="1135" y="1414"/>
                    <a:pt x="1135" y="1414"/>
                  </a:cubicBezTo>
                  <a:cubicBezTo>
                    <a:pt x="1135" y="1347"/>
                    <a:pt x="1035" y="413"/>
                    <a:pt x="668" y="113"/>
                  </a:cubicBezTo>
                  <a:cubicBezTo>
                    <a:pt x="593" y="38"/>
                    <a:pt x="499" y="0"/>
                    <a:pt x="414"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 name="Google Shape;1123;p41"/>
            <p:cNvSpPr/>
            <p:nvPr/>
          </p:nvSpPr>
          <p:spPr>
            <a:xfrm>
              <a:off x="5296927" y="4518740"/>
              <a:ext cx="237800" cy="78012"/>
            </a:xfrm>
            <a:custGeom>
              <a:avLst/>
              <a:gdLst/>
              <a:ahLst/>
              <a:cxnLst/>
              <a:rect l="l" t="t" r="r" b="b"/>
              <a:pathLst>
                <a:path w="11309" h="3710" extrusionOk="0">
                  <a:moveTo>
                    <a:pt x="6260" y="1"/>
                  </a:moveTo>
                  <a:cubicBezTo>
                    <a:pt x="6087" y="1"/>
                    <a:pt x="5921" y="92"/>
                    <a:pt x="5805" y="207"/>
                  </a:cubicBezTo>
                  <a:cubicBezTo>
                    <a:pt x="5004" y="941"/>
                    <a:pt x="3103" y="1675"/>
                    <a:pt x="568" y="2242"/>
                  </a:cubicBezTo>
                  <a:cubicBezTo>
                    <a:pt x="1" y="2376"/>
                    <a:pt x="167" y="3710"/>
                    <a:pt x="1568" y="3710"/>
                  </a:cubicBezTo>
                  <a:cubicBezTo>
                    <a:pt x="2936" y="3710"/>
                    <a:pt x="5938" y="3610"/>
                    <a:pt x="6939" y="3610"/>
                  </a:cubicBezTo>
                  <a:cubicBezTo>
                    <a:pt x="8540" y="3610"/>
                    <a:pt x="9507" y="3710"/>
                    <a:pt x="10775" y="3710"/>
                  </a:cubicBezTo>
                  <a:cubicBezTo>
                    <a:pt x="11075" y="3710"/>
                    <a:pt x="11309" y="3443"/>
                    <a:pt x="11275" y="3143"/>
                  </a:cubicBezTo>
                  <a:lnTo>
                    <a:pt x="10608" y="207"/>
                  </a:lnTo>
                  <a:cubicBezTo>
                    <a:pt x="10579" y="92"/>
                    <a:pt x="10500" y="1"/>
                    <a:pt x="10392" y="1"/>
                  </a:cubicBezTo>
                  <a:cubicBezTo>
                    <a:pt x="10376" y="1"/>
                    <a:pt x="10359" y="3"/>
                    <a:pt x="10341" y="7"/>
                  </a:cubicBezTo>
                  <a:lnTo>
                    <a:pt x="6338" y="7"/>
                  </a:lnTo>
                  <a:cubicBezTo>
                    <a:pt x="6312" y="3"/>
                    <a:pt x="6286" y="1"/>
                    <a:pt x="6260" y="1"/>
                  </a:cubicBezTo>
                  <a:close/>
                </a:path>
              </a:pathLst>
            </a:custGeom>
            <a:solidFill>
              <a:srgbClr val="2E353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 name="Google Shape;1124;p41"/>
            <p:cNvSpPr/>
            <p:nvPr/>
          </p:nvSpPr>
          <p:spPr>
            <a:xfrm>
              <a:off x="5390922" y="4513189"/>
              <a:ext cx="36504" cy="17642"/>
            </a:xfrm>
            <a:custGeom>
              <a:avLst/>
              <a:gdLst/>
              <a:ahLst/>
              <a:cxnLst/>
              <a:rect l="l" t="t" r="r" b="b"/>
              <a:pathLst>
                <a:path w="1736" h="839" extrusionOk="0">
                  <a:moveTo>
                    <a:pt x="301" y="138"/>
                  </a:moveTo>
                  <a:cubicBezTo>
                    <a:pt x="701" y="205"/>
                    <a:pt x="1101" y="371"/>
                    <a:pt x="1435" y="605"/>
                  </a:cubicBezTo>
                  <a:cubicBezTo>
                    <a:pt x="1260" y="649"/>
                    <a:pt x="1085" y="673"/>
                    <a:pt x="913" y="673"/>
                  </a:cubicBezTo>
                  <a:cubicBezTo>
                    <a:pt x="691" y="673"/>
                    <a:pt x="474" y="632"/>
                    <a:pt x="267" y="538"/>
                  </a:cubicBezTo>
                  <a:cubicBezTo>
                    <a:pt x="201" y="471"/>
                    <a:pt x="134" y="371"/>
                    <a:pt x="167" y="238"/>
                  </a:cubicBezTo>
                  <a:cubicBezTo>
                    <a:pt x="167" y="205"/>
                    <a:pt x="201" y="171"/>
                    <a:pt x="201" y="171"/>
                  </a:cubicBezTo>
                  <a:cubicBezTo>
                    <a:pt x="234" y="138"/>
                    <a:pt x="267" y="138"/>
                    <a:pt x="301" y="138"/>
                  </a:cubicBezTo>
                  <a:close/>
                  <a:moveTo>
                    <a:pt x="308" y="0"/>
                  </a:moveTo>
                  <a:cubicBezTo>
                    <a:pt x="241" y="0"/>
                    <a:pt x="181" y="12"/>
                    <a:pt x="134" y="38"/>
                  </a:cubicBezTo>
                  <a:cubicBezTo>
                    <a:pt x="67" y="71"/>
                    <a:pt x="0" y="138"/>
                    <a:pt x="0" y="238"/>
                  </a:cubicBezTo>
                  <a:cubicBezTo>
                    <a:pt x="0" y="405"/>
                    <a:pt x="34" y="571"/>
                    <a:pt x="167" y="672"/>
                  </a:cubicBezTo>
                  <a:cubicBezTo>
                    <a:pt x="367" y="772"/>
                    <a:pt x="568" y="838"/>
                    <a:pt x="801" y="838"/>
                  </a:cubicBezTo>
                  <a:cubicBezTo>
                    <a:pt x="1101" y="805"/>
                    <a:pt x="1368" y="772"/>
                    <a:pt x="1668" y="705"/>
                  </a:cubicBezTo>
                  <a:cubicBezTo>
                    <a:pt x="1702" y="705"/>
                    <a:pt x="1702" y="672"/>
                    <a:pt x="1702" y="638"/>
                  </a:cubicBezTo>
                  <a:cubicBezTo>
                    <a:pt x="1735" y="605"/>
                    <a:pt x="1702" y="571"/>
                    <a:pt x="1668" y="571"/>
                  </a:cubicBezTo>
                  <a:cubicBezTo>
                    <a:pt x="1581" y="513"/>
                    <a:pt x="761" y="0"/>
                    <a:pt x="308"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 name="Google Shape;1125;p41"/>
            <p:cNvSpPr/>
            <p:nvPr/>
          </p:nvSpPr>
          <p:spPr>
            <a:xfrm>
              <a:off x="5403538" y="4497586"/>
              <a:ext cx="23172" cy="31142"/>
            </a:xfrm>
            <a:custGeom>
              <a:avLst/>
              <a:gdLst/>
              <a:ahLst/>
              <a:cxnLst/>
              <a:rect l="l" t="t" r="r" b="b"/>
              <a:pathLst>
                <a:path w="1102" h="1481" extrusionOk="0">
                  <a:moveTo>
                    <a:pt x="368" y="113"/>
                  </a:moveTo>
                  <a:cubicBezTo>
                    <a:pt x="435" y="113"/>
                    <a:pt x="501" y="146"/>
                    <a:pt x="568" y="179"/>
                  </a:cubicBezTo>
                  <a:cubicBezTo>
                    <a:pt x="768" y="480"/>
                    <a:pt x="902" y="846"/>
                    <a:pt x="935" y="1213"/>
                  </a:cubicBezTo>
                  <a:cubicBezTo>
                    <a:pt x="601" y="980"/>
                    <a:pt x="201" y="413"/>
                    <a:pt x="234" y="213"/>
                  </a:cubicBezTo>
                  <a:cubicBezTo>
                    <a:pt x="234" y="179"/>
                    <a:pt x="234" y="113"/>
                    <a:pt x="334" y="113"/>
                  </a:cubicBezTo>
                  <a:close/>
                  <a:moveTo>
                    <a:pt x="415" y="0"/>
                  </a:moveTo>
                  <a:cubicBezTo>
                    <a:pt x="387" y="0"/>
                    <a:pt x="360" y="4"/>
                    <a:pt x="334" y="13"/>
                  </a:cubicBezTo>
                  <a:cubicBezTo>
                    <a:pt x="201" y="13"/>
                    <a:pt x="101" y="79"/>
                    <a:pt x="68" y="213"/>
                  </a:cubicBezTo>
                  <a:cubicBezTo>
                    <a:pt x="1" y="546"/>
                    <a:pt x="668" y="1280"/>
                    <a:pt x="1002" y="1447"/>
                  </a:cubicBezTo>
                  <a:lnTo>
                    <a:pt x="1035" y="1447"/>
                  </a:lnTo>
                  <a:cubicBezTo>
                    <a:pt x="1035" y="1480"/>
                    <a:pt x="1068" y="1480"/>
                    <a:pt x="1068" y="1480"/>
                  </a:cubicBezTo>
                  <a:cubicBezTo>
                    <a:pt x="1102" y="1447"/>
                    <a:pt x="1102" y="1414"/>
                    <a:pt x="1102" y="1414"/>
                  </a:cubicBezTo>
                  <a:cubicBezTo>
                    <a:pt x="1102" y="1347"/>
                    <a:pt x="1035" y="413"/>
                    <a:pt x="668" y="113"/>
                  </a:cubicBezTo>
                  <a:cubicBezTo>
                    <a:pt x="593" y="38"/>
                    <a:pt x="499" y="0"/>
                    <a:pt x="415"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 name="Google Shape;1126;p41"/>
            <p:cNvSpPr/>
            <p:nvPr/>
          </p:nvSpPr>
          <p:spPr>
            <a:xfrm>
              <a:off x="5424587" y="4380692"/>
              <a:ext cx="77886" cy="86297"/>
            </a:xfrm>
            <a:custGeom>
              <a:avLst/>
              <a:gdLst/>
              <a:ahLst/>
              <a:cxnLst/>
              <a:rect l="l" t="t" r="r" b="b"/>
              <a:pathLst>
                <a:path w="3704" h="4104" extrusionOk="0">
                  <a:moveTo>
                    <a:pt x="3403" y="1"/>
                  </a:moveTo>
                  <a:lnTo>
                    <a:pt x="1" y="334"/>
                  </a:lnTo>
                  <a:lnTo>
                    <a:pt x="334" y="4104"/>
                  </a:lnTo>
                  <a:lnTo>
                    <a:pt x="3703" y="3770"/>
                  </a:lnTo>
                  <a:lnTo>
                    <a:pt x="3403" y="1"/>
                  </a:ln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 name="Google Shape;1127;p41"/>
            <p:cNvSpPr/>
            <p:nvPr/>
          </p:nvSpPr>
          <p:spPr>
            <a:xfrm>
              <a:off x="5789339" y="4369484"/>
              <a:ext cx="72272" cy="82070"/>
            </a:xfrm>
            <a:custGeom>
              <a:avLst/>
              <a:gdLst/>
              <a:ahLst/>
              <a:cxnLst/>
              <a:rect l="l" t="t" r="r" b="b"/>
              <a:pathLst>
                <a:path w="3437" h="3903" extrusionOk="0">
                  <a:moveTo>
                    <a:pt x="0" y="0"/>
                  </a:moveTo>
                  <a:lnTo>
                    <a:pt x="134" y="3903"/>
                  </a:lnTo>
                  <a:lnTo>
                    <a:pt x="3436" y="3903"/>
                  </a:lnTo>
                  <a:lnTo>
                    <a:pt x="3303" y="0"/>
                  </a:ln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 name="Google Shape;1128;p41"/>
            <p:cNvSpPr/>
            <p:nvPr/>
          </p:nvSpPr>
          <p:spPr>
            <a:xfrm>
              <a:off x="5320772" y="2968704"/>
              <a:ext cx="566060" cy="1468792"/>
            </a:xfrm>
            <a:custGeom>
              <a:avLst/>
              <a:gdLst/>
              <a:ahLst/>
              <a:cxnLst/>
              <a:rect l="l" t="t" r="r" b="b"/>
              <a:pathLst>
                <a:path w="26920" h="69851" extrusionOk="0">
                  <a:moveTo>
                    <a:pt x="6806" y="1"/>
                  </a:moveTo>
                  <a:cubicBezTo>
                    <a:pt x="5138" y="9041"/>
                    <a:pt x="1" y="40997"/>
                    <a:pt x="3703" y="69484"/>
                  </a:cubicBezTo>
                  <a:lnTo>
                    <a:pt x="9608" y="68750"/>
                  </a:lnTo>
                  <a:cubicBezTo>
                    <a:pt x="9608" y="68750"/>
                    <a:pt x="9041" y="30923"/>
                    <a:pt x="14244" y="16946"/>
                  </a:cubicBezTo>
                  <a:cubicBezTo>
                    <a:pt x="14845" y="24452"/>
                    <a:pt x="15545" y="32391"/>
                    <a:pt x="16179" y="36627"/>
                  </a:cubicBezTo>
                  <a:cubicBezTo>
                    <a:pt x="17680" y="47068"/>
                    <a:pt x="20916" y="69851"/>
                    <a:pt x="20916" y="69851"/>
                  </a:cubicBezTo>
                  <a:lnTo>
                    <a:pt x="26920" y="69851"/>
                  </a:lnTo>
                  <a:cubicBezTo>
                    <a:pt x="26920" y="69851"/>
                    <a:pt x="25686" y="48035"/>
                    <a:pt x="25119" y="37795"/>
                  </a:cubicBezTo>
                  <a:cubicBezTo>
                    <a:pt x="24518" y="26653"/>
                    <a:pt x="24251" y="2302"/>
                    <a:pt x="24218" y="1"/>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 name="Google Shape;1129;p41"/>
            <p:cNvSpPr/>
            <p:nvPr/>
          </p:nvSpPr>
          <p:spPr>
            <a:xfrm>
              <a:off x="5569092" y="3195280"/>
              <a:ext cx="51223" cy="288308"/>
            </a:xfrm>
            <a:custGeom>
              <a:avLst/>
              <a:gdLst/>
              <a:ahLst/>
              <a:cxnLst/>
              <a:rect l="l" t="t" r="r" b="b"/>
              <a:pathLst>
                <a:path w="2436" h="13711" extrusionOk="0">
                  <a:moveTo>
                    <a:pt x="1968" y="0"/>
                  </a:moveTo>
                  <a:cubicBezTo>
                    <a:pt x="1968" y="0"/>
                    <a:pt x="0" y="7039"/>
                    <a:pt x="501" y="13710"/>
                  </a:cubicBezTo>
                  <a:cubicBezTo>
                    <a:pt x="934" y="11142"/>
                    <a:pt x="1568" y="8640"/>
                    <a:pt x="2435" y="6171"/>
                  </a:cubicBezTo>
                  <a:lnTo>
                    <a:pt x="1968" y="0"/>
                  </a:ln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 name="Google Shape;1130;p41"/>
            <p:cNvSpPr/>
            <p:nvPr/>
          </p:nvSpPr>
          <p:spPr>
            <a:xfrm>
              <a:off x="5373384" y="4393329"/>
              <a:ext cx="164162" cy="65248"/>
            </a:xfrm>
            <a:custGeom>
              <a:avLst/>
              <a:gdLst/>
              <a:ahLst/>
              <a:cxnLst/>
              <a:rect l="l" t="t" r="r" b="b"/>
              <a:pathLst>
                <a:path w="7807" h="3103" extrusionOk="0">
                  <a:moveTo>
                    <a:pt x="7606" y="0"/>
                  </a:moveTo>
                  <a:lnTo>
                    <a:pt x="1" y="1001"/>
                  </a:lnTo>
                  <a:lnTo>
                    <a:pt x="534" y="3103"/>
                  </a:lnTo>
                  <a:lnTo>
                    <a:pt x="7806" y="2002"/>
                  </a:lnTo>
                  <a:lnTo>
                    <a:pt x="7606" y="0"/>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 name="Google Shape;1131;p41"/>
            <p:cNvSpPr/>
            <p:nvPr/>
          </p:nvSpPr>
          <p:spPr>
            <a:xfrm>
              <a:off x="5373384" y="4393329"/>
              <a:ext cx="164162" cy="65248"/>
            </a:xfrm>
            <a:custGeom>
              <a:avLst/>
              <a:gdLst/>
              <a:ahLst/>
              <a:cxnLst/>
              <a:rect l="l" t="t" r="r" b="b"/>
              <a:pathLst>
                <a:path w="7807" h="3103" extrusionOk="0">
                  <a:moveTo>
                    <a:pt x="7606" y="0"/>
                  </a:moveTo>
                  <a:lnTo>
                    <a:pt x="1" y="1001"/>
                  </a:lnTo>
                  <a:lnTo>
                    <a:pt x="534" y="3103"/>
                  </a:lnTo>
                  <a:lnTo>
                    <a:pt x="7806" y="2002"/>
                  </a:lnTo>
                  <a:lnTo>
                    <a:pt x="7606"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 name="Google Shape;1132;p41"/>
            <p:cNvSpPr/>
            <p:nvPr/>
          </p:nvSpPr>
          <p:spPr>
            <a:xfrm>
              <a:off x="5740238" y="4391227"/>
              <a:ext cx="154321" cy="47017"/>
            </a:xfrm>
            <a:custGeom>
              <a:avLst/>
              <a:gdLst/>
              <a:ahLst/>
              <a:cxnLst/>
              <a:rect l="l" t="t" r="r" b="b"/>
              <a:pathLst>
                <a:path w="7339" h="2236" extrusionOk="0">
                  <a:moveTo>
                    <a:pt x="0" y="0"/>
                  </a:moveTo>
                  <a:lnTo>
                    <a:pt x="267" y="2235"/>
                  </a:lnTo>
                  <a:lnTo>
                    <a:pt x="7339" y="2235"/>
                  </a:lnTo>
                  <a:lnTo>
                    <a:pt x="7339" y="134"/>
                  </a:lnTo>
                  <a:lnTo>
                    <a:pt x="0" y="0"/>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 name="Google Shape;1133;p41"/>
            <p:cNvSpPr/>
            <p:nvPr/>
          </p:nvSpPr>
          <p:spPr>
            <a:xfrm>
              <a:off x="5740238" y="4391227"/>
              <a:ext cx="154321" cy="47017"/>
            </a:xfrm>
            <a:custGeom>
              <a:avLst/>
              <a:gdLst/>
              <a:ahLst/>
              <a:cxnLst/>
              <a:rect l="l" t="t" r="r" b="b"/>
              <a:pathLst>
                <a:path w="7339" h="2236" extrusionOk="0">
                  <a:moveTo>
                    <a:pt x="0" y="0"/>
                  </a:moveTo>
                  <a:lnTo>
                    <a:pt x="267" y="2235"/>
                  </a:lnTo>
                  <a:lnTo>
                    <a:pt x="7339" y="2235"/>
                  </a:lnTo>
                  <a:lnTo>
                    <a:pt x="7339" y="134"/>
                  </a:lnTo>
                  <a:lnTo>
                    <a:pt x="0"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 name="Google Shape;1134;p41"/>
            <p:cNvSpPr/>
            <p:nvPr/>
          </p:nvSpPr>
          <p:spPr>
            <a:xfrm>
              <a:off x="5456150" y="2972909"/>
              <a:ext cx="373175" cy="44221"/>
            </a:xfrm>
            <a:custGeom>
              <a:avLst/>
              <a:gdLst/>
              <a:ahLst/>
              <a:cxnLst/>
              <a:rect l="l" t="t" r="r" b="b"/>
              <a:pathLst>
                <a:path w="17747" h="2103" extrusionOk="0">
                  <a:moveTo>
                    <a:pt x="234" y="1"/>
                  </a:moveTo>
                  <a:lnTo>
                    <a:pt x="1" y="1869"/>
                  </a:lnTo>
                  <a:lnTo>
                    <a:pt x="17747" y="2102"/>
                  </a:lnTo>
                  <a:lnTo>
                    <a:pt x="17747" y="1"/>
                  </a:ln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 name="Google Shape;1135;p41"/>
            <p:cNvSpPr/>
            <p:nvPr/>
          </p:nvSpPr>
          <p:spPr>
            <a:xfrm>
              <a:off x="5698140" y="2953269"/>
              <a:ext cx="12659" cy="77886"/>
            </a:xfrm>
            <a:custGeom>
              <a:avLst/>
              <a:gdLst/>
              <a:ahLst/>
              <a:cxnLst/>
              <a:rect l="l" t="t" r="r" b="b"/>
              <a:pathLst>
                <a:path w="602" h="3704" extrusionOk="0">
                  <a:moveTo>
                    <a:pt x="1" y="1"/>
                  </a:moveTo>
                  <a:lnTo>
                    <a:pt x="1" y="3704"/>
                  </a:lnTo>
                  <a:lnTo>
                    <a:pt x="601" y="3704"/>
                  </a:lnTo>
                  <a:lnTo>
                    <a:pt x="601" y="1"/>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 name="Google Shape;1136;p41"/>
            <p:cNvSpPr/>
            <p:nvPr/>
          </p:nvSpPr>
          <p:spPr>
            <a:xfrm>
              <a:off x="5511559" y="2953269"/>
              <a:ext cx="13352" cy="77886"/>
            </a:xfrm>
            <a:custGeom>
              <a:avLst/>
              <a:gdLst/>
              <a:ahLst/>
              <a:cxnLst/>
              <a:rect l="l" t="t" r="r" b="b"/>
              <a:pathLst>
                <a:path w="635" h="3704" extrusionOk="0">
                  <a:moveTo>
                    <a:pt x="1" y="1"/>
                  </a:moveTo>
                  <a:lnTo>
                    <a:pt x="1" y="3704"/>
                  </a:lnTo>
                  <a:lnTo>
                    <a:pt x="635" y="3704"/>
                  </a:lnTo>
                  <a:lnTo>
                    <a:pt x="635" y="1"/>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 name="Google Shape;1137;p41"/>
            <p:cNvSpPr/>
            <p:nvPr/>
          </p:nvSpPr>
          <p:spPr>
            <a:xfrm>
              <a:off x="5560660" y="2965213"/>
              <a:ext cx="68066" cy="49120"/>
            </a:xfrm>
            <a:custGeom>
              <a:avLst/>
              <a:gdLst/>
              <a:ahLst/>
              <a:cxnLst/>
              <a:rect l="l" t="t" r="r" b="b"/>
              <a:pathLst>
                <a:path w="3237" h="2336" extrusionOk="0">
                  <a:moveTo>
                    <a:pt x="1" y="0"/>
                  </a:moveTo>
                  <a:lnTo>
                    <a:pt x="1" y="2335"/>
                  </a:lnTo>
                  <a:lnTo>
                    <a:pt x="3237" y="2335"/>
                  </a:lnTo>
                  <a:lnTo>
                    <a:pt x="3237"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 name="Google Shape;1138;p41"/>
            <p:cNvSpPr/>
            <p:nvPr/>
          </p:nvSpPr>
          <p:spPr>
            <a:xfrm>
              <a:off x="5437225" y="2334205"/>
              <a:ext cx="466453" cy="638710"/>
            </a:xfrm>
            <a:custGeom>
              <a:avLst/>
              <a:gdLst/>
              <a:ahLst/>
              <a:cxnLst/>
              <a:rect l="l" t="t" r="r" b="b"/>
              <a:pathLst>
                <a:path w="22183" h="30375" extrusionOk="0">
                  <a:moveTo>
                    <a:pt x="5919" y="0"/>
                  </a:moveTo>
                  <a:cubicBezTo>
                    <a:pt x="4046" y="0"/>
                    <a:pt x="2869" y="53"/>
                    <a:pt x="2869" y="53"/>
                  </a:cubicBezTo>
                  <a:cubicBezTo>
                    <a:pt x="0" y="10828"/>
                    <a:pt x="1134" y="30375"/>
                    <a:pt x="1134" y="30375"/>
                  </a:cubicBezTo>
                  <a:lnTo>
                    <a:pt x="18680" y="30375"/>
                  </a:lnTo>
                  <a:cubicBezTo>
                    <a:pt x="18547" y="19968"/>
                    <a:pt x="22183" y="1621"/>
                    <a:pt x="22183" y="1621"/>
                  </a:cubicBezTo>
                  <a:cubicBezTo>
                    <a:pt x="16630" y="227"/>
                    <a:pt x="9790" y="0"/>
                    <a:pt x="5919"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 name="Google Shape;1139;p41"/>
            <p:cNvSpPr/>
            <p:nvPr/>
          </p:nvSpPr>
          <p:spPr>
            <a:xfrm>
              <a:off x="5437225" y="2334205"/>
              <a:ext cx="466453" cy="638710"/>
            </a:xfrm>
            <a:custGeom>
              <a:avLst/>
              <a:gdLst/>
              <a:ahLst/>
              <a:cxnLst/>
              <a:rect l="l" t="t" r="r" b="b"/>
              <a:pathLst>
                <a:path w="22183" h="30375" extrusionOk="0">
                  <a:moveTo>
                    <a:pt x="5919" y="0"/>
                  </a:moveTo>
                  <a:cubicBezTo>
                    <a:pt x="4046" y="0"/>
                    <a:pt x="2869" y="53"/>
                    <a:pt x="2869" y="53"/>
                  </a:cubicBezTo>
                  <a:cubicBezTo>
                    <a:pt x="0" y="10828"/>
                    <a:pt x="1134" y="30375"/>
                    <a:pt x="1134" y="30375"/>
                  </a:cubicBezTo>
                  <a:lnTo>
                    <a:pt x="18680" y="30375"/>
                  </a:lnTo>
                  <a:cubicBezTo>
                    <a:pt x="18613" y="26339"/>
                    <a:pt x="19147" y="21102"/>
                    <a:pt x="19781" y="16232"/>
                  </a:cubicBezTo>
                  <a:cubicBezTo>
                    <a:pt x="20081" y="14130"/>
                    <a:pt x="20381" y="12095"/>
                    <a:pt x="20648" y="10261"/>
                  </a:cubicBezTo>
                  <a:cubicBezTo>
                    <a:pt x="21449" y="5290"/>
                    <a:pt x="22183" y="1621"/>
                    <a:pt x="22183" y="1621"/>
                  </a:cubicBezTo>
                  <a:cubicBezTo>
                    <a:pt x="16630" y="227"/>
                    <a:pt x="9790" y="0"/>
                    <a:pt x="591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 name="Google Shape;1140;p41"/>
            <p:cNvSpPr/>
            <p:nvPr/>
          </p:nvSpPr>
          <p:spPr>
            <a:xfrm>
              <a:off x="5560660" y="2363371"/>
              <a:ext cx="134702" cy="425786"/>
            </a:xfrm>
            <a:custGeom>
              <a:avLst/>
              <a:gdLst/>
              <a:ahLst/>
              <a:cxnLst/>
              <a:rect l="l" t="t" r="r" b="b"/>
              <a:pathLst>
                <a:path w="6406" h="20249" extrusionOk="0">
                  <a:moveTo>
                    <a:pt x="4504" y="1"/>
                  </a:moveTo>
                  <a:lnTo>
                    <a:pt x="2770" y="101"/>
                  </a:lnTo>
                  <a:lnTo>
                    <a:pt x="3237" y="2369"/>
                  </a:lnTo>
                  <a:cubicBezTo>
                    <a:pt x="3237" y="2369"/>
                    <a:pt x="568" y="13477"/>
                    <a:pt x="1" y="19248"/>
                  </a:cubicBezTo>
                  <a:lnTo>
                    <a:pt x="968" y="20248"/>
                  </a:lnTo>
                  <a:lnTo>
                    <a:pt x="2503" y="19248"/>
                  </a:lnTo>
                  <a:cubicBezTo>
                    <a:pt x="2503" y="19248"/>
                    <a:pt x="2636" y="7506"/>
                    <a:pt x="4004" y="2569"/>
                  </a:cubicBezTo>
                  <a:lnTo>
                    <a:pt x="6405" y="601"/>
                  </a:lnTo>
                  <a:lnTo>
                    <a:pt x="4504" y="1"/>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1" name="Google Shape;1141;p41"/>
            <p:cNvSpPr/>
            <p:nvPr/>
          </p:nvSpPr>
          <p:spPr>
            <a:xfrm>
              <a:off x="5554351" y="2012645"/>
              <a:ext cx="101037" cy="145279"/>
            </a:xfrm>
            <a:custGeom>
              <a:avLst/>
              <a:gdLst/>
              <a:ahLst/>
              <a:cxnLst/>
              <a:rect l="l" t="t" r="r" b="b"/>
              <a:pathLst>
                <a:path w="4805" h="6909" extrusionOk="0">
                  <a:moveTo>
                    <a:pt x="4804" y="1"/>
                  </a:moveTo>
                  <a:lnTo>
                    <a:pt x="701" y="435"/>
                  </a:lnTo>
                  <a:cubicBezTo>
                    <a:pt x="701" y="435"/>
                    <a:pt x="1" y="4938"/>
                    <a:pt x="2402" y="6672"/>
                  </a:cubicBezTo>
                  <a:cubicBezTo>
                    <a:pt x="2627" y="6835"/>
                    <a:pt x="2831" y="6908"/>
                    <a:pt x="3015" y="6908"/>
                  </a:cubicBezTo>
                  <a:cubicBezTo>
                    <a:pt x="4804" y="6908"/>
                    <a:pt x="4804" y="1"/>
                    <a:pt x="4804" y="1"/>
                  </a:cubicBezTo>
                  <a:close/>
                </a:path>
              </a:pathLst>
            </a:custGeom>
            <a:solidFill>
              <a:srgbClr val="2E353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 name="Google Shape;1142;p41"/>
            <p:cNvSpPr/>
            <p:nvPr/>
          </p:nvSpPr>
          <p:spPr>
            <a:xfrm>
              <a:off x="5604166" y="2166275"/>
              <a:ext cx="166958" cy="199109"/>
            </a:xfrm>
            <a:custGeom>
              <a:avLst/>
              <a:gdLst/>
              <a:ahLst/>
              <a:cxnLst/>
              <a:rect l="l" t="t" r="r" b="b"/>
              <a:pathLst>
                <a:path w="7940" h="9469" extrusionOk="0">
                  <a:moveTo>
                    <a:pt x="7806" y="0"/>
                  </a:moveTo>
                  <a:lnTo>
                    <a:pt x="2969" y="3603"/>
                  </a:lnTo>
                  <a:cubicBezTo>
                    <a:pt x="3002" y="3903"/>
                    <a:pt x="3069" y="4203"/>
                    <a:pt x="3069" y="4503"/>
                  </a:cubicBezTo>
                  <a:cubicBezTo>
                    <a:pt x="3136" y="5070"/>
                    <a:pt x="3102" y="5638"/>
                    <a:pt x="2935" y="6171"/>
                  </a:cubicBezTo>
                  <a:cubicBezTo>
                    <a:pt x="2635" y="7005"/>
                    <a:pt x="1935" y="7706"/>
                    <a:pt x="500" y="7939"/>
                  </a:cubicBezTo>
                  <a:cubicBezTo>
                    <a:pt x="0" y="8706"/>
                    <a:pt x="2435" y="9374"/>
                    <a:pt x="2435" y="9374"/>
                  </a:cubicBezTo>
                  <a:cubicBezTo>
                    <a:pt x="2435" y="9374"/>
                    <a:pt x="3127" y="9468"/>
                    <a:pt x="4048" y="9468"/>
                  </a:cubicBezTo>
                  <a:cubicBezTo>
                    <a:pt x="5314" y="9468"/>
                    <a:pt x="7012" y="9289"/>
                    <a:pt x="7939" y="8440"/>
                  </a:cubicBezTo>
                  <a:cubicBezTo>
                    <a:pt x="6371" y="6738"/>
                    <a:pt x="7172" y="2369"/>
                    <a:pt x="7806" y="0"/>
                  </a:cubicBezTo>
                  <a:close/>
                </a:path>
              </a:pathLst>
            </a:custGeom>
            <a:solidFill>
              <a:srgbClr val="E4897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 name="Google Shape;1143;p41"/>
            <p:cNvSpPr/>
            <p:nvPr/>
          </p:nvSpPr>
          <p:spPr>
            <a:xfrm>
              <a:off x="5665883" y="2214661"/>
              <a:ext cx="78580" cy="81397"/>
            </a:xfrm>
            <a:custGeom>
              <a:avLst/>
              <a:gdLst/>
              <a:ahLst/>
              <a:cxnLst/>
              <a:rect l="l" t="t" r="r" b="b"/>
              <a:pathLst>
                <a:path w="3737" h="3871" extrusionOk="0">
                  <a:moveTo>
                    <a:pt x="3736" y="1"/>
                  </a:moveTo>
                  <a:lnTo>
                    <a:pt x="134" y="2202"/>
                  </a:lnTo>
                  <a:cubicBezTo>
                    <a:pt x="201" y="2769"/>
                    <a:pt x="134" y="3337"/>
                    <a:pt x="0" y="3870"/>
                  </a:cubicBezTo>
                  <a:cubicBezTo>
                    <a:pt x="1168" y="3703"/>
                    <a:pt x="3536" y="2903"/>
                    <a:pt x="3736" y="1"/>
                  </a:cubicBez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 name="Google Shape;1144;p41"/>
            <p:cNvSpPr/>
            <p:nvPr/>
          </p:nvSpPr>
          <p:spPr>
            <a:xfrm>
              <a:off x="5560660" y="1996706"/>
              <a:ext cx="218875" cy="269993"/>
            </a:xfrm>
            <a:custGeom>
              <a:avLst/>
              <a:gdLst/>
              <a:ahLst/>
              <a:cxnLst/>
              <a:rect l="l" t="t" r="r" b="b"/>
              <a:pathLst>
                <a:path w="10409" h="12840" extrusionOk="0">
                  <a:moveTo>
                    <a:pt x="5267" y="0"/>
                  </a:moveTo>
                  <a:cubicBezTo>
                    <a:pt x="4471" y="0"/>
                    <a:pt x="3655" y="217"/>
                    <a:pt x="2903" y="692"/>
                  </a:cubicBezTo>
                  <a:cubicBezTo>
                    <a:pt x="1" y="2494"/>
                    <a:pt x="368" y="7330"/>
                    <a:pt x="1535" y="10066"/>
                  </a:cubicBezTo>
                  <a:cubicBezTo>
                    <a:pt x="1602" y="10232"/>
                    <a:pt x="1669" y="10366"/>
                    <a:pt x="1769" y="10499"/>
                  </a:cubicBezTo>
                  <a:cubicBezTo>
                    <a:pt x="2336" y="11500"/>
                    <a:pt x="3270" y="12267"/>
                    <a:pt x="4371" y="12634"/>
                  </a:cubicBezTo>
                  <a:cubicBezTo>
                    <a:pt x="4793" y="12772"/>
                    <a:pt x="5227" y="12839"/>
                    <a:pt x="5658" y="12839"/>
                  </a:cubicBezTo>
                  <a:cubicBezTo>
                    <a:pt x="6994" y="12839"/>
                    <a:pt x="8292" y="12194"/>
                    <a:pt x="9074" y="11033"/>
                  </a:cubicBezTo>
                  <a:cubicBezTo>
                    <a:pt x="10408" y="9132"/>
                    <a:pt x="10041" y="7230"/>
                    <a:pt x="9708" y="4028"/>
                  </a:cubicBezTo>
                  <a:cubicBezTo>
                    <a:pt x="9464" y="1612"/>
                    <a:pt x="7435" y="0"/>
                    <a:pt x="5267" y="0"/>
                  </a:cubicBezTo>
                  <a:close/>
                </a:path>
              </a:pathLst>
            </a:custGeom>
            <a:solidFill>
              <a:srgbClr val="E4897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 name="Google Shape;1145;p41"/>
            <p:cNvSpPr/>
            <p:nvPr/>
          </p:nvSpPr>
          <p:spPr>
            <a:xfrm>
              <a:off x="5651858" y="2108659"/>
              <a:ext cx="14740" cy="19829"/>
            </a:xfrm>
            <a:custGeom>
              <a:avLst/>
              <a:gdLst/>
              <a:ahLst/>
              <a:cxnLst/>
              <a:rect l="l" t="t" r="r" b="b"/>
              <a:pathLst>
                <a:path w="701" h="943" extrusionOk="0">
                  <a:moveTo>
                    <a:pt x="310" y="1"/>
                  </a:moveTo>
                  <a:cubicBezTo>
                    <a:pt x="296" y="1"/>
                    <a:pt x="281" y="2"/>
                    <a:pt x="267" y="5"/>
                  </a:cubicBezTo>
                  <a:cubicBezTo>
                    <a:pt x="100" y="38"/>
                    <a:pt x="0" y="272"/>
                    <a:pt x="34" y="505"/>
                  </a:cubicBezTo>
                  <a:cubicBezTo>
                    <a:pt x="65" y="753"/>
                    <a:pt x="210" y="943"/>
                    <a:pt x="391" y="943"/>
                  </a:cubicBezTo>
                  <a:cubicBezTo>
                    <a:pt x="405" y="943"/>
                    <a:pt x="419" y="941"/>
                    <a:pt x="434" y="939"/>
                  </a:cubicBezTo>
                  <a:cubicBezTo>
                    <a:pt x="601" y="906"/>
                    <a:pt x="701" y="672"/>
                    <a:pt x="667" y="405"/>
                  </a:cubicBezTo>
                  <a:cubicBezTo>
                    <a:pt x="606" y="161"/>
                    <a:pt x="462" y="1"/>
                    <a:pt x="310" y="1"/>
                  </a:cubicBezTo>
                  <a:close/>
                </a:path>
              </a:pathLst>
            </a:custGeom>
            <a:solidFill>
              <a:srgbClr val="2E353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 name="Google Shape;1146;p41"/>
            <p:cNvSpPr/>
            <p:nvPr/>
          </p:nvSpPr>
          <p:spPr>
            <a:xfrm>
              <a:off x="5589426" y="2119194"/>
              <a:ext cx="15455" cy="19808"/>
            </a:xfrm>
            <a:custGeom>
              <a:avLst/>
              <a:gdLst/>
              <a:ahLst/>
              <a:cxnLst/>
              <a:rect l="l" t="t" r="r" b="b"/>
              <a:pathLst>
                <a:path w="735" h="942" extrusionOk="0">
                  <a:moveTo>
                    <a:pt x="338" y="1"/>
                  </a:moveTo>
                  <a:cubicBezTo>
                    <a:pt x="325" y="1"/>
                    <a:pt x="313" y="2"/>
                    <a:pt x="301" y="4"/>
                  </a:cubicBezTo>
                  <a:cubicBezTo>
                    <a:pt x="101" y="38"/>
                    <a:pt x="1" y="271"/>
                    <a:pt x="67" y="538"/>
                  </a:cubicBezTo>
                  <a:cubicBezTo>
                    <a:pt x="98" y="754"/>
                    <a:pt x="244" y="942"/>
                    <a:pt x="397" y="942"/>
                  </a:cubicBezTo>
                  <a:cubicBezTo>
                    <a:pt x="410" y="942"/>
                    <a:pt x="422" y="941"/>
                    <a:pt x="434" y="938"/>
                  </a:cubicBezTo>
                  <a:cubicBezTo>
                    <a:pt x="601" y="905"/>
                    <a:pt x="734" y="671"/>
                    <a:pt x="668" y="405"/>
                  </a:cubicBezTo>
                  <a:cubicBezTo>
                    <a:pt x="637" y="188"/>
                    <a:pt x="491" y="1"/>
                    <a:pt x="338" y="1"/>
                  </a:cubicBezTo>
                  <a:close/>
                </a:path>
              </a:pathLst>
            </a:custGeom>
            <a:solidFill>
              <a:srgbClr val="2E353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 name="Google Shape;1147;p41"/>
            <p:cNvSpPr/>
            <p:nvPr/>
          </p:nvSpPr>
          <p:spPr>
            <a:xfrm>
              <a:off x="5605554" y="2126995"/>
              <a:ext cx="27378" cy="54545"/>
            </a:xfrm>
            <a:custGeom>
              <a:avLst/>
              <a:gdLst/>
              <a:ahLst/>
              <a:cxnLst/>
              <a:rect l="l" t="t" r="r" b="b"/>
              <a:pathLst>
                <a:path w="1302" h="2594" extrusionOk="0">
                  <a:moveTo>
                    <a:pt x="868" y="0"/>
                  </a:moveTo>
                  <a:cubicBezTo>
                    <a:pt x="701" y="867"/>
                    <a:pt x="401" y="1668"/>
                    <a:pt x="1" y="2469"/>
                  </a:cubicBezTo>
                  <a:cubicBezTo>
                    <a:pt x="201" y="2552"/>
                    <a:pt x="418" y="2594"/>
                    <a:pt x="639" y="2594"/>
                  </a:cubicBezTo>
                  <a:cubicBezTo>
                    <a:pt x="860" y="2594"/>
                    <a:pt x="1085" y="2552"/>
                    <a:pt x="1302" y="2469"/>
                  </a:cubicBezTo>
                  <a:lnTo>
                    <a:pt x="868" y="0"/>
                  </a:lnTo>
                  <a:close/>
                </a:path>
              </a:pathLst>
            </a:custGeom>
            <a:solidFill>
              <a:srgbClr val="DE575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 name="Google Shape;1148;p41"/>
            <p:cNvSpPr/>
            <p:nvPr/>
          </p:nvSpPr>
          <p:spPr>
            <a:xfrm>
              <a:off x="5650176" y="2078988"/>
              <a:ext cx="33266" cy="15056"/>
            </a:xfrm>
            <a:custGeom>
              <a:avLst/>
              <a:gdLst/>
              <a:ahLst/>
              <a:cxnLst/>
              <a:rect l="l" t="t" r="r" b="b"/>
              <a:pathLst>
                <a:path w="1582" h="716" extrusionOk="0">
                  <a:moveTo>
                    <a:pt x="399" y="0"/>
                  </a:moveTo>
                  <a:cubicBezTo>
                    <a:pt x="326" y="0"/>
                    <a:pt x="253" y="5"/>
                    <a:pt x="180" y="15"/>
                  </a:cubicBezTo>
                  <a:cubicBezTo>
                    <a:pt x="0" y="75"/>
                    <a:pt x="36" y="325"/>
                    <a:pt x="192" y="325"/>
                  </a:cubicBezTo>
                  <a:cubicBezTo>
                    <a:pt x="209" y="325"/>
                    <a:pt x="227" y="322"/>
                    <a:pt x="247" y="315"/>
                  </a:cubicBezTo>
                  <a:cubicBezTo>
                    <a:pt x="288" y="312"/>
                    <a:pt x="328" y="310"/>
                    <a:pt x="368" y="310"/>
                  </a:cubicBezTo>
                  <a:cubicBezTo>
                    <a:pt x="727" y="310"/>
                    <a:pt x="1075" y="442"/>
                    <a:pt x="1315" y="682"/>
                  </a:cubicBezTo>
                  <a:cubicBezTo>
                    <a:pt x="1381" y="715"/>
                    <a:pt x="1415" y="715"/>
                    <a:pt x="1481" y="715"/>
                  </a:cubicBezTo>
                  <a:cubicBezTo>
                    <a:pt x="1515" y="715"/>
                    <a:pt x="1515" y="682"/>
                    <a:pt x="1548" y="649"/>
                  </a:cubicBezTo>
                  <a:cubicBezTo>
                    <a:pt x="1581" y="615"/>
                    <a:pt x="1581" y="515"/>
                    <a:pt x="1548" y="449"/>
                  </a:cubicBezTo>
                  <a:cubicBezTo>
                    <a:pt x="1235" y="164"/>
                    <a:pt x="824" y="0"/>
                    <a:pt x="399" y="0"/>
                  </a:cubicBezTo>
                  <a:close/>
                </a:path>
              </a:pathLst>
            </a:custGeom>
            <a:solidFill>
              <a:srgbClr val="2E353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 name="Google Shape;1149;p41"/>
            <p:cNvSpPr/>
            <p:nvPr/>
          </p:nvSpPr>
          <p:spPr>
            <a:xfrm>
              <a:off x="5644834" y="2180995"/>
              <a:ext cx="42812" cy="24581"/>
            </a:xfrm>
            <a:custGeom>
              <a:avLst/>
              <a:gdLst/>
              <a:ahLst/>
              <a:cxnLst/>
              <a:rect l="l" t="t" r="r" b="b"/>
              <a:pathLst>
                <a:path w="2036" h="1169" extrusionOk="0">
                  <a:moveTo>
                    <a:pt x="1969" y="1"/>
                  </a:moveTo>
                  <a:cubicBezTo>
                    <a:pt x="1935" y="1"/>
                    <a:pt x="1902" y="1"/>
                    <a:pt x="1869" y="34"/>
                  </a:cubicBezTo>
                  <a:cubicBezTo>
                    <a:pt x="1468" y="634"/>
                    <a:pt x="801" y="1001"/>
                    <a:pt x="67" y="1001"/>
                  </a:cubicBezTo>
                  <a:cubicBezTo>
                    <a:pt x="34" y="1001"/>
                    <a:pt x="1" y="1035"/>
                    <a:pt x="1" y="1101"/>
                  </a:cubicBezTo>
                  <a:cubicBezTo>
                    <a:pt x="1" y="1135"/>
                    <a:pt x="34" y="1168"/>
                    <a:pt x="67" y="1168"/>
                  </a:cubicBezTo>
                  <a:cubicBezTo>
                    <a:pt x="868" y="1168"/>
                    <a:pt x="1569" y="768"/>
                    <a:pt x="2002" y="134"/>
                  </a:cubicBezTo>
                  <a:cubicBezTo>
                    <a:pt x="2036" y="101"/>
                    <a:pt x="2002" y="34"/>
                    <a:pt x="1969" y="1"/>
                  </a:cubicBezTo>
                  <a:close/>
                </a:path>
              </a:pathLst>
            </a:custGeom>
            <a:solidFill>
              <a:srgbClr val="2E353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 name="Google Shape;1150;p41"/>
            <p:cNvSpPr/>
            <p:nvPr/>
          </p:nvSpPr>
          <p:spPr>
            <a:xfrm>
              <a:off x="5568377" y="2085339"/>
              <a:ext cx="25275" cy="26242"/>
            </a:xfrm>
            <a:custGeom>
              <a:avLst/>
              <a:gdLst/>
              <a:ahLst/>
              <a:cxnLst/>
              <a:rect l="l" t="t" r="r" b="b"/>
              <a:pathLst>
                <a:path w="1202" h="1248" extrusionOk="0">
                  <a:moveTo>
                    <a:pt x="1056" y="1"/>
                  </a:moveTo>
                  <a:cubicBezTo>
                    <a:pt x="1037" y="1"/>
                    <a:pt x="1018" y="5"/>
                    <a:pt x="1002" y="13"/>
                  </a:cubicBezTo>
                  <a:cubicBezTo>
                    <a:pt x="535" y="180"/>
                    <a:pt x="168" y="580"/>
                    <a:pt x="34" y="1047"/>
                  </a:cubicBezTo>
                  <a:cubicBezTo>
                    <a:pt x="1" y="1147"/>
                    <a:pt x="68" y="1214"/>
                    <a:pt x="134" y="1247"/>
                  </a:cubicBezTo>
                  <a:cubicBezTo>
                    <a:pt x="168" y="1247"/>
                    <a:pt x="201" y="1247"/>
                    <a:pt x="234" y="1214"/>
                  </a:cubicBezTo>
                  <a:cubicBezTo>
                    <a:pt x="268" y="1214"/>
                    <a:pt x="334" y="1181"/>
                    <a:pt x="334" y="1147"/>
                  </a:cubicBezTo>
                  <a:cubicBezTo>
                    <a:pt x="434" y="747"/>
                    <a:pt x="701" y="447"/>
                    <a:pt x="1068" y="313"/>
                  </a:cubicBezTo>
                  <a:cubicBezTo>
                    <a:pt x="1168" y="280"/>
                    <a:pt x="1202" y="180"/>
                    <a:pt x="1202" y="113"/>
                  </a:cubicBezTo>
                  <a:cubicBezTo>
                    <a:pt x="1177" y="38"/>
                    <a:pt x="1114" y="1"/>
                    <a:pt x="1056" y="1"/>
                  </a:cubicBezTo>
                  <a:close/>
                </a:path>
              </a:pathLst>
            </a:custGeom>
            <a:solidFill>
              <a:srgbClr val="2E353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 name="Google Shape;1151;p41"/>
            <p:cNvSpPr/>
            <p:nvPr/>
          </p:nvSpPr>
          <p:spPr>
            <a:xfrm>
              <a:off x="5700958" y="2004949"/>
              <a:ext cx="95402" cy="211831"/>
            </a:xfrm>
            <a:custGeom>
              <a:avLst/>
              <a:gdLst/>
              <a:ahLst/>
              <a:cxnLst/>
              <a:rect l="l" t="t" r="r" b="b"/>
              <a:pathLst>
                <a:path w="4537" h="10074" extrusionOk="0">
                  <a:moveTo>
                    <a:pt x="3703" y="0"/>
                  </a:moveTo>
                  <a:lnTo>
                    <a:pt x="0" y="33"/>
                  </a:lnTo>
                  <a:lnTo>
                    <a:pt x="0" y="1468"/>
                  </a:lnTo>
                  <a:cubicBezTo>
                    <a:pt x="501" y="1635"/>
                    <a:pt x="801" y="2202"/>
                    <a:pt x="701" y="2735"/>
                  </a:cubicBezTo>
                  <a:cubicBezTo>
                    <a:pt x="367" y="3970"/>
                    <a:pt x="1268" y="5737"/>
                    <a:pt x="2269" y="6371"/>
                  </a:cubicBezTo>
                  <a:cubicBezTo>
                    <a:pt x="2269" y="6371"/>
                    <a:pt x="2239" y="5898"/>
                    <a:pt x="2625" y="5898"/>
                  </a:cubicBezTo>
                  <a:cubicBezTo>
                    <a:pt x="2649" y="5898"/>
                    <a:pt x="2675" y="5900"/>
                    <a:pt x="2702" y="5904"/>
                  </a:cubicBezTo>
                  <a:cubicBezTo>
                    <a:pt x="3136" y="5971"/>
                    <a:pt x="3369" y="8706"/>
                    <a:pt x="2669" y="10074"/>
                  </a:cubicBezTo>
                  <a:cubicBezTo>
                    <a:pt x="2669" y="10074"/>
                    <a:pt x="3803" y="8773"/>
                    <a:pt x="4203" y="5838"/>
                  </a:cubicBezTo>
                  <a:cubicBezTo>
                    <a:pt x="4537" y="3136"/>
                    <a:pt x="4370" y="967"/>
                    <a:pt x="3703" y="0"/>
                  </a:cubicBezTo>
                  <a:close/>
                </a:path>
              </a:pathLst>
            </a:custGeom>
            <a:solidFill>
              <a:srgbClr val="2E353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 name="Google Shape;1152;p41"/>
            <p:cNvSpPr/>
            <p:nvPr/>
          </p:nvSpPr>
          <p:spPr>
            <a:xfrm>
              <a:off x="5538265" y="1949077"/>
              <a:ext cx="263012" cy="104990"/>
            </a:xfrm>
            <a:custGeom>
              <a:avLst/>
              <a:gdLst/>
              <a:ahLst/>
              <a:cxnLst/>
              <a:rect l="l" t="t" r="r" b="b"/>
              <a:pathLst>
                <a:path w="12508" h="4993" extrusionOk="0">
                  <a:moveTo>
                    <a:pt x="6684" y="0"/>
                  </a:moveTo>
                  <a:cubicBezTo>
                    <a:pt x="3290" y="0"/>
                    <a:pt x="232" y="1156"/>
                    <a:pt x="232" y="1156"/>
                  </a:cubicBezTo>
                  <a:cubicBezTo>
                    <a:pt x="232" y="1156"/>
                    <a:pt x="0" y="4992"/>
                    <a:pt x="3390" y="4992"/>
                  </a:cubicBezTo>
                  <a:cubicBezTo>
                    <a:pt x="3405" y="4992"/>
                    <a:pt x="3420" y="4992"/>
                    <a:pt x="3434" y="4992"/>
                  </a:cubicBezTo>
                  <a:cubicBezTo>
                    <a:pt x="6770" y="4959"/>
                    <a:pt x="11440" y="3091"/>
                    <a:pt x="11440" y="3091"/>
                  </a:cubicBezTo>
                  <a:cubicBezTo>
                    <a:pt x="11440" y="3091"/>
                    <a:pt x="12507" y="656"/>
                    <a:pt x="8505" y="122"/>
                  </a:cubicBezTo>
                  <a:cubicBezTo>
                    <a:pt x="7897" y="37"/>
                    <a:pt x="7286" y="0"/>
                    <a:pt x="6684" y="0"/>
                  </a:cubicBezTo>
                  <a:close/>
                </a:path>
              </a:pathLst>
            </a:custGeom>
            <a:solidFill>
              <a:srgbClr val="2E353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 name="Google Shape;1153;p41"/>
            <p:cNvSpPr/>
            <p:nvPr/>
          </p:nvSpPr>
          <p:spPr>
            <a:xfrm>
              <a:off x="5737021" y="2091857"/>
              <a:ext cx="71788" cy="81229"/>
            </a:xfrm>
            <a:custGeom>
              <a:avLst/>
              <a:gdLst/>
              <a:ahLst/>
              <a:cxnLst/>
              <a:rect l="l" t="t" r="r" b="b"/>
              <a:pathLst>
                <a:path w="3414" h="3863" extrusionOk="0">
                  <a:moveTo>
                    <a:pt x="1855" y="0"/>
                  </a:moveTo>
                  <a:cubicBezTo>
                    <a:pt x="1822" y="0"/>
                    <a:pt x="1788" y="1"/>
                    <a:pt x="1754" y="3"/>
                  </a:cubicBezTo>
                  <a:cubicBezTo>
                    <a:pt x="687" y="103"/>
                    <a:pt x="120" y="1504"/>
                    <a:pt x="53" y="2405"/>
                  </a:cubicBezTo>
                  <a:cubicBezTo>
                    <a:pt x="1" y="3216"/>
                    <a:pt x="421" y="3863"/>
                    <a:pt x="1071" y="3863"/>
                  </a:cubicBezTo>
                  <a:cubicBezTo>
                    <a:pt x="1249" y="3863"/>
                    <a:pt x="1446" y="3814"/>
                    <a:pt x="1654" y="3706"/>
                  </a:cubicBezTo>
                  <a:cubicBezTo>
                    <a:pt x="2388" y="3306"/>
                    <a:pt x="2922" y="2672"/>
                    <a:pt x="3155" y="1871"/>
                  </a:cubicBezTo>
                  <a:cubicBezTo>
                    <a:pt x="3414" y="936"/>
                    <a:pt x="2829" y="0"/>
                    <a:pt x="1855" y="0"/>
                  </a:cubicBezTo>
                  <a:close/>
                </a:path>
              </a:pathLst>
            </a:custGeom>
            <a:solidFill>
              <a:srgbClr val="E4897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 name="Google Shape;1154;p41"/>
            <p:cNvSpPr/>
            <p:nvPr/>
          </p:nvSpPr>
          <p:spPr>
            <a:xfrm>
              <a:off x="5596449" y="2305144"/>
              <a:ext cx="196418" cy="98934"/>
            </a:xfrm>
            <a:custGeom>
              <a:avLst/>
              <a:gdLst/>
              <a:ahLst/>
              <a:cxnLst/>
              <a:rect l="l" t="t" r="r" b="b"/>
              <a:pathLst>
                <a:path w="9341" h="4705" extrusionOk="0">
                  <a:moveTo>
                    <a:pt x="7606" y="1"/>
                  </a:moveTo>
                  <a:lnTo>
                    <a:pt x="2969" y="2069"/>
                  </a:lnTo>
                  <a:lnTo>
                    <a:pt x="2702" y="401"/>
                  </a:lnTo>
                  <a:lnTo>
                    <a:pt x="1001" y="1002"/>
                  </a:lnTo>
                  <a:cubicBezTo>
                    <a:pt x="400" y="1235"/>
                    <a:pt x="0" y="1836"/>
                    <a:pt x="100" y="2469"/>
                  </a:cubicBezTo>
                  <a:lnTo>
                    <a:pt x="267" y="4304"/>
                  </a:lnTo>
                  <a:lnTo>
                    <a:pt x="2635" y="3036"/>
                  </a:lnTo>
                  <a:lnTo>
                    <a:pt x="3803" y="4704"/>
                  </a:lnTo>
                  <a:lnTo>
                    <a:pt x="9340" y="2036"/>
                  </a:lnTo>
                  <a:lnTo>
                    <a:pt x="7606" y="1"/>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 name="Google Shape;1155;p41"/>
            <p:cNvSpPr/>
            <p:nvPr/>
          </p:nvSpPr>
          <p:spPr>
            <a:xfrm>
              <a:off x="5596449" y="2305144"/>
              <a:ext cx="196418" cy="98934"/>
            </a:xfrm>
            <a:custGeom>
              <a:avLst/>
              <a:gdLst/>
              <a:ahLst/>
              <a:cxnLst/>
              <a:rect l="l" t="t" r="r" b="b"/>
              <a:pathLst>
                <a:path w="9341" h="4705" extrusionOk="0">
                  <a:moveTo>
                    <a:pt x="7606" y="1"/>
                  </a:moveTo>
                  <a:lnTo>
                    <a:pt x="2969" y="2069"/>
                  </a:lnTo>
                  <a:lnTo>
                    <a:pt x="2702" y="401"/>
                  </a:lnTo>
                  <a:lnTo>
                    <a:pt x="1001" y="1002"/>
                  </a:lnTo>
                  <a:cubicBezTo>
                    <a:pt x="400" y="1235"/>
                    <a:pt x="0" y="1836"/>
                    <a:pt x="100" y="2469"/>
                  </a:cubicBezTo>
                  <a:lnTo>
                    <a:pt x="267" y="4304"/>
                  </a:lnTo>
                  <a:lnTo>
                    <a:pt x="2635" y="3036"/>
                  </a:lnTo>
                  <a:lnTo>
                    <a:pt x="3803" y="4704"/>
                  </a:lnTo>
                  <a:lnTo>
                    <a:pt x="9340" y="2036"/>
                  </a:lnTo>
                  <a:lnTo>
                    <a:pt x="7606"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 name="Google Shape;1156;p41"/>
            <p:cNvSpPr/>
            <p:nvPr/>
          </p:nvSpPr>
          <p:spPr>
            <a:xfrm>
              <a:off x="5827210" y="2524698"/>
              <a:ext cx="44221" cy="150830"/>
            </a:xfrm>
            <a:custGeom>
              <a:avLst/>
              <a:gdLst/>
              <a:ahLst/>
              <a:cxnLst/>
              <a:rect l="l" t="t" r="r" b="b"/>
              <a:pathLst>
                <a:path w="2103" h="7173" extrusionOk="0">
                  <a:moveTo>
                    <a:pt x="901" y="1"/>
                  </a:moveTo>
                  <a:cubicBezTo>
                    <a:pt x="1" y="2336"/>
                    <a:pt x="101" y="4938"/>
                    <a:pt x="1235" y="7173"/>
                  </a:cubicBezTo>
                  <a:cubicBezTo>
                    <a:pt x="1535" y="5071"/>
                    <a:pt x="1835" y="3036"/>
                    <a:pt x="2102" y="1202"/>
                  </a:cubicBezTo>
                  <a:lnTo>
                    <a:pt x="901" y="1"/>
                  </a:ln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 name="Google Shape;1157;p41"/>
            <p:cNvSpPr/>
            <p:nvPr/>
          </p:nvSpPr>
          <p:spPr>
            <a:xfrm>
              <a:off x="5771801" y="2368291"/>
              <a:ext cx="310050" cy="784200"/>
            </a:xfrm>
            <a:custGeom>
              <a:avLst/>
              <a:gdLst/>
              <a:ahLst/>
              <a:cxnLst/>
              <a:rect l="l" t="t" r="r" b="b"/>
              <a:pathLst>
                <a:path w="14745" h="37294" extrusionOk="0">
                  <a:moveTo>
                    <a:pt x="6272" y="0"/>
                  </a:moveTo>
                  <a:cubicBezTo>
                    <a:pt x="6272" y="0"/>
                    <a:pt x="5037" y="1034"/>
                    <a:pt x="4103" y="3736"/>
                  </a:cubicBezTo>
                  <a:cubicBezTo>
                    <a:pt x="3169" y="6438"/>
                    <a:pt x="3670" y="9574"/>
                    <a:pt x="3670" y="9574"/>
                  </a:cubicBezTo>
                  <a:cubicBezTo>
                    <a:pt x="3670" y="9574"/>
                    <a:pt x="8273" y="17046"/>
                    <a:pt x="8039" y="21249"/>
                  </a:cubicBezTo>
                  <a:cubicBezTo>
                    <a:pt x="7839" y="25518"/>
                    <a:pt x="0" y="33657"/>
                    <a:pt x="0" y="33657"/>
                  </a:cubicBezTo>
                  <a:cubicBezTo>
                    <a:pt x="334" y="35359"/>
                    <a:pt x="2736" y="37293"/>
                    <a:pt x="2736" y="37293"/>
                  </a:cubicBezTo>
                  <a:cubicBezTo>
                    <a:pt x="2736" y="37293"/>
                    <a:pt x="13877" y="28387"/>
                    <a:pt x="14311" y="21249"/>
                  </a:cubicBezTo>
                  <a:cubicBezTo>
                    <a:pt x="14744" y="13910"/>
                    <a:pt x="8273" y="934"/>
                    <a:pt x="6272"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 name="Google Shape;1158;p41"/>
            <p:cNvSpPr/>
            <p:nvPr/>
          </p:nvSpPr>
          <p:spPr>
            <a:xfrm>
              <a:off x="5771801" y="2368291"/>
              <a:ext cx="310050" cy="784200"/>
            </a:xfrm>
            <a:custGeom>
              <a:avLst/>
              <a:gdLst/>
              <a:ahLst/>
              <a:cxnLst/>
              <a:rect l="l" t="t" r="r" b="b"/>
              <a:pathLst>
                <a:path w="14745" h="37294" extrusionOk="0">
                  <a:moveTo>
                    <a:pt x="6272" y="0"/>
                  </a:moveTo>
                  <a:cubicBezTo>
                    <a:pt x="6272" y="0"/>
                    <a:pt x="5037" y="1034"/>
                    <a:pt x="4103" y="3736"/>
                  </a:cubicBezTo>
                  <a:cubicBezTo>
                    <a:pt x="3169" y="6438"/>
                    <a:pt x="3670" y="9574"/>
                    <a:pt x="3670" y="9574"/>
                  </a:cubicBezTo>
                  <a:cubicBezTo>
                    <a:pt x="3670" y="9574"/>
                    <a:pt x="8273" y="17046"/>
                    <a:pt x="8039" y="21249"/>
                  </a:cubicBezTo>
                  <a:cubicBezTo>
                    <a:pt x="7839" y="25518"/>
                    <a:pt x="0" y="33657"/>
                    <a:pt x="0" y="33657"/>
                  </a:cubicBezTo>
                  <a:cubicBezTo>
                    <a:pt x="334" y="35359"/>
                    <a:pt x="2736" y="37293"/>
                    <a:pt x="2736" y="37293"/>
                  </a:cubicBezTo>
                  <a:cubicBezTo>
                    <a:pt x="2736" y="37293"/>
                    <a:pt x="13877" y="28387"/>
                    <a:pt x="14311" y="21249"/>
                  </a:cubicBezTo>
                  <a:cubicBezTo>
                    <a:pt x="14744" y="13910"/>
                    <a:pt x="8273" y="934"/>
                    <a:pt x="627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 name="Google Shape;1159;p41"/>
            <p:cNvSpPr/>
            <p:nvPr/>
          </p:nvSpPr>
          <p:spPr>
            <a:xfrm>
              <a:off x="5696101" y="3039547"/>
              <a:ext cx="152176" cy="178881"/>
            </a:xfrm>
            <a:custGeom>
              <a:avLst/>
              <a:gdLst/>
              <a:ahLst/>
              <a:cxnLst/>
              <a:rect l="l" t="t" r="r" b="b"/>
              <a:pathLst>
                <a:path w="7237" h="8507" extrusionOk="0">
                  <a:moveTo>
                    <a:pt x="3600" y="1"/>
                  </a:moveTo>
                  <a:lnTo>
                    <a:pt x="3600" y="1"/>
                  </a:lnTo>
                  <a:cubicBezTo>
                    <a:pt x="0" y="3162"/>
                    <a:pt x="3489" y="8506"/>
                    <a:pt x="5299" y="8506"/>
                  </a:cubicBezTo>
                  <a:cubicBezTo>
                    <a:pt x="5552" y="8506"/>
                    <a:pt x="5772" y="8402"/>
                    <a:pt x="5935" y="8173"/>
                  </a:cubicBezTo>
                  <a:cubicBezTo>
                    <a:pt x="7236" y="6272"/>
                    <a:pt x="6936" y="4904"/>
                    <a:pt x="6936" y="4904"/>
                  </a:cubicBezTo>
                  <a:cubicBezTo>
                    <a:pt x="5402" y="4071"/>
                    <a:pt x="3601" y="1"/>
                    <a:pt x="3600" y="1"/>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0" name="Google Shape;1160;p41"/>
          <p:cNvGrpSpPr/>
          <p:nvPr/>
        </p:nvGrpSpPr>
        <p:grpSpPr>
          <a:xfrm>
            <a:off x="4521946" y="1429190"/>
            <a:ext cx="1297339" cy="3091048"/>
            <a:chOff x="4571288" y="1200205"/>
            <a:chExt cx="1447923" cy="3449831"/>
          </a:xfrm>
        </p:grpSpPr>
        <p:sp>
          <p:nvSpPr>
            <p:cNvPr id="1161" name="Google Shape;1161;p41"/>
            <p:cNvSpPr/>
            <p:nvPr/>
          </p:nvSpPr>
          <p:spPr>
            <a:xfrm flipH="1">
              <a:off x="5744139" y="1888269"/>
              <a:ext cx="275072" cy="256357"/>
            </a:xfrm>
            <a:custGeom>
              <a:avLst/>
              <a:gdLst/>
              <a:ahLst/>
              <a:cxnLst/>
              <a:rect l="l" t="t" r="r" b="b"/>
              <a:pathLst>
                <a:path w="10009" h="9328" extrusionOk="0">
                  <a:moveTo>
                    <a:pt x="640" y="1"/>
                  </a:moveTo>
                  <a:cubicBezTo>
                    <a:pt x="580" y="1"/>
                    <a:pt x="533" y="7"/>
                    <a:pt x="501" y="21"/>
                  </a:cubicBezTo>
                  <a:cubicBezTo>
                    <a:pt x="1" y="221"/>
                    <a:pt x="68" y="4524"/>
                    <a:pt x="501" y="4624"/>
                  </a:cubicBezTo>
                  <a:cubicBezTo>
                    <a:pt x="902" y="4758"/>
                    <a:pt x="4337" y="5792"/>
                    <a:pt x="4337" y="5792"/>
                  </a:cubicBezTo>
                  <a:lnTo>
                    <a:pt x="8707" y="9328"/>
                  </a:lnTo>
                  <a:lnTo>
                    <a:pt x="10008" y="6759"/>
                  </a:lnTo>
                  <a:lnTo>
                    <a:pt x="5905" y="3924"/>
                  </a:lnTo>
                  <a:cubicBezTo>
                    <a:pt x="5905" y="3924"/>
                    <a:pt x="5305" y="1655"/>
                    <a:pt x="5004" y="1422"/>
                  </a:cubicBezTo>
                  <a:cubicBezTo>
                    <a:pt x="4756" y="1204"/>
                    <a:pt x="1463" y="1"/>
                    <a:pt x="640" y="1"/>
                  </a:cubicBezTo>
                  <a:close/>
                </a:path>
              </a:pathLst>
            </a:custGeom>
            <a:solidFill>
              <a:srgbClr val="B55B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62" name="Google Shape;1162;p41"/>
            <p:cNvGrpSpPr/>
            <p:nvPr/>
          </p:nvGrpSpPr>
          <p:grpSpPr>
            <a:xfrm flipH="1">
              <a:off x="4571288" y="1200205"/>
              <a:ext cx="1313616" cy="3449831"/>
              <a:chOff x="11373725" y="1509038"/>
              <a:chExt cx="1230900" cy="3232600"/>
            </a:xfrm>
          </p:grpSpPr>
          <p:sp>
            <p:nvSpPr>
              <p:cNvPr id="1163" name="Google Shape;1163;p41"/>
              <p:cNvSpPr/>
              <p:nvPr/>
            </p:nvSpPr>
            <p:spPr>
              <a:xfrm>
                <a:off x="11478800" y="4476413"/>
                <a:ext cx="285225" cy="2550"/>
              </a:xfrm>
              <a:custGeom>
                <a:avLst/>
                <a:gdLst/>
                <a:ahLst/>
                <a:cxnLst/>
                <a:rect l="l" t="t" r="r" b="b"/>
                <a:pathLst>
                  <a:path w="11409" h="102" extrusionOk="0">
                    <a:moveTo>
                      <a:pt x="1" y="1"/>
                    </a:moveTo>
                    <a:lnTo>
                      <a:pt x="1" y="101"/>
                    </a:lnTo>
                    <a:lnTo>
                      <a:pt x="11409" y="101"/>
                    </a:lnTo>
                    <a:lnTo>
                      <a:pt x="11409" y="1"/>
                    </a:lnTo>
                    <a:close/>
                  </a:path>
                </a:pathLst>
              </a:custGeom>
              <a:solidFill>
                <a:srgbClr val="EBEBE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 name="Google Shape;1164;p41"/>
              <p:cNvSpPr/>
              <p:nvPr/>
            </p:nvSpPr>
            <p:spPr>
              <a:xfrm>
                <a:off x="12185975" y="3800113"/>
                <a:ext cx="41725" cy="588775"/>
              </a:xfrm>
              <a:custGeom>
                <a:avLst/>
                <a:gdLst/>
                <a:ahLst/>
                <a:cxnLst/>
                <a:rect l="l" t="t" r="r" b="b"/>
                <a:pathLst>
                  <a:path w="1669" h="23551" extrusionOk="0">
                    <a:moveTo>
                      <a:pt x="1" y="0"/>
                    </a:moveTo>
                    <a:lnTo>
                      <a:pt x="1" y="23550"/>
                    </a:lnTo>
                    <a:lnTo>
                      <a:pt x="1668" y="23550"/>
                    </a:lnTo>
                    <a:lnTo>
                      <a:pt x="1668" y="0"/>
                    </a:lnTo>
                    <a:close/>
                  </a:path>
                </a:pathLst>
              </a:custGeom>
              <a:solidFill>
                <a:srgbClr val="E6E6E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 name="Google Shape;1165;p41"/>
              <p:cNvSpPr/>
              <p:nvPr/>
            </p:nvSpPr>
            <p:spPr>
              <a:xfrm>
                <a:off x="11595550" y="4379688"/>
                <a:ext cx="120950" cy="218525"/>
              </a:xfrm>
              <a:custGeom>
                <a:avLst/>
                <a:gdLst/>
                <a:ahLst/>
                <a:cxnLst/>
                <a:rect l="l" t="t" r="r" b="b"/>
                <a:pathLst>
                  <a:path w="4838" h="8741" extrusionOk="0">
                    <a:moveTo>
                      <a:pt x="1669" y="1"/>
                    </a:moveTo>
                    <a:lnTo>
                      <a:pt x="1" y="7639"/>
                    </a:lnTo>
                    <a:lnTo>
                      <a:pt x="3136" y="8740"/>
                    </a:lnTo>
                    <a:lnTo>
                      <a:pt x="4838" y="1101"/>
                    </a:lnTo>
                    <a:lnTo>
                      <a:pt x="1669" y="1"/>
                    </a:lnTo>
                    <a:close/>
                  </a:path>
                </a:pathLst>
              </a:custGeom>
              <a:solidFill>
                <a:srgbClr val="B55B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 name="Google Shape;1166;p41"/>
              <p:cNvSpPr/>
              <p:nvPr/>
            </p:nvSpPr>
            <p:spPr>
              <a:xfrm>
                <a:off x="12226850" y="4462238"/>
                <a:ext cx="105100" cy="194350"/>
              </a:xfrm>
              <a:custGeom>
                <a:avLst/>
                <a:gdLst/>
                <a:ahLst/>
                <a:cxnLst/>
                <a:rect l="l" t="t" r="r" b="b"/>
                <a:pathLst>
                  <a:path w="4204" h="7774" extrusionOk="0">
                    <a:moveTo>
                      <a:pt x="0" y="1"/>
                    </a:moveTo>
                    <a:lnTo>
                      <a:pt x="834" y="7773"/>
                    </a:lnTo>
                    <a:lnTo>
                      <a:pt x="4203" y="7773"/>
                    </a:lnTo>
                    <a:lnTo>
                      <a:pt x="3336" y="1"/>
                    </a:lnTo>
                    <a:close/>
                  </a:path>
                </a:pathLst>
              </a:custGeom>
              <a:solidFill>
                <a:srgbClr val="B55B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 name="Google Shape;1167;p41"/>
              <p:cNvSpPr/>
              <p:nvPr/>
            </p:nvSpPr>
            <p:spPr>
              <a:xfrm>
                <a:off x="12080075" y="4646538"/>
                <a:ext cx="282725" cy="95100"/>
              </a:xfrm>
              <a:custGeom>
                <a:avLst/>
                <a:gdLst/>
                <a:ahLst/>
                <a:cxnLst/>
                <a:rect l="l" t="t" r="r" b="b"/>
                <a:pathLst>
                  <a:path w="11309" h="3804" extrusionOk="0">
                    <a:moveTo>
                      <a:pt x="6472" y="1"/>
                    </a:moveTo>
                    <a:cubicBezTo>
                      <a:pt x="6238" y="1"/>
                      <a:pt x="6071" y="68"/>
                      <a:pt x="5904" y="201"/>
                    </a:cubicBezTo>
                    <a:cubicBezTo>
                      <a:pt x="5071" y="935"/>
                      <a:pt x="3136" y="1735"/>
                      <a:pt x="567" y="2303"/>
                    </a:cubicBezTo>
                    <a:cubicBezTo>
                      <a:pt x="0" y="2403"/>
                      <a:pt x="167" y="3804"/>
                      <a:pt x="1568" y="3804"/>
                    </a:cubicBezTo>
                    <a:cubicBezTo>
                      <a:pt x="2969" y="3804"/>
                      <a:pt x="5804" y="3704"/>
                      <a:pt x="6805" y="3704"/>
                    </a:cubicBezTo>
                    <a:cubicBezTo>
                      <a:pt x="8473" y="3704"/>
                      <a:pt x="9440" y="3770"/>
                      <a:pt x="10741" y="3804"/>
                    </a:cubicBezTo>
                    <a:cubicBezTo>
                      <a:pt x="11041" y="3804"/>
                      <a:pt x="11308" y="3503"/>
                      <a:pt x="11242" y="3203"/>
                    </a:cubicBezTo>
                    <a:lnTo>
                      <a:pt x="10574" y="234"/>
                    </a:lnTo>
                    <a:cubicBezTo>
                      <a:pt x="10541" y="101"/>
                      <a:pt x="10408" y="1"/>
                      <a:pt x="10274"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 name="Google Shape;1168;p41"/>
              <p:cNvSpPr/>
              <p:nvPr/>
            </p:nvSpPr>
            <p:spPr>
              <a:xfrm>
                <a:off x="11394950" y="4559813"/>
                <a:ext cx="293200" cy="126600"/>
              </a:xfrm>
              <a:custGeom>
                <a:avLst/>
                <a:gdLst/>
                <a:ahLst/>
                <a:cxnLst/>
                <a:rect l="l" t="t" r="r" b="b"/>
                <a:pathLst>
                  <a:path w="11728" h="5064" extrusionOk="0">
                    <a:moveTo>
                      <a:pt x="900" y="0"/>
                    </a:moveTo>
                    <a:cubicBezTo>
                      <a:pt x="344" y="0"/>
                      <a:pt x="1" y="1374"/>
                      <a:pt x="1287" y="1835"/>
                    </a:cubicBezTo>
                    <a:cubicBezTo>
                      <a:pt x="3421" y="2569"/>
                      <a:pt x="4289" y="2703"/>
                      <a:pt x="6123" y="3336"/>
                    </a:cubicBezTo>
                    <a:cubicBezTo>
                      <a:pt x="7691" y="3870"/>
                      <a:pt x="9459" y="4571"/>
                      <a:pt x="10693" y="5038"/>
                    </a:cubicBezTo>
                    <a:cubicBezTo>
                      <a:pt x="10746" y="5055"/>
                      <a:pt x="10800" y="5063"/>
                      <a:pt x="10852" y="5063"/>
                    </a:cubicBezTo>
                    <a:cubicBezTo>
                      <a:pt x="11101" y="5063"/>
                      <a:pt x="11333" y="4879"/>
                      <a:pt x="11360" y="4604"/>
                    </a:cubicBezTo>
                    <a:lnTo>
                      <a:pt x="11694" y="1602"/>
                    </a:lnTo>
                    <a:cubicBezTo>
                      <a:pt x="11727" y="1468"/>
                      <a:pt x="11627" y="1335"/>
                      <a:pt x="11494" y="1268"/>
                    </a:cubicBezTo>
                    <a:lnTo>
                      <a:pt x="8058" y="101"/>
                    </a:lnTo>
                    <a:cubicBezTo>
                      <a:pt x="7911" y="46"/>
                      <a:pt x="7754" y="21"/>
                      <a:pt x="7593" y="21"/>
                    </a:cubicBezTo>
                    <a:cubicBezTo>
                      <a:pt x="7461" y="21"/>
                      <a:pt x="7326" y="37"/>
                      <a:pt x="7191" y="67"/>
                    </a:cubicBezTo>
                    <a:cubicBezTo>
                      <a:pt x="6280" y="280"/>
                      <a:pt x="5566" y="355"/>
                      <a:pt x="4904" y="355"/>
                    </a:cubicBezTo>
                    <a:cubicBezTo>
                      <a:pt x="3698" y="355"/>
                      <a:pt x="2663" y="108"/>
                      <a:pt x="920" y="1"/>
                    </a:cubicBezTo>
                    <a:cubicBezTo>
                      <a:pt x="913" y="0"/>
                      <a:pt x="906" y="0"/>
                      <a:pt x="900"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 name="Google Shape;1169;p41"/>
              <p:cNvSpPr/>
              <p:nvPr/>
            </p:nvSpPr>
            <p:spPr>
              <a:xfrm>
                <a:off x="11373725" y="2050513"/>
                <a:ext cx="718050" cy="418200"/>
              </a:xfrm>
              <a:custGeom>
                <a:avLst/>
                <a:gdLst/>
                <a:ahLst/>
                <a:cxnLst/>
                <a:rect l="l" t="t" r="r" b="b"/>
                <a:pathLst>
                  <a:path w="28722" h="16728" extrusionOk="0">
                    <a:moveTo>
                      <a:pt x="24485" y="1"/>
                    </a:moveTo>
                    <a:cubicBezTo>
                      <a:pt x="23651" y="868"/>
                      <a:pt x="22717" y="1769"/>
                      <a:pt x="21816" y="2636"/>
                    </a:cubicBezTo>
                    <a:cubicBezTo>
                      <a:pt x="20882" y="3537"/>
                      <a:pt x="19982" y="4371"/>
                      <a:pt x="19048" y="5238"/>
                    </a:cubicBezTo>
                    <a:cubicBezTo>
                      <a:pt x="18114" y="6072"/>
                      <a:pt x="17180" y="6906"/>
                      <a:pt x="16212" y="7673"/>
                    </a:cubicBezTo>
                    <a:cubicBezTo>
                      <a:pt x="15245" y="8474"/>
                      <a:pt x="14278" y="9207"/>
                      <a:pt x="13310" y="9875"/>
                    </a:cubicBezTo>
                    <a:cubicBezTo>
                      <a:pt x="12843" y="10208"/>
                      <a:pt x="12343" y="10508"/>
                      <a:pt x="11876" y="10775"/>
                    </a:cubicBezTo>
                    <a:cubicBezTo>
                      <a:pt x="11642" y="10909"/>
                      <a:pt x="11409" y="11042"/>
                      <a:pt x="11175" y="11142"/>
                    </a:cubicBezTo>
                    <a:lnTo>
                      <a:pt x="10842" y="11309"/>
                    </a:lnTo>
                    <a:lnTo>
                      <a:pt x="10542" y="11442"/>
                    </a:lnTo>
                    <a:cubicBezTo>
                      <a:pt x="9975" y="11655"/>
                      <a:pt x="9391" y="11767"/>
                      <a:pt x="8791" y="11767"/>
                    </a:cubicBezTo>
                    <a:cubicBezTo>
                      <a:pt x="8543" y="11767"/>
                      <a:pt x="8293" y="11748"/>
                      <a:pt x="8040" y="11709"/>
                    </a:cubicBezTo>
                    <a:cubicBezTo>
                      <a:pt x="7006" y="11542"/>
                      <a:pt x="6038" y="11209"/>
                      <a:pt x="5138" y="10675"/>
                    </a:cubicBezTo>
                    <a:cubicBezTo>
                      <a:pt x="4637" y="10408"/>
                      <a:pt x="4137" y="10108"/>
                      <a:pt x="3670" y="9775"/>
                    </a:cubicBezTo>
                    <a:cubicBezTo>
                      <a:pt x="3437" y="9608"/>
                      <a:pt x="3203" y="9408"/>
                      <a:pt x="2970" y="9241"/>
                    </a:cubicBezTo>
                    <a:lnTo>
                      <a:pt x="2302" y="8707"/>
                    </a:lnTo>
                    <a:lnTo>
                      <a:pt x="1" y="10475"/>
                    </a:lnTo>
                    <a:cubicBezTo>
                      <a:pt x="234" y="10842"/>
                      <a:pt x="401" y="11109"/>
                      <a:pt x="601" y="11409"/>
                    </a:cubicBezTo>
                    <a:cubicBezTo>
                      <a:pt x="835" y="11709"/>
                      <a:pt x="1035" y="12009"/>
                      <a:pt x="1268" y="12276"/>
                    </a:cubicBezTo>
                    <a:cubicBezTo>
                      <a:pt x="1735" y="12843"/>
                      <a:pt x="2269" y="13377"/>
                      <a:pt x="2803" y="13877"/>
                    </a:cubicBezTo>
                    <a:cubicBezTo>
                      <a:pt x="3970" y="14945"/>
                      <a:pt x="5371" y="15745"/>
                      <a:pt x="6872" y="16246"/>
                    </a:cubicBezTo>
                    <a:cubicBezTo>
                      <a:pt x="7817" y="16567"/>
                      <a:pt x="8805" y="16728"/>
                      <a:pt x="9800" y="16728"/>
                    </a:cubicBezTo>
                    <a:cubicBezTo>
                      <a:pt x="10560" y="16728"/>
                      <a:pt x="11324" y="16634"/>
                      <a:pt x="12076" y="16446"/>
                    </a:cubicBezTo>
                    <a:cubicBezTo>
                      <a:pt x="12276" y="16379"/>
                      <a:pt x="12510" y="16313"/>
                      <a:pt x="12710" y="16246"/>
                    </a:cubicBezTo>
                    <a:lnTo>
                      <a:pt x="13277" y="16046"/>
                    </a:lnTo>
                    <a:cubicBezTo>
                      <a:pt x="13644" y="15879"/>
                      <a:pt x="14011" y="15745"/>
                      <a:pt x="14344" y="15579"/>
                    </a:cubicBezTo>
                    <a:cubicBezTo>
                      <a:pt x="14978" y="15245"/>
                      <a:pt x="15645" y="14912"/>
                      <a:pt x="16279" y="14511"/>
                    </a:cubicBezTo>
                    <a:cubicBezTo>
                      <a:pt x="18614" y="13077"/>
                      <a:pt x="20816" y="11442"/>
                      <a:pt x="22884" y="9608"/>
                    </a:cubicBezTo>
                    <a:cubicBezTo>
                      <a:pt x="23918" y="8740"/>
                      <a:pt x="24885" y="7840"/>
                      <a:pt x="25886" y="6906"/>
                    </a:cubicBezTo>
                    <a:cubicBezTo>
                      <a:pt x="26853" y="5972"/>
                      <a:pt x="27787" y="5038"/>
                      <a:pt x="28721" y="4037"/>
                    </a:cubicBezTo>
                    <a:lnTo>
                      <a:pt x="24485" y="1"/>
                    </a:ln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 name="Google Shape;1170;p41"/>
              <p:cNvSpPr/>
              <p:nvPr/>
            </p:nvSpPr>
            <p:spPr>
              <a:xfrm>
                <a:off x="11615575" y="4380513"/>
                <a:ext cx="100925" cy="125125"/>
              </a:xfrm>
              <a:custGeom>
                <a:avLst/>
                <a:gdLst/>
                <a:ahLst/>
                <a:cxnLst/>
                <a:rect l="l" t="t" r="r" b="b"/>
                <a:pathLst>
                  <a:path w="4037" h="5005" extrusionOk="0">
                    <a:moveTo>
                      <a:pt x="868" y="1"/>
                    </a:moveTo>
                    <a:lnTo>
                      <a:pt x="0" y="3904"/>
                    </a:lnTo>
                    <a:lnTo>
                      <a:pt x="3169" y="5004"/>
                    </a:lnTo>
                    <a:lnTo>
                      <a:pt x="4037" y="1068"/>
                    </a:lnTo>
                    <a:lnTo>
                      <a:pt x="868" y="1"/>
                    </a:ln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 name="Google Shape;1171;p41"/>
              <p:cNvSpPr/>
              <p:nvPr/>
            </p:nvSpPr>
            <p:spPr>
              <a:xfrm>
                <a:off x="12226850" y="4462238"/>
                <a:ext cx="94250" cy="100100"/>
              </a:xfrm>
              <a:custGeom>
                <a:avLst/>
                <a:gdLst/>
                <a:ahLst/>
                <a:cxnLst/>
                <a:rect l="l" t="t" r="r" b="b"/>
                <a:pathLst>
                  <a:path w="3770" h="4004" extrusionOk="0">
                    <a:moveTo>
                      <a:pt x="0" y="1"/>
                    </a:moveTo>
                    <a:lnTo>
                      <a:pt x="434" y="4004"/>
                    </a:lnTo>
                    <a:lnTo>
                      <a:pt x="3769" y="4004"/>
                    </a:lnTo>
                    <a:lnTo>
                      <a:pt x="3336" y="1"/>
                    </a:ln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 name="Google Shape;1172;p41"/>
              <p:cNvSpPr/>
              <p:nvPr/>
            </p:nvSpPr>
            <p:spPr>
              <a:xfrm>
                <a:off x="11851575" y="2009663"/>
                <a:ext cx="599625" cy="798100"/>
              </a:xfrm>
              <a:custGeom>
                <a:avLst/>
                <a:gdLst/>
                <a:ahLst/>
                <a:cxnLst/>
                <a:rect l="l" t="t" r="r" b="b"/>
                <a:pathLst>
                  <a:path w="23985" h="31924" extrusionOk="0">
                    <a:moveTo>
                      <a:pt x="10108" y="0"/>
                    </a:moveTo>
                    <a:cubicBezTo>
                      <a:pt x="9541" y="0"/>
                      <a:pt x="9007" y="0"/>
                      <a:pt x="8540" y="34"/>
                    </a:cubicBezTo>
                    <a:lnTo>
                      <a:pt x="8473" y="34"/>
                    </a:lnTo>
                    <a:cubicBezTo>
                      <a:pt x="6772" y="134"/>
                      <a:pt x="5304" y="1201"/>
                      <a:pt x="4704" y="2802"/>
                    </a:cubicBezTo>
                    <a:cubicBezTo>
                      <a:pt x="3236" y="6805"/>
                      <a:pt x="0" y="15812"/>
                      <a:pt x="834" y="29221"/>
                    </a:cubicBezTo>
                    <a:cubicBezTo>
                      <a:pt x="6205" y="29922"/>
                      <a:pt x="17346" y="31556"/>
                      <a:pt x="19948" y="31923"/>
                    </a:cubicBezTo>
                    <a:cubicBezTo>
                      <a:pt x="20415" y="29421"/>
                      <a:pt x="20048" y="17113"/>
                      <a:pt x="23450" y="5538"/>
                    </a:cubicBezTo>
                    <a:cubicBezTo>
                      <a:pt x="23984" y="3836"/>
                      <a:pt x="22983" y="2068"/>
                      <a:pt x="21282" y="1635"/>
                    </a:cubicBezTo>
                    <a:lnTo>
                      <a:pt x="21249" y="1635"/>
                    </a:lnTo>
                    <a:cubicBezTo>
                      <a:pt x="20815" y="1535"/>
                      <a:pt x="20448" y="1435"/>
                      <a:pt x="19981" y="1335"/>
                    </a:cubicBezTo>
                    <a:cubicBezTo>
                      <a:pt x="19514" y="1201"/>
                      <a:pt x="19047" y="1101"/>
                      <a:pt x="18580" y="1034"/>
                    </a:cubicBezTo>
                    <a:cubicBezTo>
                      <a:pt x="16079" y="534"/>
                      <a:pt x="13577" y="200"/>
                      <a:pt x="11042"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 name="Google Shape;1173;p41"/>
              <p:cNvSpPr/>
              <p:nvPr/>
            </p:nvSpPr>
            <p:spPr>
              <a:xfrm>
                <a:off x="12210150" y="2243163"/>
                <a:ext cx="101775" cy="31700"/>
              </a:xfrm>
              <a:custGeom>
                <a:avLst/>
                <a:gdLst/>
                <a:ahLst/>
                <a:cxnLst/>
                <a:rect l="l" t="t" r="r" b="b"/>
                <a:pathLst>
                  <a:path w="4071" h="1268" extrusionOk="0">
                    <a:moveTo>
                      <a:pt x="34" y="0"/>
                    </a:moveTo>
                    <a:lnTo>
                      <a:pt x="1" y="601"/>
                    </a:lnTo>
                    <a:lnTo>
                      <a:pt x="3937" y="1268"/>
                    </a:lnTo>
                    <a:lnTo>
                      <a:pt x="4071" y="768"/>
                    </a:lnTo>
                    <a:lnTo>
                      <a:pt x="34"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 name="Google Shape;1174;p41"/>
              <p:cNvSpPr/>
              <p:nvPr/>
            </p:nvSpPr>
            <p:spPr>
              <a:xfrm>
                <a:off x="12078400" y="2010488"/>
                <a:ext cx="237700" cy="311075"/>
              </a:xfrm>
              <a:custGeom>
                <a:avLst/>
                <a:gdLst/>
                <a:ahLst/>
                <a:cxnLst/>
                <a:rect l="l" t="t" r="r" b="b"/>
                <a:pathLst>
                  <a:path w="9508" h="12443" extrusionOk="0">
                    <a:moveTo>
                      <a:pt x="1969" y="1"/>
                    </a:moveTo>
                    <a:cubicBezTo>
                      <a:pt x="1068" y="935"/>
                      <a:pt x="1" y="8807"/>
                      <a:pt x="1301" y="12443"/>
                    </a:cubicBezTo>
                    <a:cubicBezTo>
                      <a:pt x="3536" y="8774"/>
                      <a:pt x="7973" y="2136"/>
                      <a:pt x="9507" y="1001"/>
                    </a:cubicBezTo>
                    <a:cubicBezTo>
                      <a:pt x="7006" y="534"/>
                      <a:pt x="4470" y="201"/>
                      <a:pt x="1969"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 name="Google Shape;1175;p41"/>
              <p:cNvSpPr/>
              <p:nvPr/>
            </p:nvSpPr>
            <p:spPr>
              <a:xfrm>
                <a:off x="12125925" y="1821188"/>
                <a:ext cx="200175" cy="234650"/>
              </a:xfrm>
              <a:custGeom>
                <a:avLst/>
                <a:gdLst/>
                <a:ahLst/>
                <a:cxnLst/>
                <a:rect l="l" t="t" r="r" b="b"/>
                <a:pathLst>
                  <a:path w="8007" h="9386" extrusionOk="0">
                    <a:moveTo>
                      <a:pt x="8007" y="1"/>
                    </a:moveTo>
                    <a:lnTo>
                      <a:pt x="2836" y="3336"/>
                    </a:lnTo>
                    <a:cubicBezTo>
                      <a:pt x="3070" y="5271"/>
                      <a:pt x="2870" y="7272"/>
                      <a:pt x="68" y="7573"/>
                    </a:cubicBezTo>
                    <a:cubicBezTo>
                      <a:pt x="1" y="8240"/>
                      <a:pt x="835" y="9007"/>
                      <a:pt x="2603" y="9274"/>
                    </a:cubicBezTo>
                    <a:cubicBezTo>
                      <a:pt x="3098" y="9351"/>
                      <a:pt x="3602" y="9386"/>
                      <a:pt x="4091" y="9386"/>
                    </a:cubicBezTo>
                    <a:cubicBezTo>
                      <a:pt x="5712" y="9386"/>
                      <a:pt x="7171" y="9009"/>
                      <a:pt x="7606" y="8573"/>
                    </a:cubicBezTo>
                    <a:cubicBezTo>
                      <a:pt x="6105" y="6739"/>
                      <a:pt x="7206" y="2369"/>
                      <a:pt x="8007" y="1"/>
                    </a:cubicBezTo>
                    <a:close/>
                  </a:path>
                </a:pathLst>
              </a:custGeom>
              <a:solidFill>
                <a:srgbClr val="B55B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 name="Google Shape;1176;p41"/>
              <p:cNvSpPr/>
              <p:nvPr/>
            </p:nvSpPr>
            <p:spPr>
              <a:xfrm>
                <a:off x="12196825" y="1854538"/>
                <a:ext cx="76750" cy="83425"/>
              </a:xfrm>
              <a:custGeom>
                <a:avLst/>
                <a:gdLst/>
                <a:ahLst/>
                <a:cxnLst/>
                <a:rect l="l" t="t" r="r" b="b"/>
                <a:pathLst>
                  <a:path w="3070" h="3337" extrusionOk="0">
                    <a:moveTo>
                      <a:pt x="3036" y="1"/>
                    </a:moveTo>
                    <a:lnTo>
                      <a:pt x="0" y="1969"/>
                    </a:lnTo>
                    <a:cubicBezTo>
                      <a:pt x="67" y="2436"/>
                      <a:pt x="67" y="2870"/>
                      <a:pt x="67" y="3337"/>
                    </a:cubicBezTo>
                    <a:cubicBezTo>
                      <a:pt x="1101" y="3337"/>
                      <a:pt x="2669" y="2403"/>
                      <a:pt x="2936" y="1335"/>
                    </a:cubicBezTo>
                    <a:cubicBezTo>
                      <a:pt x="3036" y="902"/>
                      <a:pt x="3069" y="435"/>
                      <a:pt x="3036" y="1"/>
                    </a:cubicBez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 name="Google Shape;1177;p41"/>
              <p:cNvSpPr/>
              <p:nvPr/>
            </p:nvSpPr>
            <p:spPr>
              <a:xfrm>
                <a:off x="12128425" y="1597163"/>
                <a:ext cx="175150" cy="182350"/>
              </a:xfrm>
              <a:custGeom>
                <a:avLst/>
                <a:gdLst/>
                <a:ahLst/>
                <a:cxnLst/>
                <a:rect l="l" t="t" r="r" b="b"/>
                <a:pathLst>
                  <a:path w="7006" h="7294" extrusionOk="0">
                    <a:moveTo>
                      <a:pt x="3018" y="1"/>
                    </a:moveTo>
                    <a:cubicBezTo>
                      <a:pt x="2091" y="1"/>
                      <a:pt x="1260" y="331"/>
                      <a:pt x="868" y="1490"/>
                    </a:cubicBezTo>
                    <a:cubicBezTo>
                      <a:pt x="1" y="4158"/>
                      <a:pt x="168" y="6226"/>
                      <a:pt x="635" y="7294"/>
                    </a:cubicBezTo>
                    <a:cubicBezTo>
                      <a:pt x="635" y="7294"/>
                      <a:pt x="4071" y="6126"/>
                      <a:pt x="5271" y="4458"/>
                    </a:cubicBezTo>
                    <a:cubicBezTo>
                      <a:pt x="6439" y="2924"/>
                      <a:pt x="7006" y="789"/>
                      <a:pt x="5438" y="422"/>
                    </a:cubicBezTo>
                    <a:cubicBezTo>
                      <a:pt x="4708" y="251"/>
                      <a:pt x="3827" y="1"/>
                      <a:pt x="3018"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 name="Google Shape;1178;p41"/>
              <p:cNvSpPr/>
              <p:nvPr/>
            </p:nvSpPr>
            <p:spPr>
              <a:xfrm>
                <a:off x="12120925" y="1590363"/>
                <a:ext cx="274175" cy="323025"/>
              </a:xfrm>
              <a:custGeom>
                <a:avLst/>
                <a:gdLst/>
                <a:ahLst/>
                <a:cxnLst/>
                <a:rect l="l" t="t" r="r" b="b"/>
                <a:pathLst>
                  <a:path w="10967" h="12921" extrusionOk="0">
                    <a:moveTo>
                      <a:pt x="5741" y="1"/>
                    </a:moveTo>
                    <a:cubicBezTo>
                      <a:pt x="5500" y="1"/>
                      <a:pt x="5254" y="20"/>
                      <a:pt x="5004" y="60"/>
                    </a:cubicBezTo>
                    <a:cubicBezTo>
                      <a:pt x="1535" y="594"/>
                      <a:pt x="1" y="5297"/>
                      <a:pt x="1" y="8333"/>
                    </a:cubicBezTo>
                    <a:cubicBezTo>
                      <a:pt x="1" y="10903"/>
                      <a:pt x="2075" y="12921"/>
                      <a:pt x="4398" y="12921"/>
                    </a:cubicBezTo>
                    <a:cubicBezTo>
                      <a:pt x="5151" y="12921"/>
                      <a:pt x="5929" y="12709"/>
                      <a:pt x="6672" y="12236"/>
                    </a:cubicBezTo>
                    <a:cubicBezTo>
                      <a:pt x="8674" y="10968"/>
                      <a:pt x="9074" y="9067"/>
                      <a:pt x="10041" y="5898"/>
                    </a:cubicBezTo>
                    <a:cubicBezTo>
                      <a:pt x="10966" y="2907"/>
                      <a:pt x="8698" y="1"/>
                      <a:pt x="5741" y="1"/>
                    </a:cubicBezTo>
                    <a:close/>
                  </a:path>
                </a:pathLst>
              </a:custGeom>
              <a:solidFill>
                <a:srgbClr val="B55B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 name="Google Shape;1179;p41"/>
              <p:cNvSpPr/>
              <p:nvPr/>
            </p:nvSpPr>
            <p:spPr>
              <a:xfrm>
                <a:off x="12298550" y="1636188"/>
                <a:ext cx="167650" cy="184200"/>
              </a:xfrm>
              <a:custGeom>
                <a:avLst/>
                <a:gdLst/>
                <a:ahLst/>
                <a:cxnLst/>
                <a:rect l="l" t="t" r="r" b="b"/>
                <a:pathLst>
                  <a:path w="6706" h="7368" extrusionOk="0">
                    <a:moveTo>
                      <a:pt x="3308" y="0"/>
                    </a:moveTo>
                    <a:cubicBezTo>
                      <a:pt x="2071" y="0"/>
                      <a:pt x="804" y="519"/>
                      <a:pt x="535" y="1596"/>
                    </a:cubicBezTo>
                    <a:cubicBezTo>
                      <a:pt x="1" y="3698"/>
                      <a:pt x="234" y="6367"/>
                      <a:pt x="768" y="7367"/>
                    </a:cubicBezTo>
                    <a:cubicBezTo>
                      <a:pt x="768" y="7367"/>
                      <a:pt x="3703" y="5900"/>
                      <a:pt x="5071" y="4398"/>
                    </a:cubicBezTo>
                    <a:cubicBezTo>
                      <a:pt x="6372" y="2964"/>
                      <a:pt x="6706" y="1263"/>
                      <a:pt x="4971" y="362"/>
                    </a:cubicBezTo>
                    <a:cubicBezTo>
                      <a:pt x="4502" y="122"/>
                      <a:pt x="3909" y="0"/>
                      <a:pt x="3308"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 name="Google Shape;1180;p41"/>
              <p:cNvSpPr/>
              <p:nvPr/>
            </p:nvSpPr>
            <p:spPr>
              <a:xfrm>
                <a:off x="12085900" y="1509038"/>
                <a:ext cx="381975" cy="169925"/>
              </a:xfrm>
              <a:custGeom>
                <a:avLst/>
                <a:gdLst/>
                <a:ahLst/>
                <a:cxnLst/>
                <a:rect l="l" t="t" r="r" b="b"/>
                <a:pathLst>
                  <a:path w="15279" h="6797" extrusionOk="0">
                    <a:moveTo>
                      <a:pt x="6129" y="1"/>
                    </a:moveTo>
                    <a:cubicBezTo>
                      <a:pt x="5032" y="1"/>
                      <a:pt x="3995" y="380"/>
                      <a:pt x="3403" y="1179"/>
                    </a:cubicBezTo>
                    <a:cubicBezTo>
                      <a:pt x="2603" y="2179"/>
                      <a:pt x="3303" y="2613"/>
                      <a:pt x="1235" y="3847"/>
                    </a:cubicBezTo>
                    <a:cubicBezTo>
                      <a:pt x="1" y="4581"/>
                      <a:pt x="401" y="5815"/>
                      <a:pt x="701" y="6449"/>
                    </a:cubicBezTo>
                    <a:cubicBezTo>
                      <a:pt x="668" y="5982"/>
                      <a:pt x="868" y="4781"/>
                      <a:pt x="2002" y="4548"/>
                    </a:cubicBezTo>
                    <a:cubicBezTo>
                      <a:pt x="2124" y="4517"/>
                      <a:pt x="2239" y="4505"/>
                      <a:pt x="2350" y="4505"/>
                    </a:cubicBezTo>
                    <a:cubicBezTo>
                      <a:pt x="2814" y="4505"/>
                      <a:pt x="3185" y="4723"/>
                      <a:pt x="3534" y="4723"/>
                    </a:cubicBezTo>
                    <a:cubicBezTo>
                      <a:pt x="3738" y="4723"/>
                      <a:pt x="3934" y="4649"/>
                      <a:pt x="4137" y="4414"/>
                    </a:cubicBezTo>
                    <a:cubicBezTo>
                      <a:pt x="4137" y="4414"/>
                      <a:pt x="6339" y="6416"/>
                      <a:pt x="10508" y="6749"/>
                    </a:cubicBezTo>
                    <a:cubicBezTo>
                      <a:pt x="10897" y="6783"/>
                      <a:pt x="11230" y="6796"/>
                      <a:pt x="11514" y="6796"/>
                    </a:cubicBezTo>
                    <a:cubicBezTo>
                      <a:pt x="12935" y="6796"/>
                      <a:pt x="13143" y="6449"/>
                      <a:pt x="13143" y="6449"/>
                    </a:cubicBezTo>
                    <a:cubicBezTo>
                      <a:pt x="14444" y="6349"/>
                      <a:pt x="15278" y="4648"/>
                      <a:pt x="14244" y="3847"/>
                    </a:cubicBezTo>
                    <a:cubicBezTo>
                      <a:pt x="13010" y="2880"/>
                      <a:pt x="11309" y="3847"/>
                      <a:pt x="9774" y="1712"/>
                    </a:cubicBezTo>
                    <a:cubicBezTo>
                      <a:pt x="8976" y="598"/>
                      <a:pt x="7506" y="1"/>
                      <a:pt x="6129"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 name="Google Shape;1181;p41"/>
              <p:cNvSpPr/>
              <p:nvPr/>
            </p:nvSpPr>
            <p:spPr>
              <a:xfrm>
                <a:off x="12297725" y="1773413"/>
                <a:ext cx="107600" cy="84500"/>
              </a:xfrm>
              <a:custGeom>
                <a:avLst/>
                <a:gdLst/>
                <a:ahLst/>
                <a:cxnLst/>
                <a:rect l="l" t="t" r="r" b="b"/>
                <a:pathLst>
                  <a:path w="4304" h="3380" extrusionOk="0">
                    <a:moveTo>
                      <a:pt x="2732" y="0"/>
                    </a:moveTo>
                    <a:cubicBezTo>
                      <a:pt x="1879" y="0"/>
                      <a:pt x="1008" y="751"/>
                      <a:pt x="568" y="1411"/>
                    </a:cubicBezTo>
                    <a:cubicBezTo>
                      <a:pt x="0" y="2279"/>
                      <a:pt x="234" y="3379"/>
                      <a:pt x="1368" y="3379"/>
                    </a:cubicBezTo>
                    <a:cubicBezTo>
                      <a:pt x="2202" y="3379"/>
                      <a:pt x="3003" y="3046"/>
                      <a:pt x="3603" y="2479"/>
                    </a:cubicBezTo>
                    <a:cubicBezTo>
                      <a:pt x="4304" y="1745"/>
                      <a:pt x="4270" y="544"/>
                      <a:pt x="3269" y="110"/>
                    </a:cubicBezTo>
                    <a:cubicBezTo>
                      <a:pt x="3094" y="34"/>
                      <a:pt x="2913" y="0"/>
                      <a:pt x="2732" y="0"/>
                    </a:cubicBezTo>
                    <a:close/>
                  </a:path>
                </a:pathLst>
              </a:custGeom>
              <a:solidFill>
                <a:srgbClr val="B55B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 name="Google Shape;1182;p41"/>
              <p:cNvSpPr/>
              <p:nvPr/>
            </p:nvSpPr>
            <p:spPr>
              <a:xfrm>
                <a:off x="11592225" y="2732688"/>
                <a:ext cx="594600" cy="1762950"/>
              </a:xfrm>
              <a:custGeom>
                <a:avLst/>
                <a:gdLst/>
                <a:ahLst/>
                <a:cxnLst/>
                <a:rect l="l" t="t" r="r" b="b"/>
                <a:pathLst>
                  <a:path w="23784" h="70518" extrusionOk="0">
                    <a:moveTo>
                      <a:pt x="12109" y="0"/>
                    </a:moveTo>
                    <a:cubicBezTo>
                      <a:pt x="12109" y="0"/>
                      <a:pt x="4303" y="26519"/>
                      <a:pt x="2936" y="36626"/>
                    </a:cubicBezTo>
                    <a:cubicBezTo>
                      <a:pt x="1535" y="47134"/>
                      <a:pt x="0" y="68683"/>
                      <a:pt x="0" y="68683"/>
                    </a:cubicBezTo>
                    <a:lnTo>
                      <a:pt x="5371" y="70517"/>
                    </a:lnTo>
                    <a:cubicBezTo>
                      <a:pt x="5371" y="70517"/>
                      <a:pt x="10608" y="49869"/>
                      <a:pt x="12242" y="39562"/>
                    </a:cubicBezTo>
                    <a:cubicBezTo>
                      <a:pt x="12743" y="36426"/>
                      <a:pt x="13877" y="32090"/>
                      <a:pt x="15211" y="27453"/>
                    </a:cubicBezTo>
                    <a:cubicBezTo>
                      <a:pt x="16912" y="21616"/>
                      <a:pt x="18981" y="15344"/>
                      <a:pt x="20682" y="10408"/>
                    </a:cubicBezTo>
                    <a:cubicBezTo>
                      <a:pt x="22450" y="5237"/>
                      <a:pt x="23784" y="1568"/>
                      <a:pt x="23784" y="1568"/>
                    </a:cubicBezTo>
                    <a:lnTo>
                      <a:pt x="12109" y="0"/>
                    </a:ln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 name="Google Shape;1183;p41"/>
              <p:cNvSpPr/>
              <p:nvPr/>
            </p:nvSpPr>
            <p:spPr>
              <a:xfrm>
                <a:off x="11968325" y="2925313"/>
                <a:ext cx="140950" cy="493725"/>
              </a:xfrm>
              <a:custGeom>
                <a:avLst/>
                <a:gdLst/>
                <a:ahLst/>
                <a:cxnLst/>
                <a:rect l="l" t="t" r="r" b="b"/>
                <a:pathLst>
                  <a:path w="5638" h="19749" extrusionOk="0">
                    <a:moveTo>
                      <a:pt x="4604" y="1"/>
                    </a:moveTo>
                    <a:cubicBezTo>
                      <a:pt x="1468" y="3270"/>
                      <a:pt x="0" y="13911"/>
                      <a:pt x="167" y="19748"/>
                    </a:cubicBezTo>
                    <a:cubicBezTo>
                      <a:pt x="1868" y="13911"/>
                      <a:pt x="3937" y="7639"/>
                      <a:pt x="5638" y="2703"/>
                    </a:cubicBezTo>
                    <a:lnTo>
                      <a:pt x="4604" y="1"/>
                    </a:ln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 name="Google Shape;1184;p41"/>
              <p:cNvSpPr/>
              <p:nvPr/>
            </p:nvSpPr>
            <p:spPr>
              <a:xfrm>
                <a:off x="12038375" y="2753513"/>
                <a:ext cx="313575" cy="1789650"/>
              </a:xfrm>
              <a:custGeom>
                <a:avLst/>
                <a:gdLst/>
                <a:ahLst/>
                <a:cxnLst/>
                <a:rect l="l" t="t" r="r" b="b"/>
                <a:pathLst>
                  <a:path w="12543" h="71586" extrusionOk="0">
                    <a:moveTo>
                      <a:pt x="567" y="1"/>
                    </a:moveTo>
                    <a:cubicBezTo>
                      <a:pt x="567" y="1"/>
                      <a:pt x="0" y="28688"/>
                      <a:pt x="768" y="38462"/>
                    </a:cubicBezTo>
                    <a:cubicBezTo>
                      <a:pt x="1635" y="49170"/>
                      <a:pt x="6438" y="71586"/>
                      <a:pt x="6438" y="71586"/>
                    </a:cubicBezTo>
                    <a:lnTo>
                      <a:pt x="12543" y="71586"/>
                    </a:lnTo>
                    <a:cubicBezTo>
                      <a:pt x="12543" y="71586"/>
                      <a:pt x="11709" y="51004"/>
                      <a:pt x="10441" y="40630"/>
                    </a:cubicBezTo>
                    <a:cubicBezTo>
                      <a:pt x="9007" y="28788"/>
                      <a:pt x="12009" y="1535"/>
                      <a:pt x="12009" y="1535"/>
                    </a:cubicBezTo>
                    <a:lnTo>
                      <a:pt x="567" y="1"/>
                    </a:ln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 name="Google Shape;1185;p41"/>
              <p:cNvSpPr/>
              <p:nvPr/>
            </p:nvSpPr>
            <p:spPr>
              <a:xfrm>
                <a:off x="12168475" y="4488938"/>
                <a:ext cx="192650" cy="57550"/>
              </a:xfrm>
              <a:custGeom>
                <a:avLst/>
                <a:gdLst/>
                <a:ahLst/>
                <a:cxnLst/>
                <a:rect l="l" t="t" r="r" b="b"/>
                <a:pathLst>
                  <a:path w="7706" h="2302" extrusionOk="0">
                    <a:moveTo>
                      <a:pt x="0" y="0"/>
                    </a:moveTo>
                    <a:lnTo>
                      <a:pt x="500" y="2302"/>
                    </a:lnTo>
                    <a:lnTo>
                      <a:pt x="7706" y="2302"/>
                    </a:lnTo>
                    <a:lnTo>
                      <a:pt x="7706" y="134"/>
                    </a:lnTo>
                    <a:lnTo>
                      <a:pt x="0" y="0"/>
                    </a:ln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 name="Google Shape;1186;p41"/>
              <p:cNvSpPr/>
              <p:nvPr/>
            </p:nvSpPr>
            <p:spPr>
              <a:xfrm>
                <a:off x="11574700" y="4380513"/>
                <a:ext cx="176825" cy="121800"/>
              </a:xfrm>
              <a:custGeom>
                <a:avLst/>
                <a:gdLst/>
                <a:ahLst/>
                <a:cxnLst/>
                <a:rect l="l" t="t" r="r" b="b"/>
                <a:pathLst>
                  <a:path w="7073" h="4872" extrusionOk="0">
                    <a:moveTo>
                      <a:pt x="268" y="1"/>
                    </a:moveTo>
                    <a:lnTo>
                      <a:pt x="1" y="2669"/>
                    </a:lnTo>
                    <a:lnTo>
                      <a:pt x="6372" y="4871"/>
                    </a:lnTo>
                    <a:lnTo>
                      <a:pt x="7073" y="2803"/>
                    </a:lnTo>
                    <a:lnTo>
                      <a:pt x="268" y="1"/>
                    </a:ln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 name="Google Shape;1187;p41"/>
              <p:cNvSpPr/>
              <p:nvPr/>
            </p:nvSpPr>
            <p:spPr>
              <a:xfrm>
                <a:off x="12227675" y="1717688"/>
                <a:ext cx="18375" cy="24300"/>
              </a:xfrm>
              <a:custGeom>
                <a:avLst/>
                <a:gdLst/>
                <a:ahLst/>
                <a:cxnLst/>
                <a:rect l="l" t="t" r="r" b="b"/>
                <a:pathLst>
                  <a:path w="735" h="972" extrusionOk="0">
                    <a:moveTo>
                      <a:pt x="424" y="0"/>
                    </a:moveTo>
                    <a:cubicBezTo>
                      <a:pt x="268" y="0"/>
                      <a:pt x="95" y="160"/>
                      <a:pt x="34" y="405"/>
                    </a:cubicBezTo>
                    <a:cubicBezTo>
                      <a:pt x="0" y="671"/>
                      <a:pt x="67" y="938"/>
                      <a:pt x="234" y="972"/>
                    </a:cubicBezTo>
                    <a:cubicBezTo>
                      <a:pt x="401" y="972"/>
                      <a:pt x="601" y="805"/>
                      <a:pt x="668" y="538"/>
                    </a:cubicBezTo>
                    <a:cubicBezTo>
                      <a:pt x="734" y="271"/>
                      <a:pt x="634" y="4"/>
                      <a:pt x="467" y="4"/>
                    </a:cubicBezTo>
                    <a:cubicBezTo>
                      <a:pt x="453" y="1"/>
                      <a:pt x="439" y="0"/>
                      <a:pt x="424"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 name="Google Shape;1188;p41"/>
              <p:cNvSpPr/>
              <p:nvPr/>
            </p:nvSpPr>
            <p:spPr>
              <a:xfrm>
                <a:off x="12153450" y="1700163"/>
                <a:ext cx="18375" cy="24325"/>
              </a:xfrm>
              <a:custGeom>
                <a:avLst/>
                <a:gdLst/>
                <a:ahLst/>
                <a:cxnLst/>
                <a:rect l="l" t="t" r="r" b="b"/>
                <a:pathLst>
                  <a:path w="735" h="973" extrusionOk="0">
                    <a:moveTo>
                      <a:pt x="424" y="1"/>
                    </a:moveTo>
                    <a:cubicBezTo>
                      <a:pt x="268" y="1"/>
                      <a:pt x="95" y="161"/>
                      <a:pt x="34" y="405"/>
                    </a:cubicBezTo>
                    <a:cubicBezTo>
                      <a:pt x="1" y="672"/>
                      <a:pt x="67" y="939"/>
                      <a:pt x="234" y="972"/>
                    </a:cubicBezTo>
                    <a:cubicBezTo>
                      <a:pt x="401" y="972"/>
                      <a:pt x="601" y="805"/>
                      <a:pt x="668" y="539"/>
                    </a:cubicBezTo>
                    <a:cubicBezTo>
                      <a:pt x="735" y="272"/>
                      <a:pt x="634" y="5"/>
                      <a:pt x="468" y="5"/>
                    </a:cubicBezTo>
                    <a:cubicBezTo>
                      <a:pt x="453" y="2"/>
                      <a:pt x="439" y="1"/>
                      <a:pt x="424"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 name="Google Shape;1189;p41"/>
              <p:cNvSpPr/>
              <p:nvPr/>
            </p:nvSpPr>
            <p:spPr>
              <a:xfrm>
                <a:off x="12148450" y="1722788"/>
                <a:ext cx="44225" cy="61725"/>
              </a:xfrm>
              <a:custGeom>
                <a:avLst/>
                <a:gdLst/>
                <a:ahLst/>
                <a:cxnLst/>
                <a:rect l="l" t="t" r="r" b="b"/>
                <a:pathLst>
                  <a:path w="1769" h="2469" extrusionOk="0">
                    <a:moveTo>
                      <a:pt x="1768" y="0"/>
                    </a:moveTo>
                    <a:cubicBezTo>
                      <a:pt x="1268" y="734"/>
                      <a:pt x="668" y="1368"/>
                      <a:pt x="1" y="1935"/>
                    </a:cubicBezTo>
                    <a:cubicBezTo>
                      <a:pt x="301" y="2302"/>
                      <a:pt x="734" y="2469"/>
                      <a:pt x="1201" y="2469"/>
                    </a:cubicBezTo>
                    <a:lnTo>
                      <a:pt x="1768" y="0"/>
                    </a:lnTo>
                    <a:close/>
                  </a:path>
                </a:pathLst>
              </a:custGeom>
              <a:solidFill>
                <a:srgbClr val="A0272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 name="Google Shape;1190;p41"/>
              <p:cNvSpPr/>
              <p:nvPr/>
            </p:nvSpPr>
            <p:spPr>
              <a:xfrm>
                <a:off x="12190975" y="1792388"/>
                <a:ext cx="53925" cy="16625"/>
              </a:xfrm>
              <a:custGeom>
                <a:avLst/>
                <a:gdLst/>
                <a:ahLst/>
                <a:cxnLst/>
                <a:rect l="l" t="t" r="r" b="b"/>
                <a:pathLst>
                  <a:path w="2157" h="665" extrusionOk="0">
                    <a:moveTo>
                      <a:pt x="2043" y="0"/>
                    </a:moveTo>
                    <a:cubicBezTo>
                      <a:pt x="2029" y="0"/>
                      <a:pt x="2015" y="6"/>
                      <a:pt x="2002" y="18"/>
                    </a:cubicBezTo>
                    <a:cubicBezTo>
                      <a:pt x="1605" y="341"/>
                      <a:pt x="1116" y="516"/>
                      <a:pt x="618" y="516"/>
                    </a:cubicBezTo>
                    <a:cubicBezTo>
                      <a:pt x="445" y="516"/>
                      <a:pt x="272" y="495"/>
                      <a:pt x="101" y="452"/>
                    </a:cubicBezTo>
                    <a:cubicBezTo>
                      <a:pt x="91" y="442"/>
                      <a:pt x="81" y="438"/>
                      <a:pt x="72" y="438"/>
                    </a:cubicBezTo>
                    <a:cubicBezTo>
                      <a:pt x="48" y="438"/>
                      <a:pt x="24" y="462"/>
                      <a:pt x="1" y="485"/>
                    </a:cubicBezTo>
                    <a:cubicBezTo>
                      <a:pt x="1" y="552"/>
                      <a:pt x="34" y="586"/>
                      <a:pt x="67" y="586"/>
                    </a:cubicBezTo>
                    <a:cubicBezTo>
                      <a:pt x="201" y="619"/>
                      <a:pt x="334" y="652"/>
                      <a:pt x="434" y="652"/>
                    </a:cubicBezTo>
                    <a:cubicBezTo>
                      <a:pt x="511" y="661"/>
                      <a:pt x="588" y="665"/>
                      <a:pt x="665" y="665"/>
                    </a:cubicBezTo>
                    <a:cubicBezTo>
                      <a:pt x="1186" y="665"/>
                      <a:pt x="1695" y="472"/>
                      <a:pt x="2102" y="152"/>
                    </a:cubicBezTo>
                    <a:cubicBezTo>
                      <a:pt x="2156" y="98"/>
                      <a:pt x="2101" y="0"/>
                      <a:pt x="2043"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 name="Google Shape;1191;p41"/>
              <p:cNvSpPr/>
              <p:nvPr/>
            </p:nvSpPr>
            <p:spPr>
              <a:xfrm>
                <a:off x="12244350" y="1684213"/>
                <a:ext cx="33375" cy="28600"/>
              </a:xfrm>
              <a:custGeom>
                <a:avLst/>
                <a:gdLst/>
                <a:ahLst/>
                <a:cxnLst/>
                <a:rect l="l" t="t" r="r" b="b"/>
                <a:pathLst>
                  <a:path w="1335" h="1144" extrusionOk="0">
                    <a:moveTo>
                      <a:pt x="151" y="0"/>
                    </a:moveTo>
                    <a:cubicBezTo>
                      <a:pt x="78" y="0"/>
                      <a:pt x="28" y="60"/>
                      <a:pt x="1" y="142"/>
                    </a:cubicBezTo>
                    <a:cubicBezTo>
                      <a:pt x="1" y="209"/>
                      <a:pt x="67" y="309"/>
                      <a:pt x="134" y="309"/>
                    </a:cubicBezTo>
                    <a:cubicBezTo>
                      <a:pt x="534" y="409"/>
                      <a:pt x="868" y="676"/>
                      <a:pt x="1001" y="1043"/>
                    </a:cubicBezTo>
                    <a:cubicBezTo>
                      <a:pt x="1035" y="1110"/>
                      <a:pt x="1068" y="1143"/>
                      <a:pt x="1135" y="1143"/>
                    </a:cubicBezTo>
                    <a:lnTo>
                      <a:pt x="1201" y="1143"/>
                    </a:lnTo>
                    <a:cubicBezTo>
                      <a:pt x="1302" y="1110"/>
                      <a:pt x="1335" y="1010"/>
                      <a:pt x="1302" y="943"/>
                    </a:cubicBezTo>
                    <a:cubicBezTo>
                      <a:pt x="1101" y="443"/>
                      <a:pt x="701" y="109"/>
                      <a:pt x="201" y="9"/>
                    </a:cubicBezTo>
                    <a:cubicBezTo>
                      <a:pt x="183" y="3"/>
                      <a:pt x="166" y="0"/>
                      <a:pt x="151"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 name="Google Shape;1192;p41"/>
              <p:cNvSpPr/>
              <p:nvPr/>
            </p:nvSpPr>
            <p:spPr>
              <a:xfrm>
                <a:off x="12140100" y="1658563"/>
                <a:ext cx="37575" cy="22550"/>
              </a:xfrm>
              <a:custGeom>
                <a:avLst/>
                <a:gdLst/>
                <a:ahLst/>
                <a:cxnLst/>
                <a:rect l="l" t="t" r="r" b="b"/>
                <a:pathLst>
                  <a:path w="1503" h="902" extrusionOk="0">
                    <a:moveTo>
                      <a:pt x="1369" y="1"/>
                    </a:moveTo>
                    <a:cubicBezTo>
                      <a:pt x="868" y="1"/>
                      <a:pt x="368" y="234"/>
                      <a:pt x="68" y="635"/>
                    </a:cubicBezTo>
                    <a:cubicBezTo>
                      <a:pt x="1" y="701"/>
                      <a:pt x="1" y="802"/>
                      <a:pt x="68" y="868"/>
                    </a:cubicBezTo>
                    <a:cubicBezTo>
                      <a:pt x="101" y="868"/>
                      <a:pt x="134" y="868"/>
                      <a:pt x="168" y="902"/>
                    </a:cubicBezTo>
                    <a:cubicBezTo>
                      <a:pt x="201" y="902"/>
                      <a:pt x="268" y="868"/>
                      <a:pt x="301" y="835"/>
                    </a:cubicBezTo>
                    <a:cubicBezTo>
                      <a:pt x="535" y="501"/>
                      <a:pt x="935" y="335"/>
                      <a:pt x="1335" y="335"/>
                    </a:cubicBezTo>
                    <a:cubicBezTo>
                      <a:pt x="1402" y="335"/>
                      <a:pt x="1502" y="268"/>
                      <a:pt x="1502" y="201"/>
                    </a:cubicBezTo>
                    <a:cubicBezTo>
                      <a:pt x="1502" y="101"/>
                      <a:pt x="1435" y="34"/>
                      <a:pt x="1369"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 name="Google Shape;1193;p41"/>
              <p:cNvSpPr/>
              <p:nvPr/>
            </p:nvSpPr>
            <p:spPr>
              <a:xfrm>
                <a:off x="12192650" y="4639788"/>
                <a:ext cx="44225" cy="21800"/>
              </a:xfrm>
              <a:custGeom>
                <a:avLst/>
                <a:gdLst/>
                <a:ahLst/>
                <a:cxnLst/>
                <a:rect l="l" t="t" r="r" b="b"/>
                <a:pathLst>
                  <a:path w="1769" h="872" extrusionOk="0">
                    <a:moveTo>
                      <a:pt x="335" y="151"/>
                    </a:moveTo>
                    <a:cubicBezTo>
                      <a:pt x="594" y="151"/>
                      <a:pt x="1098" y="407"/>
                      <a:pt x="1502" y="638"/>
                    </a:cubicBezTo>
                    <a:cubicBezTo>
                      <a:pt x="1278" y="677"/>
                      <a:pt x="1070" y="696"/>
                      <a:pt x="890" y="696"/>
                    </a:cubicBezTo>
                    <a:cubicBezTo>
                      <a:pt x="613" y="696"/>
                      <a:pt x="402" y="652"/>
                      <a:pt x="301" y="571"/>
                    </a:cubicBezTo>
                    <a:cubicBezTo>
                      <a:pt x="201" y="504"/>
                      <a:pt x="167" y="371"/>
                      <a:pt x="201" y="271"/>
                    </a:cubicBezTo>
                    <a:cubicBezTo>
                      <a:pt x="201" y="237"/>
                      <a:pt x="201" y="204"/>
                      <a:pt x="234" y="171"/>
                    </a:cubicBezTo>
                    <a:cubicBezTo>
                      <a:pt x="261" y="157"/>
                      <a:pt x="295" y="151"/>
                      <a:pt x="335" y="151"/>
                    </a:cubicBezTo>
                    <a:close/>
                    <a:moveTo>
                      <a:pt x="343" y="0"/>
                    </a:moveTo>
                    <a:cubicBezTo>
                      <a:pt x="275" y="0"/>
                      <a:pt x="215" y="11"/>
                      <a:pt x="167" y="37"/>
                    </a:cubicBezTo>
                    <a:cubicBezTo>
                      <a:pt x="67" y="71"/>
                      <a:pt x="34" y="171"/>
                      <a:pt x="34" y="271"/>
                    </a:cubicBezTo>
                    <a:cubicBezTo>
                      <a:pt x="0" y="404"/>
                      <a:pt x="67" y="571"/>
                      <a:pt x="201" y="671"/>
                    </a:cubicBezTo>
                    <a:cubicBezTo>
                      <a:pt x="401" y="805"/>
                      <a:pt x="601" y="871"/>
                      <a:pt x="834" y="871"/>
                    </a:cubicBezTo>
                    <a:cubicBezTo>
                      <a:pt x="1135" y="838"/>
                      <a:pt x="1435" y="805"/>
                      <a:pt x="1702" y="738"/>
                    </a:cubicBezTo>
                    <a:cubicBezTo>
                      <a:pt x="1735" y="738"/>
                      <a:pt x="1768" y="704"/>
                      <a:pt x="1768" y="671"/>
                    </a:cubicBezTo>
                    <a:cubicBezTo>
                      <a:pt x="1768" y="638"/>
                      <a:pt x="1768" y="604"/>
                      <a:pt x="1735" y="571"/>
                    </a:cubicBezTo>
                    <a:cubicBezTo>
                      <a:pt x="1648" y="513"/>
                      <a:pt x="803" y="0"/>
                      <a:pt x="343"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 name="Google Shape;1194;p41"/>
              <p:cNvSpPr/>
              <p:nvPr/>
            </p:nvSpPr>
            <p:spPr>
              <a:xfrm>
                <a:off x="12208500" y="4620463"/>
                <a:ext cx="28375" cy="37775"/>
              </a:xfrm>
              <a:custGeom>
                <a:avLst/>
                <a:gdLst/>
                <a:ahLst/>
                <a:cxnLst/>
                <a:rect l="l" t="t" r="r" b="b"/>
                <a:pathLst>
                  <a:path w="1135" h="1511" extrusionOk="0">
                    <a:moveTo>
                      <a:pt x="454" y="163"/>
                    </a:moveTo>
                    <a:cubicBezTo>
                      <a:pt x="501" y="163"/>
                      <a:pt x="543" y="194"/>
                      <a:pt x="567" y="243"/>
                    </a:cubicBezTo>
                    <a:cubicBezTo>
                      <a:pt x="801" y="543"/>
                      <a:pt x="934" y="910"/>
                      <a:pt x="968" y="1277"/>
                    </a:cubicBezTo>
                    <a:cubicBezTo>
                      <a:pt x="634" y="1010"/>
                      <a:pt x="200" y="443"/>
                      <a:pt x="234" y="243"/>
                    </a:cubicBezTo>
                    <a:cubicBezTo>
                      <a:pt x="234" y="210"/>
                      <a:pt x="234" y="177"/>
                      <a:pt x="334" y="177"/>
                    </a:cubicBezTo>
                    <a:lnTo>
                      <a:pt x="401" y="177"/>
                    </a:lnTo>
                    <a:cubicBezTo>
                      <a:pt x="418" y="168"/>
                      <a:pt x="436" y="163"/>
                      <a:pt x="454" y="163"/>
                    </a:cubicBezTo>
                    <a:close/>
                    <a:moveTo>
                      <a:pt x="404" y="1"/>
                    </a:moveTo>
                    <a:cubicBezTo>
                      <a:pt x="382" y="1"/>
                      <a:pt x="358" y="4"/>
                      <a:pt x="334" y="10"/>
                    </a:cubicBezTo>
                    <a:cubicBezTo>
                      <a:pt x="200" y="10"/>
                      <a:pt x="100" y="110"/>
                      <a:pt x="67" y="210"/>
                    </a:cubicBezTo>
                    <a:cubicBezTo>
                      <a:pt x="0" y="577"/>
                      <a:pt x="667" y="1311"/>
                      <a:pt x="1034" y="1511"/>
                    </a:cubicBezTo>
                    <a:lnTo>
                      <a:pt x="1101" y="1511"/>
                    </a:lnTo>
                    <a:cubicBezTo>
                      <a:pt x="1134" y="1477"/>
                      <a:pt x="1134" y="1477"/>
                      <a:pt x="1134" y="1444"/>
                    </a:cubicBezTo>
                    <a:cubicBezTo>
                      <a:pt x="1134" y="1411"/>
                      <a:pt x="1068" y="443"/>
                      <a:pt x="667" y="110"/>
                    </a:cubicBezTo>
                    <a:cubicBezTo>
                      <a:pt x="586" y="55"/>
                      <a:pt x="504" y="1"/>
                      <a:pt x="404" y="1"/>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 name="Google Shape;1195;p41"/>
              <p:cNvSpPr/>
              <p:nvPr/>
            </p:nvSpPr>
            <p:spPr>
              <a:xfrm>
                <a:off x="11539675" y="4538063"/>
                <a:ext cx="47575" cy="31775"/>
              </a:xfrm>
              <a:custGeom>
                <a:avLst/>
                <a:gdLst/>
                <a:ahLst/>
                <a:cxnLst/>
                <a:rect l="l" t="t" r="r" b="b"/>
                <a:pathLst>
                  <a:path w="1903" h="1271" extrusionOk="0">
                    <a:moveTo>
                      <a:pt x="301" y="170"/>
                    </a:moveTo>
                    <a:cubicBezTo>
                      <a:pt x="568" y="170"/>
                      <a:pt x="1168" y="671"/>
                      <a:pt x="1569" y="1071"/>
                    </a:cubicBezTo>
                    <a:cubicBezTo>
                      <a:pt x="835" y="937"/>
                      <a:pt x="334" y="737"/>
                      <a:pt x="201" y="504"/>
                    </a:cubicBezTo>
                    <a:cubicBezTo>
                      <a:pt x="134" y="404"/>
                      <a:pt x="134" y="304"/>
                      <a:pt x="201" y="237"/>
                    </a:cubicBezTo>
                    <a:cubicBezTo>
                      <a:pt x="201" y="204"/>
                      <a:pt x="234" y="170"/>
                      <a:pt x="268" y="170"/>
                    </a:cubicBezTo>
                    <a:close/>
                    <a:moveTo>
                      <a:pt x="278" y="0"/>
                    </a:moveTo>
                    <a:cubicBezTo>
                      <a:pt x="263" y="0"/>
                      <a:pt x="248" y="1"/>
                      <a:pt x="234" y="3"/>
                    </a:cubicBezTo>
                    <a:cubicBezTo>
                      <a:pt x="168" y="3"/>
                      <a:pt x="101" y="70"/>
                      <a:pt x="68" y="170"/>
                    </a:cubicBezTo>
                    <a:cubicBezTo>
                      <a:pt x="1" y="304"/>
                      <a:pt x="1" y="437"/>
                      <a:pt x="68" y="570"/>
                    </a:cubicBezTo>
                    <a:cubicBezTo>
                      <a:pt x="301" y="1004"/>
                      <a:pt x="1235" y="1204"/>
                      <a:pt x="1802" y="1271"/>
                    </a:cubicBezTo>
                    <a:cubicBezTo>
                      <a:pt x="1835" y="1271"/>
                      <a:pt x="1869" y="1238"/>
                      <a:pt x="1869" y="1238"/>
                    </a:cubicBezTo>
                    <a:cubicBezTo>
                      <a:pt x="1902" y="1204"/>
                      <a:pt x="1902" y="1171"/>
                      <a:pt x="1869" y="1138"/>
                    </a:cubicBezTo>
                    <a:cubicBezTo>
                      <a:pt x="1772" y="1008"/>
                      <a:pt x="765" y="0"/>
                      <a:pt x="278"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 name="Google Shape;1196;p41"/>
              <p:cNvSpPr/>
              <p:nvPr/>
            </p:nvSpPr>
            <p:spPr>
              <a:xfrm>
                <a:off x="11562200" y="4526238"/>
                <a:ext cx="30050" cy="43600"/>
              </a:xfrm>
              <a:custGeom>
                <a:avLst/>
                <a:gdLst/>
                <a:ahLst/>
                <a:cxnLst/>
                <a:rect l="l" t="t" r="r" b="b"/>
                <a:pathLst>
                  <a:path w="1202" h="1744" extrusionOk="0">
                    <a:moveTo>
                      <a:pt x="501" y="176"/>
                    </a:moveTo>
                    <a:cubicBezTo>
                      <a:pt x="601" y="210"/>
                      <a:pt x="701" y="276"/>
                      <a:pt x="768" y="376"/>
                    </a:cubicBezTo>
                    <a:cubicBezTo>
                      <a:pt x="901" y="743"/>
                      <a:pt x="934" y="1110"/>
                      <a:pt x="868" y="1510"/>
                    </a:cubicBezTo>
                    <a:cubicBezTo>
                      <a:pt x="534" y="1144"/>
                      <a:pt x="234" y="410"/>
                      <a:pt x="334" y="210"/>
                    </a:cubicBezTo>
                    <a:cubicBezTo>
                      <a:pt x="334" y="176"/>
                      <a:pt x="401" y="176"/>
                      <a:pt x="434" y="176"/>
                    </a:cubicBezTo>
                    <a:close/>
                    <a:moveTo>
                      <a:pt x="437" y="1"/>
                    </a:moveTo>
                    <a:cubicBezTo>
                      <a:pt x="301" y="1"/>
                      <a:pt x="228" y="60"/>
                      <a:pt x="201" y="143"/>
                    </a:cubicBezTo>
                    <a:cubicBezTo>
                      <a:pt x="0" y="476"/>
                      <a:pt x="534" y="1410"/>
                      <a:pt x="834" y="1711"/>
                    </a:cubicBezTo>
                    <a:cubicBezTo>
                      <a:pt x="868" y="1744"/>
                      <a:pt x="868" y="1744"/>
                      <a:pt x="901" y="1744"/>
                    </a:cubicBezTo>
                    <a:lnTo>
                      <a:pt x="934" y="1744"/>
                    </a:lnTo>
                    <a:cubicBezTo>
                      <a:pt x="934" y="1711"/>
                      <a:pt x="968" y="1711"/>
                      <a:pt x="968" y="1677"/>
                    </a:cubicBezTo>
                    <a:cubicBezTo>
                      <a:pt x="968" y="1644"/>
                      <a:pt x="1201" y="777"/>
                      <a:pt x="901" y="276"/>
                    </a:cubicBezTo>
                    <a:cubicBezTo>
                      <a:pt x="834" y="143"/>
                      <a:pt x="701" y="43"/>
                      <a:pt x="534" y="9"/>
                    </a:cubicBezTo>
                    <a:cubicBezTo>
                      <a:pt x="499" y="4"/>
                      <a:pt x="466" y="1"/>
                      <a:pt x="437" y="1"/>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 name="Google Shape;1197;p41"/>
              <p:cNvSpPr/>
              <p:nvPr/>
            </p:nvSpPr>
            <p:spPr>
              <a:xfrm>
                <a:off x="12296050" y="2067188"/>
                <a:ext cx="308575" cy="751400"/>
              </a:xfrm>
              <a:custGeom>
                <a:avLst/>
                <a:gdLst/>
                <a:ahLst/>
                <a:cxnLst/>
                <a:rect l="l" t="t" r="r" b="b"/>
                <a:pathLst>
                  <a:path w="12343" h="30056" extrusionOk="0">
                    <a:moveTo>
                      <a:pt x="4704" y="1"/>
                    </a:moveTo>
                    <a:lnTo>
                      <a:pt x="1" y="3437"/>
                    </a:lnTo>
                    <a:lnTo>
                      <a:pt x="1035" y="4971"/>
                    </a:lnTo>
                    <a:cubicBezTo>
                      <a:pt x="1368" y="5505"/>
                      <a:pt x="1735" y="6039"/>
                      <a:pt x="2069" y="6539"/>
                    </a:cubicBezTo>
                    <a:cubicBezTo>
                      <a:pt x="2736" y="7606"/>
                      <a:pt x="3370" y="8707"/>
                      <a:pt x="4004" y="9775"/>
                    </a:cubicBezTo>
                    <a:cubicBezTo>
                      <a:pt x="4604" y="10842"/>
                      <a:pt x="5171" y="11943"/>
                      <a:pt x="5671" y="13044"/>
                    </a:cubicBezTo>
                    <a:cubicBezTo>
                      <a:pt x="6172" y="14078"/>
                      <a:pt x="6572" y="15145"/>
                      <a:pt x="6906" y="16246"/>
                    </a:cubicBezTo>
                    <a:cubicBezTo>
                      <a:pt x="6972" y="16513"/>
                      <a:pt x="7039" y="16746"/>
                      <a:pt x="7072" y="17013"/>
                    </a:cubicBezTo>
                    <a:cubicBezTo>
                      <a:pt x="7106" y="17047"/>
                      <a:pt x="7106" y="17113"/>
                      <a:pt x="7072" y="17147"/>
                    </a:cubicBezTo>
                    <a:cubicBezTo>
                      <a:pt x="7039" y="17580"/>
                      <a:pt x="6906" y="18014"/>
                      <a:pt x="6739" y="18448"/>
                    </a:cubicBezTo>
                    <a:cubicBezTo>
                      <a:pt x="6305" y="19548"/>
                      <a:pt x="5772" y="20582"/>
                      <a:pt x="5171" y="21616"/>
                    </a:cubicBezTo>
                    <a:cubicBezTo>
                      <a:pt x="3937" y="23785"/>
                      <a:pt x="2503" y="25953"/>
                      <a:pt x="1102" y="28121"/>
                    </a:cubicBezTo>
                    <a:lnTo>
                      <a:pt x="3236" y="30056"/>
                    </a:lnTo>
                    <a:cubicBezTo>
                      <a:pt x="4304" y="29122"/>
                      <a:pt x="5238" y="28188"/>
                      <a:pt x="6172" y="27220"/>
                    </a:cubicBezTo>
                    <a:cubicBezTo>
                      <a:pt x="7106" y="26253"/>
                      <a:pt x="8006" y="25219"/>
                      <a:pt x="8874" y="24118"/>
                    </a:cubicBezTo>
                    <a:cubicBezTo>
                      <a:pt x="9774" y="22984"/>
                      <a:pt x="10575" y="21783"/>
                      <a:pt x="11275" y="20516"/>
                    </a:cubicBezTo>
                    <a:cubicBezTo>
                      <a:pt x="11676" y="19748"/>
                      <a:pt x="11976" y="18915"/>
                      <a:pt x="12176" y="18081"/>
                    </a:cubicBezTo>
                    <a:cubicBezTo>
                      <a:pt x="12243" y="17780"/>
                      <a:pt x="12276" y="17514"/>
                      <a:pt x="12310" y="17247"/>
                    </a:cubicBezTo>
                    <a:lnTo>
                      <a:pt x="12310" y="16746"/>
                    </a:lnTo>
                    <a:cubicBezTo>
                      <a:pt x="12310" y="16680"/>
                      <a:pt x="12343" y="16580"/>
                      <a:pt x="12310" y="16479"/>
                    </a:cubicBezTo>
                    <a:cubicBezTo>
                      <a:pt x="12276" y="16413"/>
                      <a:pt x="12276" y="16279"/>
                      <a:pt x="12276" y="16246"/>
                    </a:cubicBezTo>
                    <a:cubicBezTo>
                      <a:pt x="12243" y="15846"/>
                      <a:pt x="12176" y="15445"/>
                      <a:pt x="12109" y="15078"/>
                    </a:cubicBezTo>
                    <a:cubicBezTo>
                      <a:pt x="11809" y="13611"/>
                      <a:pt x="11376" y="12210"/>
                      <a:pt x="10842" y="10842"/>
                    </a:cubicBezTo>
                    <a:cubicBezTo>
                      <a:pt x="10308" y="9541"/>
                      <a:pt x="9708" y="8240"/>
                      <a:pt x="9074" y="7006"/>
                    </a:cubicBezTo>
                    <a:cubicBezTo>
                      <a:pt x="8440" y="5772"/>
                      <a:pt x="7740" y="4571"/>
                      <a:pt x="7039" y="3437"/>
                    </a:cubicBezTo>
                    <a:cubicBezTo>
                      <a:pt x="6672" y="2836"/>
                      <a:pt x="6272" y="2269"/>
                      <a:pt x="5905" y="1702"/>
                    </a:cubicBezTo>
                    <a:cubicBezTo>
                      <a:pt x="5538" y="1135"/>
                      <a:pt x="5138" y="601"/>
                      <a:pt x="4704"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 name="Google Shape;1198;p41"/>
              <p:cNvSpPr/>
              <p:nvPr/>
            </p:nvSpPr>
            <p:spPr>
              <a:xfrm>
                <a:off x="12262700" y="2761038"/>
                <a:ext cx="138450" cy="104250"/>
              </a:xfrm>
              <a:custGeom>
                <a:avLst/>
                <a:gdLst/>
                <a:ahLst/>
                <a:cxnLst/>
                <a:rect l="l" t="t" r="r" b="b"/>
                <a:pathLst>
                  <a:path w="5538" h="4170" extrusionOk="0">
                    <a:moveTo>
                      <a:pt x="3336" y="0"/>
                    </a:moveTo>
                    <a:lnTo>
                      <a:pt x="0" y="1001"/>
                    </a:lnTo>
                    <a:lnTo>
                      <a:pt x="2969" y="4170"/>
                    </a:lnTo>
                    <a:cubicBezTo>
                      <a:pt x="2969" y="4170"/>
                      <a:pt x="5538" y="2669"/>
                      <a:pt x="4871" y="1234"/>
                    </a:cubicBezTo>
                    <a:lnTo>
                      <a:pt x="3336" y="0"/>
                    </a:lnTo>
                    <a:close/>
                  </a:path>
                </a:pathLst>
              </a:custGeom>
              <a:solidFill>
                <a:srgbClr val="B55B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 name="Google Shape;1199;p41"/>
              <p:cNvSpPr/>
              <p:nvPr/>
            </p:nvSpPr>
            <p:spPr>
              <a:xfrm>
                <a:off x="12228500" y="2786038"/>
                <a:ext cx="109275" cy="120950"/>
              </a:xfrm>
              <a:custGeom>
                <a:avLst/>
                <a:gdLst/>
                <a:ahLst/>
                <a:cxnLst/>
                <a:rect l="l" t="t" r="r" b="b"/>
                <a:pathLst>
                  <a:path w="4371" h="4838" extrusionOk="0">
                    <a:moveTo>
                      <a:pt x="1368" y="1"/>
                    </a:moveTo>
                    <a:lnTo>
                      <a:pt x="1" y="2436"/>
                    </a:lnTo>
                    <a:lnTo>
                      <a:pt x="2403" y="4838"/>
                    </a:lnTo>
                    <a:lnTo>
                      <a:pt x="4371" y="3170"/>
                    </a:lnTo>
                    <a:lnTo>
                      <a:pt x="1368" y="1"/>
                    </a:lnTo>
                    <a:close/>
                  </a:path>
                </a:pathLst>
              </a:custGeom>
              <a:solidFill>
                <a:srgbClr val="B55B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 name="Google Shape;1200;p41"/>
              <p:cNvSpPr/>
              <p:nvPr/>
            </p:nvSpPr>
            <p:spPr>
              <a:xfrm>
                <a:off x="12040875" y="2606763"/>
                <a:ext cx="68400" cy="167625"/>
              </a:xfrm>
              <a:custGeom>
                <a:avLst/>
                <a:gdLst/>
                <a:ahLst/>
                <a:cxnLst/>
                <a:rect l="l" t="t" r="r" b="b"/>
                <a:pathLst>
                  <a:path w="2736" h="6705" extrusionOk="0">
                    <a:moveTo>
                      <a:pt x="1735" y="0"/>
                    </a:moveTo>
                    <a:cubicBezTo>
                      <a:pt x="634" y="2102"/>
                      <a:pt x="0" y="6438"/>
                      <a:pt x="0" y="6438"/>
                    </a:cubicBezTo>
                    <a:lnTo>
                      <a:pt x="2736" y="6705"/>
                    </a:lnTo>
                    <a:cubicBezTo>
                      <a:pt x="2736" y="6705"/>
                      <a:pt x="1969" y="1835"/>
                      <a:pt x="1735"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2" name="Google Shape;1015;p41">
            <a:extLst>
              <a:ext uri="{FF2B5EF4-FFF2-40B4-BE49-F238E27FC236}">
                <a16:creationId xmlns:a16="http://schemas.microsoft.com/office/drawing/2014/main" id="{43175748-2B6E-B401-06BB-7557BB79A626}"/>
              </a:ext>
            </a:extLst>
          </p:cNvPr>
          <p:cNvSpPr txBox="1"/>
          <p:nvPr/>
        </p:nvSpPr>
        <p:spPr>
          <a:xfrm>
            <a:off x="893265" y="4104965"/>
            <a:ext cx="2319373" cy="799548"/>
          </a:xfrm>
          <a:prstGeom prst="rect">
            <a:avLst/>
          </a:prstGeom>
          <a:noFill/>
          <a:ln>
            <a:noFill/>
          </a:ln>
        </p:spPr>
        <p:txBody>
          <a:bodyPr spcFirstLastPara="1" wrap="square" lIns="91425" tIns="91425" rIns="91425" bIns="91425" anchor="ctr" anchorCtr="0">
            <a:noAutofit/>
          </a:bodyPr>
          <a:lstStyle/>
          <a:p>
            <a:r>
              <a:rPr lang="en" sz="1400" b="1">
                <a:solidFill>
                  <a:schemeClr val="bg2">
                    <a:lumMod val="60000"/>
                    <a:lumOff val="40000"/>
                  </a:schemeClr>
                </a:solidFill>
                <a:latin typeface="Source Sans Pro"/>
                <a:ea typeface="Source Sans Pro"/>
                <a:cs typeface="Source Sans Pro"/>
              </a:rPr>
              <a:t>Benefits:</a:t>
            </a:r>
          </a:p>
          <a:p>
            <a:endParaRPr lang="en" sz="300">
              <a:solidFill>
                <a:schemeClr val="lt1"/>
              </a:solidFill>
              <a:latin typeface="Source Sans Pro"/>
              <a:ea typeface="Source Sans Pro"/>
              <a:cs typeface="Source Sans Pro"/>
            </a:endParaRPr>
          </a:p>
          <a:p>
            <a:pPr marL="285750" lvl="0" indent="-285750" rtl="0">
              <a:lnSpc>
                <a:spcPct val="100000"/>
              </a:lnSpc>
              <a:spcBef>
                <a:spcPts val="0"/>
              </a:spcBef>
              <a:spcAft>
                <a:spcPts val="0"/>
              </a:spcAft>
              <a:buFont typeface="Arial" panose="020B0604020202020204" pitchFamily="34" charset="0"/>
              <a:buChar char="•"/>
            </a:pPr>
            <a:r>
              <a:rPr lang="en" sz="1400">
                <a:solidFill>
                  <a:schemeClr val="lt1"/>
                </a:solidFill>
                <a:latin typeface="Source Sans Pro"/>
                <a:ea typeface="Source Sans Pro"/>
                <a:cs typeface="Source Sans Pro"/>
              </a:rPr>
              <a:t>Customer experience</a:t>
            </a:r>
          </a:p>
          <a:p>
            <a:pPr marL="285750" lvl="0" indent="-285750" rtl="0">
              <a:lnSpc>
                <a:spcPct val="100000"/>
              </a:lnSpc>
              <a:spcBef>
                <a:spcPts val="0"/>
              </a:spcBef>
              <a:spcAft>
                <a:spcPts val="0"/>
              </a:spcAft>
              <a:buFont typeface="Arial" panose="020B0604020202020204" pitchFamily="34" charset="0"/>
              <a:buChar char="•"/>
            </a:pPr>
            <a:r>
              <a:rPr lang="en" sz="1400">
                <a:solidFill>
                  <a:schemeClr val="lt1"/>
                </a:solidFill>
                <a:latin typeface="Source Sans Pro"/>
                <a:ea typeface="Source Sans Pro"/>
                <a:cs typeface="Source Sans Pro"/>
              </a:rPr>
              <a:t>Customer Engagement</a:t>
            </a:r>
          </a:p>
        </p:txBody>
      </p:sp>
      <p:sp>
        <p:nvSpPr>
          <p:cNvPr id="3" name="Google Shape;1015;p41">
            <a:extLst>
              <a:ext uri="{FF2B5EF4-FFF2-40B4-BE49-F238E27FC236}">
                <a16:creationId xmlns:a16="http://schemas.microsoft.com/office/drawing/2014/main" id="{64A9F61C-EFBA-C428-9493-B8A0EA685507}"/>
              </a:ext>
            </a:extLst>
          </p:cNvPr>
          <p:cNvSpPr txBox="1"/>
          <p:nvPr/>
        </p:nvSpPr>
        <p:spPr>
          <a:xfrm>
            <a:off x="893516" y="3144510"/>
            <a:ext cx="2560778" cy="934990"/>
          </a:xfrm>
          <a:prstGeom prst="rect">
            <a:avLst/>
          </a:prstGeom>
          <a:noFill/>
          <a:ln>
            <a:noFill/>
          </a:ln>
        </p:spPr>
        <p:txBody>
          <a:bodyPr spcFirstLastPara="1" wrap="square" lIns="91425" tIns="91425" rIns="91425" bIns="91425" anchor="ctr" anchorCtr="0">
            <a:noAutofit/>
          </a:bodyPr>
          <a:lstStyle/>
          <a:p>
            <a:r>
              <a:rPr lang="en" sz="1400" b="1">
                <a:solidFill>
                  <a:schemeClr val="bg2">
                    <a:lumMod val="60000"/>
                    <a:lumOff val="40000"/>
                  </a:schemeClr>
                </a:solidFill>
                <a:latin typeface="Source Sans Pro"/>
                <a:ea typeface="Source Sans Pro"/>
                <a:cs typeface="Source Sans Pro"/>
              </a:rPr>
              <a:t>Beneficiaries:</a:t>
            </a:r>
          </a:p>
          <a:p>
            <a:endParaRPr lang="en" sz="300">
              <a:solidFill>
                <a:schemeClr val="lt1"/>
              </a:solidFill>
              <a:latin typeface="Source Sans Pro"/>
              <a:ea typeface="Source Sans Pro"/>
              <a:cs typeface="Source Sans Pro"/>
            </a:endParaRPr>
          </a:p>
          <a:p>
            <a:pPr marL="285750" lvl="0" indent="-285750" rtl="0">
              <a:lnSpc>
                <a:spcPct val="100000"/>
              </a:lnSpc>
              <a:spcBef>
                <a:spcPts val="0"/>
              </a:spcBef>
              <a:spcAft>
                <a:spcPts val="0"/>
              </a:spcAft>
              <a:buFont typeface="Arial" panose="020B0604020202020204" pitchFamily="34" charset="0"/>
              <a:buChar char="•"/>
            </a:pPr>
            <a:r>
              <a:rPr lang="en" sz="1400">
                <a:solidFill>
                  <a:schemeClr val="lt1"/>
                </a:solidFill>
                <a:latin typeface="Source Sans Pro"/>
                <a:ea typeface="Source Sans Pro"/>
                <a:cs typeface="Source Sans Pro"/>
              </a:rPr>
              <a:t>All segments</a:t>
            </a:r>
          </a:p>
          <a:p>
            <a:pPr marL="285750" lvl="0" indent="-285750" rtl="0">
              <a:lnSpc>
                <a:spcPct val="100000"/>
              </a:lnSpc>
              <a:spcBef>
                <a:spcPts val="0"/>
              </a:spcBef>
              <a:spcAft>
                <a:spcPts val="0"/>
              </a:spcAft>
              <a:buFont typeface="Arial" panose="020B0604020202020204" pitchFamily="34" charset="0"/>
              <a:buChar char="•"/>
            </a:pPr>
            <a:r>
              <a:rPr lang="en" sz="1400">
                <a:solidFill>
                  <a:schemeClr val="lt1"/>
                </a:solidFill>
                <a:latin typeface="Source Sans Pro"/>
                <a:ea typeface="Source Sans Pro"/>
                <a:cs typeface="Source Sans Pro"/>
              </a:rPr>
              <a:t>Valuable for Confused Shoppers</a:t>
            </a:r>
          </a:p>
        </p:txBody>
      </p:sp>
      <p:sp>
        <p:nvSpPr>
          <p:cNvPr id="4" name="Google Shape;1015;p41">
            <a:extLst>
              <a:ext uri="{FF2B5EF4-FFF2-40B4-BE49-F238E27FC236}">
                <a16:creationId xmlns:a16="http://schemas.microsoft.com/office/drawing/2014/main" id="{3EB8FE03-2C5C-789B-92D6-4A913A6F29AF}"/>
              </a:ext>
            </a:extLst>
          </p:cNvPr>
          <p:cNvSpPr txBox="1"/>
          <p:nvPr/>
        </p:nvSpPr>
        <p:spPr>
          <a:xfrm>
            <a:off x="6200248" y="1380860"/>
            <a:ext cx="2319373" cy="1917117"/>
          </a:xfrm>
          <a:prstGeom prst="rect">
            <a:avLst/>
          </a:prstGeom>
          <a:noFill/>
          <a:ln>
            <a:noFill/>
          </a:ln>
        </p:spPr>
        <p:txBody>
          <a:bodyPr spcFirstLastPara="1" wrap="square" lIns="91425" tIns="91425" rIns="91425" bIns="91425" anchor="ctr" anchorCtr="0">
            <a:noAutofit/>
          </a:bodyPr>
          <a:lstStyle/>
          <a:p>
            <a:pPr marL="285750" indent="-285750">
              <a:buFont typeface="Arial" panose="020B0604020202020204" pitchFamily="34" charset="0"/>
              <a:buChar char="•"/>
            </a:pPr>
            <a:r>
              <a:rPr lang="en" sz="1400">
                <a:solidFill>
                  <a:schemeClr val="lt1"/>
                </a:solidFill>
                <a:latin typeface="Source Sans Pro"/>
                <a:ea typeface="Source Sans Pro"/>
                <a:cs typeface="Source Sans Pro"/>
              </a:rPr>
              <a:t>Integrated reminder program</a:t>
            </a:r>
          </a:p>
          <a:p>
            <a:endParaRPr lang="en" sz="500">
              <a:solidFill>
                <a:schemeClr val="lt1"/>
              </a:solidFill>
              <a:latin typeface="Source Sans Pro"/>
              <a:ea typeface="Source Sans Pro"/>
              <a:cs typeface="Source Sans Pro"/>
            </a:endParaRPr>
          </a:p>
          <a:p>
            <a:pPr marL="285750" indent="-285750">
              <a:buFont typeface="Arial" panose="020B0604020202020204" pitchFamily="34" charset="0"/>
              <a:buChar char="•"/>
            </a:pPr>
            <a:r>
              <a:rPr lang="en" sz="1400">
                <a:solidFill>
                  <a:schemeClr val="lt1"/>
                </a:solidFill>
                <a:latin typeface="Source Sans Pro"/>
                <a:ea typeface="Source Sans Pro"/>
                <a:cs typeface="Source Sans Pro"/>
              </a:rPr>
              <a:t>Works in harmony with targeted promotions</a:t>
            </a:r>
          </a:p>
          <a:p>
            <a:endParaRPr lang="en" sz="800">
              <a:solidFill>
                <a:schemeClr val="lt1"/>
              </a:solidFill>
              <a:latin typeface="Source Sans Pro"/>
              <a:ea typeface="Source Sans Pro"/>
              <a:cs typeface="Source Sans Pro"/>
            </a:endParaRPr>
          </a:p>
          <a:p>
            <a:r>
              <a:rPr lang="en" sz="1400" b="1">
                <a:solidFill>
                  <a:schemeClr val="bg2">
                    <a:lumMod val="60000"/>
                    <a:lumOff val="40000"/>
                  </a:schemeClr>
                </a:solidFill>
                <a:latin typeface="Source Sans Pro"/>
                <a:ea typeface="Source Sans Pro"/>
                <a:cs typeface="Source Sans Pro"/>
              </a:rPr>
              <a:t>Sample Reminders:</a:t>
            </a:r>
          </a:p>
          <a:p>
            <a:endParaRPr lang="en" sz="500" b="1">
              <a:solidFill>
                <a:schemeClr val="bg2">
                  <a:lumMod val="60000"/>
                  <a:lumOff val="40000"/>
                </a:schemeClr>
              </a:solidFill>
              <a:latin typeface="Source Sans Pro"/>
              <a:ea typeface="Source Sans Pro"/>
              <a:cs typeface="Source Sans Pro"/>
            </a:endParaRPr>
          </a:p>
          <a:p>
            <a:pPr marL="285750" indent="-285750">
              <a:buFont typeface="Arial" panose="020B0604020202020204" pitchFamily="34" charset="0"/>
              <a:buChar char="•"/>
            </a:pPr>
            <a:r>
              <a:rPr lang="en" sz="1400">
                <a:solidFill>
                  <a:schemeClr val="lt1"/>
                </a:solidFill>
                <a:latin typeface="Source Sans Pro"/>
                <a:ea typeface="Source Sans Pro"/>
                <a:cs typeface="Source Sans Pro"/>
              </a:rPr>
              <a:t>Item left in the cart</a:t>
            </a:r>
          </a:p>
          <a:p>
            <a:pPr marL="285750" indent="-285750">
              <a:buFont typeface="Arial" panose="020B0604020202020204" pitchFamily="34" charset="0"/>
              <a:buChar char="•"/>
            </a:pPr>
            <a:r>
              <a:rPr lang="en" sz="1400">
                <a:solidFill>
                  <a:schemeClr val="lt1"/>
                </a:solidFill>
                <a:latin typeface="Source Sans Pro"/>
                <a:ea typeface="Source Sans Pro"/>
                <a:cs typeface="Source Sans Pro"/>
              </a:rPr>
              <a:t>Coupon expiring</a:t>
            </a:r>
          </a:p>
          <a:p>
            <a:pPr marL="285750" indent="-285750">
              <a:buFont typeface="Arial" panose="020B0604020202020204" pitchFamily="34" charset="0"/>
              <a:buChar char="•"/>
            </a:pPr>
            <a:r>
              <a:rPr lang="en" sz="1400">
                <a:solidFill>
                  <a:schemeClr val="lt1"/>
                </a:solidFill>
                <a:latin typeface="Source Sans Pro"/>
                <a:ea typeface="Source Sans Pro"/>
                <a:cs typeface="Source Sans Pro"/>
              </a:rPr>
              <a:t>Upcoming sale </a:t>
            </a:r>
          </a:p>
          <a:p>
            <a:pPr marL="285750" indent="-285750">
              <a:buFont typeface="Arial" panose="020B0604020202020204" pitchFamily="34" charset="0"/>
              <a:buChar char="•"/>
            </a:pPr>
            <a:endParaRPr lang="en" sz="1400">
              <a:solidFill>
                <a:schemeClr val="lt1"/>
              </a:solidFill>
              <a:latin typeface="Source Sans Pro"/>
              <a:ea typeface="Source Sans Pro"/>
              <a:cs typeface="Source Sans Pro"/>
            </a:endParaRPr>
          </a:p>
        </p:txBody>
      </p:sp>
      <p:sp>
        <p:nvSpPr>
          <p:cNvPr id="5" name="Google Shape;1015;p41">
            <a:extLst>
              <a:ext uri="{FF2B5EF4-FFF2-40B4-BE49-F238E27FC236}">
                <a16:creationId xmlns:a16="http://schemas.microsoft.com/office/drawing/2014/main" id="{C0D0B316-C194-6312-B307-436E97FF3BDD}"/>
              </a:ext>
            </a:extLst>
          </p:cNvPr>
          <p:cNvSpPr txBox="1"/>
          <p:nvPr/>
        </p:nvSpPr>
        <p:spPr>
          <a:xfrm>
            <a:off x="6199425" y="3940995"/>
            <a:ext cx="2411543" cy="799548"/>
          </a:xfrm>
          <a:prstGeom prst="rect">
            <a:avLst/>
          </a:prstGeom>
          <a:noFill/>
          <a:ln>
            <a:noFill/>
          </a:ln>
        </p:spPr>
        <p:txBody>
          <a:bodyPr spcFirstLastPara="1" wrap="square" lIns="91425" tIns="91425" rIns="91425" bIns="91425" anchor="ctr" anchorCtr="0">
            <a:noAutofit/>
          </a:bodyPr>
          <a:lstStyle/>
          <a:p>
            <a:r>
              <a:rPr lang="en" sz="1400" b="1">
                <a:solidFill>
                  <a:schemeClr val="bg2">
                    <a:lumMod val="60000"/>
                    <a:lumOff val="40000"/>
                  </a:schemeClr>
                </a:solidFill>
                <a:latin typeface="Source Sans Pro"/>
                <a:ea typeface="Source Sans Pro"/>
                <a:cs typeface="Source Sans Pro"/>
              </a:rPr>
              <a:t>Benefits:</a:t>
            </a:r>
          </a:p>
          <a:p>
            <a:endParaRPr lang="en" sz="300">
              <a:solidFill>
                <a:schemeClr val="lt1"/>
              </a:solidFill>
              <a:latin typeface="Source Sans Pro"/>
              <a:ea typeface="Source Sans Pro"/>
              <a:cs typeface="Source Sans Pro"/>
            </a:endParaRPr>
          </a:p>
          <a:p>
            <a:pPr marL="285750" lvl="0" indent="-285750" rtl="0">
              <a:lnSpc>
                <a:spcPct val="100000"/>
              </a:lnSpc>
              <a:spcBef>
                <a:spcPts val="0"/>
              </a:spcBef>
              <a:spcAft>
                <a:spcPts val="0"/>
              </a:spcAft>
              <a:buFont typeface="Arial" panose="020B0604020202020204" pitchFamily="34" charset="0"/>
              <a:buChar char="•"/>
            </a:pPr>
            <a:r>
              <a:rPr lang="en" sz="1400">
                <a:solidFill>
                  <a:schemeClr val="lt1"/>
                </a:solidFill>
                <a:latin typeface="Source Sans Pro"/>
                <a:ea typeface="Source Sans Pro"/>
                <a:cs typeface="Source Sans Pro"/>
              </a:rPr>
              <a:t>Customer engagement</a:t>
            </a:r>
          </a:p>
          <a:p>
            <a:pPr marL="285750" lvl="0" indent="-285750" rtl="0">
              <a:lnSpc>
                <a:spcPct val="100000"/>
              </a:lnSpc>
              <a:spcBef>
                <a:spcPts val="0"/>
              </a:spcBef>
              <a:spcAft>
                <a:spcPts val="0"/>
              </a:spcAft>
              <a:buFont typeface="Arial" panose="020B0604020202020204" pitchFamily="34" charset="0"/>
              <a:buChar char="•"/>
            </a:pPr>
            <a:r>
              <a:rPr lang="en-CA" sz="1400">
                <a:solidFill>
                  <a:schemeClr val="lt1"/>
                </a:solidFill>
                <a:latin typeface="Source Sans Pro"/>
                <a:ea typeface="Source Sans Pro"/>
                <a:cs typeface="Source Sans Pro"/>
              </a:rPr>
              <a:t>C</a:t>
            </a:r>
            <a:r>
              <a:rPr lang="en" sz="1400">
                <a:solidFill>
                  <a:schemeClr val="lt1"/>
                </a:solidFill>
                <a:latin typeface="Source Sans Pro"/>
                <a:ea typeface="Source Sans Pro"/>
                <a:cs typeface="Source Sans Pro"/>
              </a:rPr>
              <a:t>onversion Rate</a:t>
            </a:r>
          </a:p>
          <a:p>
            <a:pPr marL="285750" lvl="0" indent="-285750" rtl="0">
              <a:lnSpc>
                <a:spcPct val="100000"/>
              </a:lnSpc>
              <a:spcBef>
                <a:spcPts val="0"/>
              </a:spcBef>
              <a:spcAft>
                <a:spcPts val="0"/>
              </a:spcAft>
              <a:buFont typeface="Arial" panose="020B0604020202020204" pitchFamily="34" charset="0"/>
              <a:buChar char="•"/>
            </a:pPr>
            <a:r>
              <a:rPr lang="en" sz="1400">
                <a:solidFill>
                  <a:schemeClr val="lt1"/>
                </a:solidFill>
                <a:latin typeface="Source Sans Pro"/>
                <a:ea typeface="Source Sans Pro"/>
                <a:cs typeface="Source Sans Pro"/>
              </a:rPr>
              <a:t>Revenue</a:t>
            </a:r>
          </a:p>
        </p:txBody>
      </p:sp>
      <p:sp>
        <p:nvSpPr>
          <p:cNvPr id="6" name="Google Shape;1015;p41">
            <a:extLst>
              <a:ext uri="{FF2B5EF4-FFF2-40B4-BE49-F238E27FC236}">
                <a16:creationId xmlns:a16="http://schemas.microsoft.com/office/drawing/2014/main" id="{6B7FF75A-2088-D2C2-56AC-ABBB784612DD}"/>
              </a:ext>
            </a:extLst>
          </p:cNvPr>
          <p:cNvSpPr txBox="1"/>
          <p:nvPr/>
        </p:nvSpPr>
        <p:spPr>
          <a:xfrm>
            <a:off x="6200247" y="3294874"/>
            <a:ext cx="2319373" cy="609085"/>
          </a:xfrm>
          <a:prstGeom prst="rect">
            <a:avLst/>
          </a:prstGeom>
          <a:noFill/>
          <a:ln>
            <a:noFill/>
          </a:ln>
        </p:spPr>
        <p:txBody>
          <a:bodyPr spcFirstLastPara="1" wrap="square" lIns="91425" tIns="91425" rIns="91425" bIns="91425" anchor="ctr" anchorCtr="0">
            <a:noAutofit/>
          </a:bodyPr>
          <a:lstStyle/>
          <a:p>
            <a:r>
              <a:rPr lang="en" sz="1400" b="1">
                <a:solidFill>
                  <a:schemeClr val="bg2">
                    <a:lumMod val="60000"/>
                    <a:lumOff val="40000"/>
                  </a:schemeClr>
                </a:solidFill>
                <a:latin typeface="Source Sans Pro"/>
                <a:ea typeface="Source Sans Pro"/>
                <a:cs typeface="Source Sans Pro"/>
              </a:rPr>
              <a:t>Beneficiaries:</a:t>
            </a:r>
          </a:p>
          <a:p>
            <a:endParaRPr lang="en" sz="300">
              <a:solidFill>
                <a:schemeClr val="lt1"/>
              </a:solidFill>
              <a:latin typeface="Source Sans Pro"/>
              <a:ea typeface="Source Sans Pro"/>
              <a:cs typeface="Source Sans Pro"/>
            </a:endParaRPr>
          </a:p>
          <a:p>
            <a:pPr marL="285750" lvl="0" indent="-285750" rtl="0">
              <a:lnSpc>
                <a:spcPct val="100000"/>
              </a:lnSpc>
              <a:spcBef>
                <a:spcPts val="0"/>
              </a:spcBef>
              <a:spcAft>
                <a:spcPts val="0"/>
              </a:spcAft>
              <a:buFont typeface="Arial" panose="020B0604020202020204" pitchFamily="34" charset="0"/>
              <a:buChar char="•"/>
            </a:pPr>
            <a:r>
              <a:rPr lang="en" sz="1400">
                <a:solidFill>
                  <a:schemeClr val="lt1"/>
                </a:solidFill>
                <a:latin typeface="Source Sans Pro"/>
                <a:ea typeface="Source Sans Pro"/>
                <a:cs typeface="Source Sans Pro"/>
              </a:rPr>
              <a:t>All segments</a:t>
            </a:r>
          </a:p>
        </p:txBody>
      </p:sp>
      <p:pic>
        <p:nvPicPr>
          <p:cNvPr id="7" name="Picture 2" descr="Website design - Free computer icons">
            <a:extLst>
              <a:ext uri="{FF2B5EF4-FFF2-40B4-BE49-F238E27FC236}">
                <a16:creationId xmlns:a16="http://schemas.microsoft.com/office/drawing/2014/main" id="{D5EEA28B-9E6C-6A4C-1910-085C5F37F0BC}"/>
              </a:ext>
            </a:extLst>
          </p:cNvPr>
          <p:cNvPicPr>
            <a:picLocks noChangeAspect="1" noChangeArrowheads="1"/>
          </p:cNvPicPr>
          <p:nvPr/>
        </p:nvPicPr>
        <p:blipFill rotWithShape="1">
          <a:blip r:embed="rId6">
            <a:extLst>
              <a:ext uri="{BEBA8EAE-BF5A-486C-A8C5-ECC9F3942E4B}">
                <a14:imgProps xmlns:a14="http://schemas.microsoft.com/office/drawing/2010/main">
                  <a14:imgLayer r:embed="rId7">
                    <a14:imgEffect>
                      <a14:backgroundRemoval t="10000" b="90000" l="10000" r="90000">
                        <a14:backgroundMark x1="24805" y1="26172" x2="72656" y2="19336"/>
                        <a14:backgroundMark x1="72656" y1="19336" x2="80273" y2="27344"/>
                        <a14:backgroundMark x1="80273" y1="27344" x2="82031" y2="61523"/>
                        <a14:backgroundMark x1="82031" y1="61523" x2="87695" y2="35352"/>
                        <a14:backgroundMark x1="87695" y1="35352" x2="80078" y2="18750"/>
                        <a14:backgroundMark x1="80078" y1="18750" x2="70703" y2="14453"/>
                        <a14:backgroundMark x1="70703" y1="14453" x2="35352" y2="15234"/>
                        <a14:backgroundMark x1="35352" y1="15234" x2="25781" y2="23242"/>
                        <a14:backgroundMark x1="25781" y1="23242" x2="24609" y2="25977"/>
                      </a14:backgroundRemoval>
                    </a14:imgEffect>
                  </a14:imgLayer>
                </a14:imgProps>
              </a:ext>
              <a:ext uri="{28A0092B-C50C-407E-A947-70E740481C1C}">
                <a14:useLocalDpi xmlns:a14="http://schemas.microsoft.com/office/drawing/2010/main" val="0"/>
              </a:ext>
            </a:extLst>
          </a:blip>
          <a:srcRect l="14655" t="18457" r="17538" b="17580"/>
          <a:stretch/>
        </p:blipFill>
        <p:spPr bwMode="auto">
          <a:xfrm>
            <a:off x="2944745" y="1278107"/>
            <a:ext cx="700238" cy="66054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Reminder Generic Outline Color icon">
            <a:extLst>
              <a:ext uri="{FF2B5EF4-FFF2-40B4-BE49-F238E27FC236}">
                <a16:creationId xmlns:a16="http://schemas.microsoft.com/office/drawing/2014/main" id="{75E7DC81-4DDE-2DB7-984F-A77A208FD90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403958" y="1546225"/>
            <a:ext cx="656514" cy="497724"/>
          </a:xfrm>
          <a:prstGeom prst="rect">
            <a:avLst/>
          </a:prstGeom>
          <a:noFill/>
          <a:extLst>
            <a:ext uri="{909E8E84-426E-40DD-AFC4-6F175D3DCCD1}">
              <a14:hiddenFill xmlns:a14="http://schemas.microsoft.com/office/drawing/2010/main">
                <a:solidFill>
                  <a:srgbClr val="FFFFFF"/>
                </a:solidFill>
              </a14:hiddenFill>
            </a:ext>
          </a:extLst>
        </p:spPr>
      </p:pic>
      <p:sp>
        <p:nvSpPr>
          <p:cNvPr id="9" name="Arrow: Up 8">
            <a:extLst>
              <a:ext uri="{FF2B5EF4-FFF2-40B4-BE49-F238E27FC236}">
                <a16:creationId xmlns:a16="http://schemas.microsoft.com/office/drawing/2014/main" id="{F269FD5C-3213-1075-7332-592D69377139}"/>
              </a:ext>
            </a:extLst>
          </p:cNvPr>
          <p:cNvSpPr/>
          <p:nvPr/>
        </p:nvSpPr>
        <p:spPr>
          <a:xfrm>
            <a:off x="2889062" y="4444831"/>
            <a:ext cx="161666" cy="150814"/>
          </a:xfrm>
          <a:prstGeom prst="upArrow">
            <a:avLst>
              <a:gd name="adj1" fmla="val 33814"/>
              <a:gd name="adj2" fmla="val 5000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 name="Arrow: Up 9">
            <a:extLst>
              <a:ext uri="{FF2B5EF4-FFF2-40B4-BE49-F238E27FC236}">
                <a16:creationId xmlns:a16="http://schemas.microsoft.com/office/drawing/2014/main" id="{A590A46A-D90B-24C6-29B2-9B501B20B485}"/>
              </a:ext>
            </a:extLst>
          </p:cNvPr>
          <p:cNvSpPr/>
          <p:nvPr/>
        </p:nvSpPr>
        <p:spPr>
          <a:xfrm>
            <a:off x="8285017" y="4172988"/>
            <a:ext cx="161666" cy="150814"/>
          </a:xfrm>
          <a:prstGeom prst="upArrow">
            <a:avLst>
              <a:gd name="adj1" fmla="val 33814"/>
              <a:gd name="adj2" fmla="val 5000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2" name="Arrow: Up 11">
            <a:extLst>
              <a:ext uri="{FF2B5EF4-FFF2-40B4-BE49-F238E27FC236}">
                <a16:creationId xmlns:a16="http://schemas.microsoft.com/office/drawing/2014/main" id="{4688D015-0B63-8D9D-FB3E-E2714D2C9283}"/>
              </a:ext>
            </a:extLst>
          </p:cNvPr>
          <p:cNvSpPr/>
          <p:nvPr/>
        </p:nvSpPr>
        <p:spPr>
          <a:xfrm>
            <a:off x="3025366" y="4674672"/>
            <a:ext cx="161666" cy="150814"/>
          </a:xfrm>
          <a:prstGeom prst="upArrow">
            <a:avLst>
              <a:gd name="adj1" fmla="val 33814"/>
              <a:gd name="adj2" fmla="val 5000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3" name="Arrow: Up 12">
            <a:extLst>
              <a:ext uri="{FF2B5EF4-FFF2-40B4-BE49-F238E27FC236}">
                <a16:creationId xmlns:a16="http://schemas.microsoft.com/office/drawing/2014/main" id="{965EEE2E-E14F-CA32-DDCE-2F065ACA6258}"/>
              </a:ext>
            </a:extLst>
          </p:cNvPr>
          <p:cNvSpPr/>
          <p:nvPr/>
        </p:nvSpPr>
        <p:spPr>
          <a:xfrm>
            <a:off x="7821835" y="4403386"/>
            <a:ext cx="161666" cy="150814"/>
          </a:xfrm>
          <a:prstGeom prst="upArrow">
            <a:avLst>
              <a:gd name="adj1" fmla="val 33814"/>
              <a:gd name="adj2" fmla="val 5000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4" name="Arrow: Up 13">
            <a:extLst>
              <a:ext uri="{FF2B5EF4-FFF2-40B4-BE49-F238E27FC236}">
                <a16:creationId xmlns:a16="http://schemas.microsoft.com/office/drawing/2014/main" id="{68757171-C214-D581-99CC-ECAF46FE9447}"/>
              </a:ext>
            </a:extLst>
          </p:cNvPr>
          <p:cNvSpPr/>
          <p:nvPr/>
        </p:nvSpPr>
        <p:spPr>
          <a:xfrm>
            <a:off x="7249532" y="4617478"/>
            <a:ext cx="161666" cy="150814"/>
          </a:xfrm>
          <a:prstGeom prst="upArrow">
            <a:avLst>
              <a:gd name="adj1" fmla="val 33814"/>
              <a:gd name="adj2" fmla="val 5000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32563479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Google Shape;2076;p56">
            <a:extLst>
              <a:ext uri="{FF2B5EF4-FFF2-40B4-BE49-F238E27FC236}">
                <a16:creationId xmlns:a16="http://schemas.microsoft.com/office/drawing/2014/main" id="{2473339B-41F1-9AA4-9B5B-B1F4400C2B67}"/>
              </a:ext>
            </a:extLst>
          </p:cNvPr>
          <p:cNvSpPr txBox="1">
            <a:spLocks/>
          </p:cNvSpPr>
          <p:nvPr/>
        </p:nvSpPr>
        <p:spPr>
          <a:xfrm>
            <a:off x="3024813" y="2017900"/>
            <a:ext cx="3446400" cy="1131600"/>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FF8B7B"/>
              </a:buClr>
              <a:buSzPts val="2800"/>
              <a:buFont typeface="Hammersmith One"/>
              <a:buNone/>
              <a:defRPr sz="3000" b="0" i="0" u="none" strike="noStrike" cap="none">
                <a:solidFill>
                  <a:srgbClr val="FF8B7B"/>
                </a:solidFill>
                <a:latin typeface="Hammersmith One"/>
                <a:ea typeface="Hammersmith One"/>
                <a:cs typeface="Hammersmith One"/>
                <a:sym typeface="Hammersmith One"/>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CA">
                <a:solidFill>
                  <a:schemeClr val="tx1"/>
                </a:solidFill>
              </a:rPr>
              <a:t>Any Questions</a:t>
            </a:r>
          </a:p>
        </p:txBody>
      </p:sp>
      <p:grpSp>
        <p:nvGrpSpPr>
          <p:cNvPr id="4" name="Google Shape;2079;p56">
            <a:extLst>
              <a:ext uri="{FF2B5EF4-FFF2-40B4-BE49-F238E27FC236}">
                <a16:creationId xmlns:a16="http://schemas.microsoft.com/office/drawing/2014/main" id="{2C7D9B5A-4682-2753-55E6-64F2965C7459}"/>
              </a:ext>
            </a:extLst>
          </p:cNvPr>
          <p:cNvGrpSpPr/>
          <p:nvPr/>
        </p:nvGrpSpPr>
        <p:grpSpPr>
          <a:xfrm>
            <a:off x="6490768" y="1080521"/>
            <a:ext cx="3643789" cy="3463117"/>
            <a:chOff x="6490768" y="1080521"/>
            <a:chExt cx="3643789" cy="3463117"/>
          </a:xfrm>
        </p:grpSpPr>
        <p:sp>
          <p:nvSpPr>
            <p:cNvPr id="5" name="Google Shape;2080;p56">
              <a:extLst>
                <a:ext uri="{FF2B5EF4-FFF2-40B4-BE49-F238E27FC236}">
                  <a16:creationId xmlns:a16="http://schemas.microsoft.com/office/drawing/2014/main" id="{AD649AE0-924E-B9BF-0CD7-A57E12705C44}"/>
                </a:ext>
              </a:extLst>
            </p:cNvPr>
            <p:cNvSpPr/>
            <p:nvPr/>
          </p:nvSpPr>
          <p:spPr>
            <a:xfrm flipH="1">
              <a:off x="6490768" y="4165803"/>
              <a:ext cx="190531" cy="2444"/>
            </a:xfrm>
            <a:custGeom>
              <a:avLst/>
              <a:gdLst/>
              <a:ahLst/>
              <a:cxnLst/>
              <a:rect l="l" t="t" r="r" b="b"/>
              <a:pathLst>
                <a:path w="7874" h="101" extrusionOk="0">
                  <a:moveTo>
                    <a:pt x="1" y="1"/>
                  </a:moveTo>
                  <a:lnTo>
                    <a:pt x="1" y="101"/>
                  </a:lnTo>
                  <a:lnTo>
                    <a:pt x="7873" y="101"/>
                  </a:lnTo>
                  <a:lnTo>
                    <a:pt x="7873" y="1"/>
                  </a:lnTo>
                  <a:close/>
                </a:path>
              </a:pathLst>
            </a:custGeom>
            <a:solidFill>
              <a:srgbClr val="EBEBEB"/>
            </a:solidFill>
            <a:ln w="9525"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2081;p56">
              <a:extLst>
                <a:ext uri="{FF2B5EF4-FFF2-40B4-BE49-F238E27FC236}">
                  <a16:creationId xmlns:a16="http://schemas.microsoft.com/office/drawing/2014/main" id="{72E6DF9D-F608-97C3-CFD8-D7CDB82B82CD}"/>
                </a:ext>
              </a:extLst>
            </p:cNvPr>
            <p:cNvSpPr/>
            <p:nvPr/>
          </p:nvSpPr>
          <p:spPr>
            <a:xfrm flipH="1">
              <a:off x="7632914" y="4148064"/>
              <a:ext cx="297049" cy="2444"/>
            </a:xfrm>
            <a:custGeom>
              <a:avLst/>
              <a:gdLst/>
              <a:ahLst/>
              <a:cxnLst/>
              <a:rect l="l" t="t" r="r" b="b"/>
              <a:pathLst>
                <a:path w="12276" h="101" extrusionOk="0">
                  <a:moveTo>
                    <a:pt x="0" y="0"/>
                  </a:moveTo>
                  <a:lnTo>
                    <a:pt x="0" y="100"/>
                  </a:lnTo>
                  <a:lnTo>
                    <a:pt x="12276" y="100"/>
                  </a:lnTo>
                  <a:lnTo>
                    <a:pt x="12276" y="0"/>
                  </a:lnTo>
                  <a:close/>
                </a:path>
              </a:pathLst>
            </a:custGeom>
            <a:solidFill>
              <a:srgbClr val="EBEBE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2082;p56">
              <a:extLst>
                <a:ext uri="{FF2B5EF4-FFF2-40B4-BE49-F238E27FC236}">
                  <a16:creationId xmlns:a16="http://schemas.microsoft.com/office/drawing/2014/main" id="{DEFFCC68-F5F5-ECCD-11EC-20BC99234290}"/>
                </a:ext>
              </a:extLst>
            </p:cNvPr>
            <p:cNvSpPr/>
            <p:nvPr/>
          </p:nvSpPr>
          <p:spPr>
            <a:xfrm flipH="1">
              <a:off x="6691752" y="4072173"/>
              <a:ext cx="475457" cy="2444"/>
            </a:xfrm>
            <a:custGeom>
              <a:avLst/>
              <a:gdLst/>
              <a:ahLst/>
              <a:cxnLst/>
              <a:rect l="l" t="t" r="r" b="b"/>
              <a:pathLst>
                <a:path w="19649" h="101" extrusionOk="0">
                  <a:moveTo>
                    <a:pt x="1" y="0"/>
                  </a:moveTo>
                  <a:lnTo>
                    <a:pt x="1" y="100"/>
                  </a:lnTo>
                  <a:lnTo>
                    <a:pt x="19648" y="100"/>
                  </a:lnTo>
                  <a:lnTo>
                    <a:pt x="19648" y="0"/>
                  </a:lnTo>
                  <a:close/>
                </a:path>
              </a:pathLst>
            </a:custGeom>
            <a:solidFill>
              <a:srgbClr val="EBEBEB"/>
            </a:solidFill>
            <a:ln w="9525"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2083;p56">
              <a:extLst>
                <a:ext uri="{FF2B5EF4-FFF2-40B4-BE49-F238E27FC236}">
                  <a16:creationId xmlns:a16="http://schemas.microsoft.com/office/drawing/2014/main" id="{1C7CC90D-763B-57D5-6C71-77A7B0AB30A3}"/>
                </a:ext>
              </a:extLst>
            </p:cNvPr>
            <p:cNvSpPr/>
            <p:nvPr/>
          </p:nvSpPr>
          <p:spPr>
            <a:xfrm flipH="1">
              <a:off x="8615211" y="4131899"/>
              <a:ext cx="545678" cy="2444"/>
            </a:xfrm>
            <a:custGeom>
              <a:avLst/>
              <a:gdLst/>
              <a:ahLst/>
              <a:cxnLst/>
              <a:rect l="l" t="t" r="r" b="b"/>
              <a:pathLst>
                <a:path w="22551" h="101" extrusionOk="0">
                  <a:moveTo>
                    <a:pt x="1" y="1"/>
                  </a:moveTo>
                  <a:lnTo>
                    <a:pt x="1" y="101"/>
                  </a:lnTo>
                  <a:lnTo>
                    <a:pt x="22550" y="101"/>
                  </a:lnTo>
                  <a:lnTo>
                    <a:pt x="22550" y="1"/>
                  </a:lnTo>
                  <a:close/>
                </a:path>
              </a:pathLst>
            </a:custGeom>
            <a:solidFill>
              <a:srgbClr val="EBEBE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2084;p56">
              <a:extLst>
                <a:ext uri="{FF2B5EF4-FFF2-40B4-BE49-F238E27FC236}">
                  <a16:creationId xmlns:a16="http://schemas.microsoft.com/office/drawing/2014/main" id="{C16521F5-95C9-EF9E-F448-272AD480C9BF}"/>
                </a:ext>
              </a:extLst>
            </p:cNvPr>
            <p:cNvSpPr/>
            <p:nvPr/>
          </p:nvSpPr>
          <p:spPr>
            <a:xfrm flipH="1">
              <a:off x="6490768" y="4165803"/>
              <a:ext cx="190531" cy="2444"/>
            </a:xfrm>
            <a:custGeom>
              <a:avLst/>
              <a:gdLst/>
              <a:ahLst/>
              <a:cxnLst/>
              <a:rect l="l" t="t" r="r" b="b"/>
              <a:pathLst>
                <a:path w="7874" h="101" extrusionOk="0">
                  <a:moveTo>
                    <a:pt x="1" y="1"/>
                  </a:moveTo>
                  <a:lnTo>
                    <a:pt x="1" y="101"/>
                  </a:lnTo>
                  <a:lnTo>
                    <a:pt x="7873" y="101"/>
                  </a:lnTo>
                  <a:lnTo>
                    <a:pt x="7873" y="1"/>
                  </a:lnTo>
                  <a:close/>
                </a:path>
              </a:pathLst>
            </a:custGeom>
            <a:solidFill>
              <a:srgbClr val="EBEBEB"/>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2085;p56">
              <a:extLst>
                <a:ext uri="{FF2B5EF4-FFF2-40B4-BE49-F238E27FC236}">
                  <a16:creationId xmlns:a16="http://schemas.microsoft.com/office/drawing/2014/main" id="{99BC95E3-18C1-8628-9BD1-022A4DB1BFBA}"/>
                </a:ext>
              </a:extLst>
            </p:cNvPr>
            <p:cNvSpPr/>
            <p:nvPr/>
          </p:nvSpPr>
          <p:spPr>
            <a:xfrm flipH="1">
              <a:off x="7632914" y="4148064"/>
              <a:ext cx="297049" cy="2444"/>
            </a:xfrm>
            <a:custGeom>
              <a:avLst/>
              <a:gdLst/>
              <a:ahLst/>
              <a:cxnLst/>
              <a:rect l="l" t="t" r="r" b="b"/>
              <a:pathLst>
                <a:path w="12276" h="101" extrusionOk="0">
                  <a:moveTo>
                    <a:pt x="0" y="0"/>
                  </a:moveTo>
                  <a:lnTo>
                    <a:pt x="0" y="100"/>
                  </a:lnTo>
                  <a:lnTo>
                    <a:pt x="12276" y="100"/>
                  </a:lnTo>
                  <a:lnTo>
                    <a:pt x="12276" y="0"/>
                  </a:lnTo>
                  <a:close/>
                </a:path>
              </a:pathLst>
            </a:custGeom>
            <a:solidFill>
              <a:srgbClr val="EBEBE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2086;p56">
              <a:extLst>
                <a:ext uri="{FF2B5EF4-FFF2-40B4-BE49-F238E27FC236}">
                  <a16:creationId xmlns:a16="http://schemas.microsoft.com/office/drawing/2014/main" id="{40B89DE9-306B-49B9-472C-4D835425EE12}"/>
                </a:ext>
              </a:extLst>
            </p:cNvPr>
            <p:cNvSpPr/>
            <p:nvPr/>
          </p:nvSpPr>
          <p:spPr>
            <a:xfrm flipH="1">
              <a:off x="6691752" y="4072173"/>
              <a:ext cx="475457" cy="2444"/>
            </a:xfrm>
            <a:custGeom>
              <a:avLst/>
              <a:gdLst/>
              <a:ahLst/>
              <a:cxnLst/>
              <a:rect l="l" t="t" r="r" b="b"/>
              <a:pathLst>
                <a:path w="19649" h="101" extrusionOk="0">
                  <a:moveTo>
                    <a:pt x="1" y="0"/>
                  </a:moveTo>
                  <a:lnTo>
                    <a:pt x="1" y="100"/>
                  </a:lnTo>
                  <a:lnTo>
                    <a:pt x="19648" y="100"/>
                  </a:lnTo>
                  <a:lnTo>
                    <a:pt x="19648" y="0"/>
                  </a:lnTo>
                  <a:close/>
                </a:path>
              </a:pathLst>
            </a:custGeom>
            <a:solidFill>
              <a:srgbClr val="EBEBEB"/>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2087;p56">
              <a:extLst>
                <a:ext uri="{FF2B5EF4-FFF2-40B4-BE49-F238E27FC236}">
                  <a16:creationId xmlns:a16="http://schemas.microsoft.com/office/drawing/2014/main" id="{42019628-72AB-96E5-8E0F-113AA5794796}"/>
                </a:ext>
              </a:extLst>
            </p:cNvPr>
            <p:cNvSpPr/>
            <p:nvPr/>
          </p:nvSpPr>
          <p:spPr>
            <a:xfrm flipH="1">
              <a:off x="8615211" y="4131899"/>
              <a:ext cx="545678" cy="2444"/>
            </a:xfrm>
            <a:custGeom>
              <a:avLst/>
              <a:gdLst/>
              <a:ahLst/>
              <a:cxnLst/>
              <a:rect l="l" t="t" r="r" b="b"/>
              <a:pathLst>
                <a:path w="22551" h="101" extrusionOk="0">
                  <a:moveTo>
                    <a:pt x="1" y="1"/>
                  </a:moveTo>
                  <a:lnTo>
                    <a:pt x="1" y="101"/>
                  </a:lnTo>
                  <a:lnTo>
                    <a:pt x="22550" y="101"/>
                  </a:lnTo>
                  <a:lnTo>
                    <a:pt x="22550" y="1"/>
                  </a:lnTo>
                  <a:close/>
                </a:path>
              </a:pathLst>
            </a:custGeom>
            <a:solidFill>
              <a:srgbClr val="EBEBEB"/>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2088;p56">
              <a:extLst>
                <a:ext uri="{FF2B5EF4-FFF2-40B4-BE49-F238E27FC236}">
                  <a16:creationId xmlns:a16="http://schemas.microsoft.com/office/drawing/2014/main" id="{BBFB9F14-9475-47D2-0922-9E4879A706F5}"/>
                </a:ext>
              </a:extLst>
            </p:cNvPr>
            <p:cNvSpPr/>
            <p:nvPr/>
          </p:nvSpPr>
          <p:spPr>
            <a:xfrm flipH="1">
              <a:off x="7560273" y="3881671"/>
              <a:ext cx="135627" cy="135641"/>
            </a:xfrm>
            <a:custGeom>
              <a:avLst/>
              <a:gdLst/>
              <a:ahLst/>
              <a:cxnLst/>
              <a:rect l="l" t="t" r="r" b="b"/>
              <a:pathLst>
                <a:path w="5605" h="5605" extrusionOk="0">
                  <a:moveTo>
                    <a:pt x="2803" y="0"/>
                  </a:moveTo>
                  <a:cubicBezTo>
                    <a:pt x="1268" y="0"/>
                    <a:pt x="1" y="1268"/>
                    <a:pt x="1" y="2802"/>
                  </a:cubicBezTo>
                  <a:cubicBezTo>
                    <a:pt x="1" y="4370"/>
                    <a:pt x="1268" y="5604"/>
                    <a:pt x="2803" y="5604"/>
                  </a:cubicBezTo>
                  <a:cubicBezTo>
                    <a:pt x="4371" y="5604"/>
                    <a:pt x="5605" y="4370"/>
                    <a:pt x="5605" y="2802"/>
                  </a:cubicBezTo>
                  <a:cubicBezTo>
                    <a:pt x="5605" y="1268"/>
                    <a:pt x="4371" y="0"/>
                    <a:pt x="2803" y="0"/>
                  </a:cubicBezTo>
                  <a:close/>
                </a:path>
              </a:pathLst>
            </a:custGeom>
            <a:solidFill>
              <a:srgbClr val="EBEBE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2089;p56">
              <a:extLst>
                <a:ext uri="{FF2B5EF4-FFF2-40B4-BE49-F238E27FC236}">
                  <a16:creationId xmlns:a16="http://schemas.microsoft.com/office/drawing/2014/main" id="{9F8648AE-AA73-5A30-FD8D-D97A8B19E184}"/>
                </a:ext>
              </a:extLst>
            </p:cNvPr>
            <p:cNvSpPr/>
            <p:nvPr/>
          </p:nvSpPr>
          <p:spPr>
            <a:xfrm flipH="1">
              <a:off x="6802335" y="4291740"/>
              <a:ext cx="3217372" cy="251898"/>
            </a:xfrm>
            <a:custGeom>
              <a:avLst/>
              <a:gdLst/>
              <a:ahLst/>
              <a:cxnLst/>
              <a:rect l="l" t="t" r="r" b="b"/>
              <a:pathLst>
                <a:path w="132963" h="10409" extrusionOk="0">
                  <a:moveTo>
                    <a:pt x="66481" y="1"/>
                  </a:moveTo>
                  <a:cubicBezTo>
                    <a:pt x="29755" y="1"/>
                    <a:pt x="1" y="2336"/>
                    <a:pt x="1" y="5204"/>
                  </a:cubicBezTo>
                  <a:cubicBezTo>
                    <a:pt x="1" y="8073"/>
                    <a:pt x="29755" y="10408"/>
                    <a:pt x="66481" y="10408"/>
                  </a:cubicBezTo>
                  <a:cubicBezTo>
                    <a:pt x="103208" y="10408"/>
                    <a:pt x="132962" y="8073"/>
                    <a:pt x="132962" y="5204"/>
                  </a:cubicBezTo>
                  <a:cubicBezTo>
                    <a:pt x="132962" y="2336"/>
                    <a:pt x="103208" y="1"/>
                    <a:pt x="66481" y="1"/>
                  </a:cubicBezTo>
                  <a:close/>
                </a:path>
              </a:pathLst>
            </a:custGeom>
            <a:solidFill>
              <a:srgbClr val="F5F5F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2090;p56">
              <a:extLst>
                <a:ext uri="{FF2B5EF4-FFF2-40B4-BE49-F238E27FC236}">
                  <a16:creationId xmlns:a16="http://schemas.microsoft.com/office/drawing/2014/main" id="{8FCE483D-B490-F4F8-334A-D3DA3C3F4F1A}"/>
                </a:ext>
              </a:extLst>
            </p:cNvPr>
            <p:cNvSpPr/>
            <p:nvPr/>
          </p:nvSpPr>
          <p:spPr>
            <a:xfrm flipH="1">
              <a:off x="6842486" y="1346512"/>
              <a:ext cx="3292070" cy="2020966"/>
            </a:xfrm>
            <a:custGeom>
              <a:avLst/>
              <a:gdLst/>
              <a:ahLst/>
              <a:cxnLst/>
              <a:rect l="l" t="t" r="r" b="b"/>
              <a:pathLst>
                <a:path w="136050" h="83511" extrusionOk="0">
                  <a:moveTo>
                    <a:pt x="133809" y="0"/>
                  </a:moveTo>
                  <a:cubicBezTo>
                    <a:pt x="133663" y="0"/>
                    <a:pt x="133514" y="17"/>
                    <a:pt x="133363" y="51"/>
                  </a:cubicBezTo>
                  <a:lnTo>
                    <a:pt x="104242" y="6789"/>
                  </a:lnTo>
                  <a:cubicBezTo>
                    <a:pt x="102774" y="7123"/>
                    <a:pt x="102240" y="8924"/>
                    <a:pt x="103274" y="10025"/>
                  </a:cubicBezTo>
                  <a:lnTo>
                    <a:pt x="107844" y="14762"/>
                  </a:lnTo>
                  <a:cubicBezTo>
                    <a:pt x="108578" y="15529"/>
                    <a:pt x="108545" y="16796"/>
                    <a:pt x="107744" y="17530"/>
                  </a:cubicBezTo>
                  <a:lnTo>
                    <a:pt x="77289" y="45150"/>
                  </a:lnTo>
                  <a:cubicBezTo>
                    <a:pt x="76930" y="45492"/>
                    <a:pt x="76474" y="45659"/>
                    <a:pt x="76016" y="45659"/>
                  </a:cubicBezTo>
                  <a:cubicBezTo>
                    <a:pt x="75581" y="45659"/>
                    <a:pt x="75145" y="45509"/>
                    <a:pt x="74787" y="45217"/>
                  </a:cubicBezTo>
                  <a:lnTo>
                    <a:pt x="50370" y="24902"/>
                  </a:lnTo>
                  <a:cubicBezTo>
                    <a:pt x="50013" y="24594"/>
                    <a:pt x="49576" y="24443"/>
                    <a:pt x="49142" y="24443"/>
                  </a:cubicBezTo>
                  <a:cubicBezTo>
                    <a:pt x="48684" y="24443"/>
                    <a:pt x="48228" y="24610"/>
                    <a:pt x="47868" y="24936"/>
                  </a:cubicBezTo>
                  <a:lnTo>
                    <a:pt x="2469" y="65164"/>
                  </a:lnTo>
                  <a:cubicBezTo>
                    <a:pt x="2102" y="65498"/>
                    <a:pt x="1869" y="65932"/>
                    <a:pt x="1835" y="66432"/>
                  </a:cubicBezTo>
                  <a:lnTo>
                    <a:pt x="1" y="83511"/>
                  </a:lnTo>
                  <a:lnTo>
                    <a:pt x="48135" y="40880"/>
                  </a:lnTo>
                  <a:cubicBezTo>
                    <a:pt x="48499" y="40551"/>
                    <a:pt x="48963" y="40383"/>
                    <a:pt x="49428" y="40383"/>
                  </a:cubicBezTo>
                  <a:cubicBezTo>
                    <a:pt x="49856" y="40383"/>
                    <a:pt x="50285" y="40526"/>
                    <a:pt x="50637" y="40814"/>
                  </a:cubicBezTo>
                  <a:lnTo>
                    <a:pt x="75121" y="61195"/>
                  </a:lnTo>
                  <a:cubicBezTo>
                    <a:pt x="75478" y="61487"/>
                    <a:pt x="75915" y="61637"/>
                    <a:pt x="76353" y="61637"/>
                  </a:cubicBezTo>
                  <a:cubicBezTo>
                    <a:pt x="76815" y="61637"/>
                    <a:pt x="77280" y="61471"/>
                    <a:pt x="77656" y="61128"/>
                  </a:cubicBezTo>
                  <a:lnTo>
                    <a:pt x="116217" y="26103"/>
                  </a:lnTo>
                  <a:cubicBezTo>
                    <a:pt x="116594" y="25773"/>
                    <a:pt x="117053" y="25613"/>
                    <a:pt x="117509" y="25613"/>
                  </a:cubicBezTo>
                  <a:cubicBezTo>
                    <a:pt x="118021" y="25613"/>
                    <a:pt x="118531" y="25815"/>
                    <a:pt x="118919" y="26203"/>
                  </a:cubicBezTo>
                  <a:lnTo>
                    <a:pt x="123522" y="30973"/>
                  </a:lnTo>
                  <a:cubicBezTo>
                    <a:pt x="123923" y="31387"/>
                    <a:pt x="124434" y="31580"/>
                    <a:pt x="124935" y="31580"/>
                  </a:cubicBezTo>
                  <a:cubicBezTo>
                    <a:pt x="125726" y="31580"/>
                    <a:pt x="126492" y="31097"/>
                    <a:pt x="126758" y="30239"/>
                  </a:cubicBezTo>
                  <a:lnTo>
                    <a:pt x="135631" y="2520"/>
                  </a:lnTo>
                  <a:cubicBezTo>
                    <a:pt x="136050" y="1233"/>
                    <a:pt x="135073" y="0"/>
                    <a:pt x="133809"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2091;p56">
              <a:extLst>
                <a:ext uri="{FF2B5EF4-FFF2-40B4-BE49-F238E27FC236}">
                  <a16:creationId xmlns:a16="http://schemas.microsoft.com/office/drawing/2014/main" id="{8AD7FD10-CD50-ACBA-1EDF-468F15B16A28}"/>
                </a:ext>
              </a:extLst>
            </p:cNvPr>
            <p:cNvSpPr/>
            <p:nvPr/>
          </p:nvSpPr>
          <p:spPr>
            <a:xfrm flipH="1">
              <a:off x="8098643" y="4126260"/>
              <a:ext cx="860463" cy="195367"/>
            </a:xfrm>
            <a:custGeom>
              <a:avLst/>
              <a:gdLst/>
              <a:ahLst/>
              <a:cxnLst/>
              <a:rect l="l" t="t" r="r" b="b"/>
              <a:pathLst>
                <a:path w="35560" h="8073" extrusionOk="0">
                  <a:moveTo>
                    <a:pt x="1" y="0"/>
                  </a:moveTo>
                  <a:lnTo>
                    <a:pt x="1" y="8073"/>
                  </a:lnTo>
                  <a:lnTo>
                    <a:pt x="35560" y="8073"/>
                  </a:lnTo>
                  <a:lnTo>
                    <a:pt x="35560" y="0"/>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2092;p56">
              <a:extLst>
                <a:ext uri="{FF2B5EF4-FFF2-40B4-BE49-F238E27FC236}">
                  <a16:creationId xmlns:a16="http://schemas.microsoft.com/office/drawing/2014/main" id="{354E7B54-8DD5-287E-2898-7DBF8D71608B}"/>
                </a:ext>
              </a:extLst>
            </p:cNvPr>
            <p:cNvSpPr/>
            <p:nvPr/>
          </p:nvSpPr>
          <p:spPr>
            <a:xfrm flipH="1">
              <a:off x="8850096" y="4126260"/>
              <a:ext cx="23447" cy="195367"/>
            </a:xfrm>
            <a:custGeom>
              <a:avLst/>
              <a:gdLst/>
              <a:ahLst/>
              <a:cxnLst/>
              <a:rect l="l" t="t" r="r" b="b"/>
              <a:pathLst>
                <a:path w="969" h="8073" extrusionOk="0">
                  <a:moveTo>
                    <a:pt x="1" y="0"/>
                  </a:moveTo>
                  <a:lnTo>
                    <a:pt x="1" y="8073"/>
                  </a:lnTo>
                  <a:lnTo>
                    <a:pt x="968" y="8073"/>
                  </a:lnTo>
                  <a:lnTo>
                    <a:pt x="968" y="0"/>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2093;p56">
              <a:extLst>
                <a:ext uri="{FF2B5EF4-FFF2-40B4-BE49-F238E27FC236}">
                  <a16:creationId xmlns:a16="http://schemas.microsoft.com/office/drawing/2014/main" id="{1677D268-77ED-2838-B6D5-6A8C9AAF7962}"/>
                </a:ext>
              </a:extLst>
            </p:cNvPr>
            <p:cNvSpPr/>
            <p:nvPr/>
          </p:nvSpPr>
          <p:spPr>
            <a:xfrm flipH="1">
              <a:off x="8730658" y="4126260"/>
              <a:ext cx="23423" cy="195367"/>
            </a:xfrm>
            <a:custGeom>
              <a:avLst/>
              <a:gdLst/>
              <a:ahLst/>
              <a:cxnLst/>
              <a:rect l="l" t="t" r="r" b="b"/>
              <a:pathLst>
                <a:path w="968" h="8073" extrusionOk="0">
                  <a:moveTo>
                    <a:pt x="1" y="0"/>
                  </a:moveTo>
                  <a:lnTo>
                    <a:pt x="1" y="8073"/>
                  </a:lnTo>
                  <a:lnTo>
                    <a:pt x="968" y="8073"/>
                  </a:lnTo>
                  <a:lnTo>
                    <a:pt x="968" y="0"/>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2094;p56">
              <a:extLst>
                <a:ext uri="{FF2B5EF4-FFF2-40B4-BE49-F238E27FC236}">
                  <a16:creationId xmlns:a16="http://schemas.microsoft.com/office/drawing/2014/main" id="{FB4E1473-4BB2-D923-0331-18AF1AF68EAB}"/>
                </a:ext>
              </a:extLst>
            </p:cNvPr>
            <p:cNvSpPr/>
            <p:nvPr/>
          </p:nvSpPr>
          <p:spPr>
            <a:xfrm flipH="1">
              <a:off x="8611195" y="4126260"/>
              <a:ext cx="23423" cy="195367"/>
            </a:xfrm>
            <a:custGeom>
              <a:avLst/>
              <a:gdLst/>
              <a:ahLst/>
              <a:cxnLst/>
              <a:rect l="l" t="t" r="r" b="b"/>
              <a:pathLst>
                <a:path w="968" h="8073" extrusionOk="0">
                  <a:moveTo>
                    <a:pt x="0" y="0"/>
                  </a:moveTo>
                  <a:lnTo>
                    <a:pt x="0" y="8073"/>
                  </a:lnTo>
                  <a:lnTo>
                    <a:pt x="968" y="8073"/>
                  </a:lnTo>
                  <a:lnTo>
                    <a:pt x="968" y="134"/>
                  </a:lnTo>
                  <a:lnTo>
                    <a:pt x="0" y="0"/>
                  </a:ln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2095;p56">
              <a:extLst>
                <a:ext uri="{FF2B5EF4-FFF2-40B4-BE49-F238E27FC236}">
                  <a16:creationId xmlns:a16="http://schemas.microsoft.com/office/drawing/2014/main" id="{DA5958E0-1FB4-A804-0F9C-A011F1C41B07}"/>
                </a:ext>
              </a:extLst>
            </p:cNvPr>
            <p:cNvSpPr/>
            <p:nvPr/>
          </p:nvSpPr>
          <p:spPr>
            <a:xfrm flipH="1">
              <a:off x="8491731" y="4126260"/>
              <a:ext cx="22625" cy="195367"/>
            </a:xfrm>
            <a:custGeom>
              <a:avLst/>
              <a:gdLst/>
              <a:ahLst/>
              <a:cxnLst/>
              <a:rect l="l" t="t" r="r" b="b"/>
              <a:pathLst>
                <a:path w="935" h="8073" extrusionOk="0">
                  <a:moveTo>
                    <a:pt x="1" y="0"/>
                  </a:moveTo>
                  <a:lnTo>
                    <a:pt x="1" y="8073"/>
                  </a:lnTo>
                  <a:lnTo>
                    <a:pt x="935" y="8073"/>
                  </a:lnTo>
                  <a:lnTo>
                    <a:pt x="935" y="0"/>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2096;p56">
              <a:extLst>
                <a:ext uri="{FF2B5EF4-FFF2-40B4-BE49-F238E27FC236}">
                  <a16:creationId xmlns:a16="http://schemas.microsoft.com/office/drawing/2014/main" id="{B135E6F1-8F2F-99E8-F96B-CA6A0DCF3CF5}"/>
                </a:ext>
              </a:extLst>
            </p:cNvPr>
            <p:cNvSpPr/>
            <p:nvPr/>
          </p:nvSpPr>
          <p:spPr>
            <a:xfrm flipH="1">
              <a:off x="8371470" y="4126260"/>
              <a:ext cx="23423" cy="195367"/>
            </a:xfrm>
            <a:custGeom>
              <a:avLst/>
              <a:gdLst/>
              <a:ahLst/>
              <a:cxnLst/>
              <a:rect l="l" t="t" r="r" b="b"/>
              <a:pathLst>
                <a:path w="968" h="8073" extrusionOk="0">
                  <a:moveTo>
                    <a:pt x="1" y="0"/>
                  </a:moveTo>
                  <a:lnTo>
                    <a:pt x="1" y="8073"/>
                  </a:lnTo>
                  <a:lnTo>
                    <a:pt x="968" y="8073"/>
                  </a:lnTo>
                  <a:lnTo>
                    <a:pt x="968" y="0"/>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2097;p56">
              <a:extLst>
                <a:ext uri="{FF2B5EF4-FFF2-40B4-BE49-F238E27FC236}">
                  <a16:creationId xmlns:a16="http://schemas.microsoft.com/office/drawing/2014/main" id="{DEB6BF60-A37B-A5F6-8D09-099BA8805E7A}"/>
                </a:ext>
              </a:extLst>
            </p:cNvPr>
            <p:cNvSpPr/>
            <p:nvPr/>
          </p:nvSpPr>
          <p:spPr>
            <a:xfrm flipH="1">
              <a:off x="8252007" y="4126260"/>
              <a:ext cx="23423" cy="195367"/>
            </a:xfrm>
            <a:custGeom>
              <a:avLst/>
              <a:gdLst/>
              <a:ahLst/>
              <a:cxnLst/>
              <a:rect l="l" t="t" r="r" b="b"/>
              <a:pathLst>
                <a:path w="968" h="8073" extrusionOk="0">
                  <a:moveTo>
                    <a:pt x="0" y="0"/>
                  </a:moveTo>
                  <a:lnTo>
                    <a:pt x="0" y="8073"/>
                  </a:lnTo>
                  <a:lnTo>
                    <a:pt x="968" y="8073"/>
                  </a:lnTo>
                  <a:lnTo>
                    <a:pt x="968" y="0"/>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2098;p56">
              <a:extLst>
                <a:ext uri="{FF2B5EF4-FFF2-40B4-BE49-F238E27FC236}">
                  <a16:creationId xmlns:a16="http://schemas.microsoft.com/office/drawing/2014/main" id="{5090BE63-50D4-4831-EF7C-2EF5DF5B365F}"/>
                </a:ext>
              </a:extLst>
            </p:cNvPr>
            <p:cNvSpPr/>
            <p:nvPr/>
          </p:nvSpPr>
          <p:spPr>
            <a:xfrm flipH="1">
              <a:off x="8131745" y="4126260"/>
              <a:ext cx="23423" cy="195367"/>
            </a:xfrm>
            <a:custGeom>
              <a:avLst/>
              <a:gdLst/>
              <a:ahLst/>
              <a:cxnLst/>
              <a:rect l="l" t="t" r="r" b="b"/>
              <a:pathLst>
                <a:path w="968" h="8073" extrusionOk="0">
                  <a:moveTo>
                    <a:pt x="1" y="0"/>
                  </a:moveTo>
                  <a:lnTo>
                    <a:pt x="1" y="8073"/>
                  </a:lnTo>
                  <a:lnTo>
                    <a:pt x="968" y="8073"/>
                  </a:lnTo>
                  <a:lnTo>
                    <a:pt x="968" y="0"/>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2099;p56">
              <a:extLst>
                <a:ext uri="{FF2B5EF4-FFF2-40B4-BE49-F238E27FC236}">
                  <a16:creationId xmlns:a16="http://schemas.microsoft.com/office/drawing/2014/main" id="{101FC279-C90F-15F1-89EC-BE11B25A500B}"/>
                </a:ext>
              </a:extLst>
            </p:cNvPr>
            <p:cNvSpPr/>
            <p:nvPr/>
          </p:nvSpPr>
          <p:spPr>
            <a:xfrm flipH="1">
              <a:off x="8098643" y="4126260"/>
              <a:ext cx="860463" cy="40390"/>
            </a:xfrm>
            <a:custGeom>
              <a:avLst/>
              <a:gdLst/>
              <a:ahLst/>
              <a:cxnLst/>
              <a:rect l="l" t="t" r="r" b="b"/>
              <a:pathLst>
                <a:path w="35560" h="1669" extrusionOk="0">
                  <a:moveTo>
                    <a:pt x="1" y="0"/>
                  </a:moveTo>
                  <a:lnTo>
                    <a:pt x="1" y="1668"/>
                  </a:lnTo>
                  <a:lnTo>
                    <a:pt x="35560" y="1668"/>
                  </a:lnTo>
                  <a:lnTo>
                    <a:pt x="35560" y="0"/>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2100;p56">
              <a:extLst>
                <a:ext uri="{FF2B5EF4-FFF2-40B4-BE49-F238E27FC236}">
                  <a16:creationId xmlns:a16="http://schemas.microsoft.com/office/drawing/2014/main" id="{B013B4E6-ACC8-8422-1260-10FC4AD89E66}"/>
                </a:ext>
              </a:extLst>
            </p:cNvPr>
            <p:cNvSpPr/>
            <p:nvPr/>
          </p:nvSpPr>
          <p:spPr>
            <a:xfrm flipH="1">
              <a:off x="7964661" y="3930894"/>
              <a:ext cx="860439" cy="195391"/>
            </a:xfrm>
            <a:custGeom>
              <a:avLst/>
              <a:gdLst/>
              <a:ahLst/>
              <a:cxnLst/>
              <a:rect l="l" t="t" r="r" b="b"/>
              <a:pathLst>
                <a:path w="35559" h="8074" extrusionOk="0">
                  <a:moveTo>
                    <a:pt x="0" y="1"/>
                  </a:moveTo>
                  <a:lnTo>
                    <a:pt x="0" y="8073"/>
                  </a:lnTo>
                  <a:lnTo>
                    <a:pt x="35559" y="8073"/>
                  </a:lnTo>
                  <a:lnTo>
                    <a:pt x="35559" y="1"/>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2101;p56">
              <a:extLst>
                <a:ext uri="{FF2B5EF4-FFF2-40B4-BE49-F238E27FC236}">
                  <a16:creationId xmlns:a16="http://schemas.microsoft.com/office/drawing/2014/main" id="{D1E7A214-8571-F474-DB1F-EAD89E324A29}"/>
                </a:ext>
              </a:extLst>
            </p:cNvPr>
            <p:cNvSpPr/>
            <p:nvPr/>
          </p:nvSpPr>
          <p:spPr>
            <a:xfrm flipH="1">
              <a:off x="8716115" y="3930894"/>
              <a:ext cx="23423" cy="195391"/>
            </a:xfrm>
            <a:custGeom>
              <a:avLst/>
              <a:gdLst/>
              <a:ahLst/>
              <a:cxnLst/>
              <a:rect l="l" t="t" r="r" b="b"/>
              <a:pathLst>
                <a:path w="968" h="8074" extrusionOk="0">
                  <a:moveTo>
                    <a:pt x="0" y="1"/>
                  </a:moveTo>
                  <a:lnTo>
                    <a:pt x="0" y="8073"/>
                  </a:lnTo>
                  <a:lnTo>
                    <a:pt x="967" y="8073"/>
                  </a:lnTo>
                  <a:lnTo>
                    <a:pt x="967" y="1"/>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2102;p56">
              <a:extLst>
                <a:ext uri="{FF2B5EF4-FFF2-40B4-BE49-F238E27FC236}">
                  <a16:creationId xmlns:a16="http://schemas.microsoft.com/office/drawing/2014/main" id="{D97E837E-97D7-E5A8-7FEA-D5E9D4E6C8F1}"/>
                </a:ext>
              </a:extLst>
            </p:cNvPr>
            <p:cNvSpPr/>
            <p:nvPr/>
          </p:nvSpPr>
          <p:spPr>
            <a:xfrm flipH="1">
              <a:off x="8596652" y="3930894"/>
              <a:ext cx="23447" cy="195391"/>
            </a:xfrm>
            <a:custGeom>
              <a:avLst/>
              <a:gdLst/>
              <a:ahLst/>
              <a:cxnLst/>
              <a:rect l="l" t="t" r="r" b="b"/>
              <a:pathLst>
                <a:path w="969" h="8074" extrusionOk="0">
                  <a:moveTo>
                    <a:pt x="1" y="1"/>
                  </a:moveTo>
                  <a:lnTo>
                    <a:pt x="1" y="8073"/>
                  </a:lnTo>
                  <a:lnTo>
                    <a:pt x="968" y="8073"/>
                  </a:lnTo>
                  <a:lnTo>
                    <a:pt x="968" y="1"/>
                  </a:ln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2103;p56">
              <a:extLst>
                <a:ext uri="{FF2B5EF4-FFF2-40B4-BE49-F238E27FC236}">
                  <a16:creationId xmlns:a16="http://schemas.microsoft.com/office/drawing/2014/main" id="{B59E06B2-FF69-7124-2573-3CFECEDBFAE4}"/>
                </a:ext>
              </a:extLst>
            </p:cNvPr>
            <p:cNvSpPr/>
            <p:nvPr/>
          </p:nvSpPr>
          <p:spPr>
            <a:xfrm flipH="1">
              <a:off x="8477189" y="3930894"/>
              <a:ext cx="22625" cy="195391"/>
            </a:xfrm>
            <a:custGeom>
              <a:avLst/>
              <a:gdLst/>
              <a:ahLst/>
              <a:cxnLst/>
              <a:rect l="l" t="t" r="r" b="b"/>
              <a:pathLst>
                <a:path w="935" h="8074" extrusionOk="0">
                  <a:moveTo>
                    <a:pt x="0" y="1"/>
                  </a:moveTo>
                  <a:lnTo>
                    <a:pt x="0" y="8073"/>
                  </a:lnTo>
                  <a:lnTo>
                    <a:pt x="934" y="8073"/>
                  </a:lnTo>
                  <a:lnTo>
                    <a:pt x="934" y="1"/>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2104;p56">
              <a:extLst>
                <a:ext uri="{FF2B5EF4-FFF2-40B4-BE49-F238E27FC236}">
                  <a16:creationId xmlns:a16="http://schemas.microsoft.com/office/drawing/2014/main" id="{2D5898AE-700D-B4B7-69DB-D52D585F8628}"/>
                </a:ext>
              </a:extLst>
            </p:cNvPr>
            <p:cNvSpPr/>
            <p:nvPr/>
          </p:nvSpPr>
          <p:spPr>
            <a:xfrm flipH="1">
              <a:off x="8356927" y="3930894"/>
              <a:ext cx="23447" cy="195391"/>
            </a:xfrm>
            <a:custGeom>
              <a:avLst/>
              <a:gdLst/>
              <a:ahLst/>
              <a:cxnLst/>
              <a:rect l="l" t="t" r="r" b="b"/>
              <a:pathLst>
                <a:path w="969" h="8074" extrusionOk="0">
                  <a:moveTo>
                    <a:pt x="1" y="1"/>
                  </a:moveTo>
                  <a:lnTo>
                    <a:pt x="1" y="8073"/>
                  </a:lnTo>
                  <a:lnTo>
                    <a:pt x="968" y="8073"/>
                  </a:lnTo>
                  <a:lnTo>
                    <a:pt x="968" y="1"/>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105;p56">
              <a:extLst>
                <a:ext uri="{FF2B5EF4-FFF2-40B4-BE49-F238E27FC236}">
                  <a16:creationId xmlns:a16="http://schemas.microsoft.com/office/drawing/2014/main" id="{4A739C86-2C16-F68D-DBC3-8B033B80576C}"/>
                </a:ext>
              </a:extLst>
            </p:cNvPr>
            <p:cNvSpPr/>
            <p:nvPr/>
          </p:nvSpPr>
          <p:spPr>
            <a:xfrm flipH="1">
              <a:off x="8237464" y="3930894"/>
              <a:ext cx="23447" cy="195391"/>
            </a:xfrm>
            <a:custGeom>
              <a:avLst/>
              <a:gdLst/>
              <a:ahLst/>
              <a:cxnLst/>
              <a:rect l="l" t="t" r="r" b="b"/>
              <a:pathLst>
                <a:path w="969" h="8074" extrusionOk="0">
                  <a:moveTo>
                    <a:pt x="1" y="1"/>
                  </a:moveTo>
                  <a:lnTo>
                    <a:pt x="1" y="8073"/>
                  </a:lnTo>
                  <a:lnTo>
                    <a:pt x="968" y="8073"/>
                  </a:lnTo>
                  <a:lnTo>
                    <a:pt x="968" y="1"/>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106;p56">
              <a:extLst>
                <a:ext uri="{FF2B5EF4-FFF2-40B4-BE49-F238E27FC236}">
                  <a16:creationId xmlns:a16="http://schemas.microsoft.com/office/drawing/2014/main" id="{808C9908-9ABF-F96E-905F-B95F38B62D03}"/>
                </a:ext>
              </a:extLst>
            </p:cNvPr>
            <p:cNvSpPr/>
            <p:nvPr/>
          </p:nvSpPr>
          <p:spPr>
            <a:xfrm flipH="1">
              <a:off x="8118001" y="3930894"/>
              <a:ext cx="23447" cy="195391"/>
            </a:xfrm>
            <a:custGeom>
              <a:avLst/>
              <a:gdLst/>
              <a:ahLst/>
              <a:cxnLst/>
              <a:rect l="l" t="t" r="r" b="b"/>
              <a:pathLst>
                <a:path w="969" h="8074" extrusionOk="0">
                  <a:moveTo>
                    <a:pt x="1" y="1"/>
                  </a:moveTo>
                  <a:lnTo>
                    <a:pt x="1" y="8073"/>
                  </a:lnTo>
                  <a:lnTo>
                    <a:pt x="968" y="8073"/>
                  </a:lnTo>
                  <a:lnTo>
                    <a:pt x="968" y="1"/>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107;p56">
              <a:extLst>
                <a:ext uri="{FF2B5EF4-FFF2-40B4-BE49-F238E27FC236}">
                  <a16:creationId xmlns:a16="http://schemas.microsoft.com/office/drawing/2014/main" id="{EA72EB52-C818-A63E-514D-00889B580A1F}"/>
                </a:ext>
              </a:extLst>
            </p:cNvPr>
            <p:cNvSpPr/>
            <p:nvPr/>
          </p:nvSpPr>
          <p:spPr>
            <a:xfrm flipH="1">
              <a:off x="7997739" y="3930894"/>
              <a:ext cx="23447" cy="195391"/>
            </a:xfrm>
            <a:custGeom>
              <a:avLst/>
              <a:gdLst/>
              <a:ahLst/>
              <a:cxnLst/>
              <a:rect l="l" t="t" r="r" b="b"/>
              <a:pathLst>
                <a:path w="969" h="8074" extrusionOk="0">
                  <a:moveTo>
                    <a:pt x="1" y="1"/>
                  </a:moveTo>
                  <a:lnTo>
                    <a:pt x="1" y="8073"/>
                  </a:lnTo>
                  <a:lnTo>
                    <a:pt x="968" y="8073"/>
                  </a:lnTo>
                  <a:lnTo>
                    <a:pt x="968" y="1"/>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2108;p56">
              <a:extLst>
                <a:ext uri="{FF2B5EF4-FFF2-40B4-BE49-F238E27FC236}">
                  <a16:creationId xmlns:a16="http://schemas.microsoft.com/office/drawing/2014/main" id="{56A32AB3-DF32-2239-F540-86620751D17D}"/>
                </a:ext>
              </a:extLst>
            </p:cNvPr>
            <p:cNvSpPr/>
            <p:nvPr/>
          </p:nvSpPr>
          <p:spPr>
            <a:xfrm flipH="1">
              <a:off x="7964661" y="3930894"/>
              <a:ext cx="860439" cy="40390"/>
            </a:xfrm>
            <a:custGeom>
              <a:avLst/>
              <a:gdLst/>
              <a:ahLst/>
              <a:cxnLst/>
              <a:rect l="l" t="t" r="r" b="b"/>
              <a:pathLst>
                <a:path w="35559" h="1669" extrusionOk="0">
                  <a:moveTo>
                    <a:pt x="0" y="1"/>
                  </a:moveTo>
                  <a:lnTo>
                    <a:pt x="0" y="1669"/>
                  </a:lnTo>
                  <a:lnTo>
                    <a:pt x="35559" y="1669"/>
                  </a:lnTo>
                  <a:lnTo>
                    <a:pt x="35559" y="1"/>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2109;p56">
              <a:extLst>
                <a:ext uri="{FF2B5EF4-FFF2-40B4-BE49-F238E27FC236}">
                  <a16:creationId xmlns:a16="http://schemas.microsoft.com/office/drawing/2014/main" id="{3F886885-06E0-5E77-540A-E3C18B56CBC2}"/>
                </a:ext>
              </a:extLst>
            </p:cNvPr>
            <p:cNvSpPr/>
            <p:nvPr/>
          </p:nvSpPr>
          <p:spPr>
            <a:xfrm flipH="1">
              <a:off x="8084100" y="3735551"/>
              <a:ext cx="860463" cy="195367"/>
            </a:xfrm>
            <a:custGeom>
              <a:avLst/>
              <a:gdLst/>
              <a:ahLst/>
              <a:cxnLst/>
              <a:rect l="l" t="t" r="r" b="b"/>
              <a:pathLst>
                <a:path w="35560" h="8073" extrusionOk="0">
                  <a:moveTo>
                    <a:pt x="0" y="0"/>
                  </a:moveTo>
                  <a:lnTo>
                    <a:pt x="0" y="8073"/>
                  </a:lnTo>
                  <a:lnTo>
                    <a:pt x="35559" y="8073"/>
                  </a:lnTo>
                  <a:lnTo>
                    <a:pt x="35559" y="0"/>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2110;p56">
              <a:extLst>
                <a:ext uri="{FF2B5EF4-FFF2-40B4-BE49-F238E27FC236}">
                  <a16:creationId xmlns:a16="http://schemas.microsoft.com/office/drawing/2014/main" id="{6DC28D68-8C8C-DAEC-7252-26B57BCDBD21}"/>
                </a:ext>
              </a:extLst>
            </p:cNvPr>
            <p:cNvSpPr/>
            <p:nvPr/>
          </p:nvSpPr>
          <p:spPr>
            <a:xfrm flipH="1">
              <a:off x="8836376" y="3735551"/>
              <a:ext cx="22625" cy="195367"/>
            </a:xfrm>
            <a:custGeom>
              <a:avLst/>
              <a:gdLst/>
              <a:ahLst/>
              <a:cxnLst/>
              <a:rect l="l" t="t" r="r" b="b"/>
              <a:pathLst>
                <a:path w="935" h="8073" extrusionOk="0">
                  <a:moveTo>
                    <a:pt x="0" y="0"/>
                  </a:moveTo>
                  <a:lnTo>
                    <a:pt x="0" y="8073"/>
                  </a:lnTo>
                  <a:lnTo>
                    <a:pt x="934" y="8073"/>
                  </a:lnTo>
                  <a:lnTo>
                    <a:pt x="934" y="0"/>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2111;p56">
              <a:extLst>
                <a:ext uri="{FF2B5EF4-FFF2-40B4-BE49-F238E27FC236}">
                  <a16:creationId xmlns:a16="http://schemas.microsoft.com/office/drawing/2014/main" id="{FFB71680-2284-973A-927B-84A33DCD8926}"/>
                </a:ext>
              </a:extLst>
            </p:cNvPr>
            <p:cNvSpPr/>
            <p:nvPr/>
          </p:nvSpPr>
          <p:spPr>
            <a:xfrm flipH="1">
              <a:off x="8716115" y="3735551"/>
              <a:ext cx="23423" cy="195367"/>
            </a:xfrm>
            <a:custGeom>
              <a:avLst/>
              <a:gdLst/>
              <a:ahLst/>
              <a:cxnLst/>
              <a:rect l="l" t="t" r="r" b="b"/>
              <a:pathLst>
                <a:path w="968" h="8073" extrusionOk="0">
                  <a:moveTo>
                    <a:pt x="0" y="0"/>
                  </a:moveTo>
                  <a:lnTo>
                    <a:pt x="0" y="8073"/>
                  </a:lnTo>
                  <a:lnTo>
                    <a:pt x="967" y="8073"/>
                  </a:lnTo>
                  <a:lnTo>
                    <a:pt x="967" y="0"/>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112;p56">
              <a:extLst>
                <a:ext uri="{FF2B5EF4-FFF2-40B4-BE49-F238E27FC236}">
                  <a16:creationId xmlns:a16="http://schemas.microsoft.com/office/drawing/2014/main" id="{E583D79E-0E84-1514-85C0-0C7E61CFDB2D}"/>
                </a:ext>
              </a:extLst>
            </p:cNvPr>
            <p:cNvSpPr/>
            <p:nvPr/>
          </p:nvSpPr>
          <p:spPr>
            <a:xfrm flipH="1">
              <a:off x="8596652" y="3735551"/>
              <a:ext cx="23447" cy="195367"/>
            </a:xfrm>
            <a:custGeom>
              <a:avLst/>
              <a:gdLst/>
              <a:ahLst/>
              <a:cxnLst/>
              <a:rect l="l" t="t" r="r" b="b"/>
              <a:pathLst>
                <a:path w="969" h="8073" extrusionOk="0">
                  <a:moveTo>
                    <a:pt x="1" y="0"/>
                  </a:moveTo>
                  <a:lnTo>
                    <a:pt x="1" y="8073"/>
                  </a:lnTo>
                  <a:lnTo>
                    <a:pt x="968" y="8073"/>
                  </a:lnTo>
                  <a:lnTo>
                    <a:pt x="968" y="0"/>
                  </a:ln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113;p56">
              <a:extLst>
                <a:ext uri="{FF2B5EF4-FFF2-40B4-BE49-F238E27FC236}">
                  <a16:creationId xmlns:a16="http://schemas.microsoft.com/office/drawing/2014/main" id="{F2C0C67A-F909-110C-EF99-8316F120884F}"/>
                </a:ext>
              </a:extLst>
            </p:cNvPr>
            <p:cNvSpPr/>
            <p:nvPr/>
          </p:nvSpPr>
          <p:spPr>
            <a:xfrm flipH="1">
              <a:off x="8477189" y="3735551"/>
              <a:ext cx="22625" cy="195367"/>
            </a:xfrm>
            <a:custGeom>
              <a:avLst/>
              <a:gdLst/>
              <a:ahLst/>
              <a:cxnLst/>
              <a:rect l="l" t="t" r="r" b="b"/>
              <a:pathLst>
                <a:path w="935" h="8073" extrusionOk="0">
                  <a:moveTo>
                    <a:pt x="0" y="0"/>
                  </a:moveTo>
                  <a:lnTo>
                    <a:pt x="0" y="8073"/>
                  </a:lnTo>
                  <a:lnTo>
                    <a:pt x="934" y="8073"/>
                  </a:lnTo>
                  <a:lnTo>
                    <a:pt x="934" y="0"/>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114;p56">
              <a:extLst>
                <a:ext uri="{FF2B5EF4-FFF2-40B4-BE49-F238E27FC236}">
                  <a16:creationId xmlns:a16="http://schemas.microsoft.com/office/drawing/2014/main" id="{198A5A6C-22A7-F491-28DB-9EAA6654183A}"/>
                </a:ext>
              </a:extLst>
            </p:cNvPr>
            <p:cNvSpPr/>
            <p:nvPr/>
          </p:nvSpPr>
          <p:spPr>
            <a:xfrm flipH="1">
              <a:off x="8356927" y="3735551"/>
              <a:ext cx="23447" cy="195367"/>
            </a:xfrm>
            <a:custGeom>
              <a:avLst/>
              <a:gdLst/>
              <a:ahLst/>
              <a:cxnLst/>
              <a:rect l="l" t="t" r="r" b="b"/>
              <a:pathLst>
                <a:path w="969" h="8073" extrusionOk="0">
                  <a:moveTo>
                    <a:pt x="1" y="0"/>
                  </a:moveTo>
                  <a:lnTo>
                    <a:pt x="1" y="8073"/>
                  </a:lnTo>
                  <a:lnTo>
                    <a:pt x="968" y="8073"/>
                  </a:lnTo>
                  <a:lnTo>
                    <a:pt x="968" y="0"/>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115;p56">
              <a:extLst>
                <a:ext uri="{FF2B5EF4-FFF2-40B4-BE49-F238E27FC236}">
                  <a16:creationId xmlns:a16="http://schemas.microsoft.com/office/drawing/2014/main" id="{AF27C19C-F2C8-E9A1-C072-FDECC2A7D82B}"/>
                </a:ext>
              </a:extLst>
            </p:cNvPr>
            <p:cNvSpPr/>
            <p:nvPr/>
          </p:nvSpPr>
          <p:spPr>
            <a:xfrm flipH="1">
              <a:off x="8237464" y="3735551"/>
              <a:ext cx="23447" cy="195367"/>
            </a:xfrm>
            <a:custGeom>
              <a:avLst/>
              <a:gdLst/>
              <a:ahLst/>
              <a:cxnLst/>
              <a:rect l="l" t="t" r="r" b="b"/>
              <a:pathLst>
                <a:path w="969" h="8073" extrusionOk="0">
                  <a:moveTo>
                    <a:pt x="1" y="0"/>
                  </a:moveTo>
                  <a:lnTo>
                    <a:pt x="1" y="8073"/>
                  </a:lnTo>
                  <a:lnTo>
                    <a:pt x="968" y="8073"/>
                  </a:lnTo>
                  <a:lnTo>
                    <a:pt x="968" y="0"/>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116;p56">
              <a:extLst>
                <a:ext uri="{FF2B5EF4-FFF2-40B4-BE49-F238E27FC236}">
                  <a16:creationId xmlns:a16="http://schemas.microsoft.com/office/drawing/2014/main" id="{D6A13480-A5CA-D56C-020D-C017954C2897}"/>
                </a:ext>
              </a:extLst>
            </p:cNvPr>
            <p:cNvSpPr/>
            <p:nvPr/>
          </p:nvSpPr>
          <p:spPr>
            <a:xfrm flipH="1">
              <a:off x="8118001" y="3735551"/>
              <a:ext cx="23447" cy="195367"/>
            </a:xfrm>
            <a:custGeom>
              <a:avLst/>
              <a:gdLst/>
              <a:ahLst/>
              <a:cxnLst/>
              <a:rect l="l" t="t" r="r" b="b"/>
              <a:pathLst>
                <a:path w="969" h="8073" extrusionOk="0">
                  <a:moveTo>
                    <a:pt x="1" y="0"/>
                  </a:moveTo>
                  <a:lnTo>
                    <a:pt x="1" y="8073"/>
                  </a:lnTo>
                  <a:lnTo>
                    <a:pt x="968" y="8073"/>
                  </a:lnTo>
                  <a:lnTo>
                    <a:pt x="968" y="0"/>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117;p56">
              <a:extLst>
                <a:ext uri="{FF2B5EF4-FFF2-40B4-BE49-F238E27FC236}">
                  <a16:creationId xmlns:a16="http://schemas.microsoft.com/office/drawing/2014/main" id="{703522CE-7115-643E-AA98-791F266B89EB}"/>
                </a:ext>
              </a:extLst>
            </p:cNvPr>
            <p:cNvSpPr/>
            <p:nvPr/>
          </p:nvSpPr>
          <p:spPr>
            <a:xfrm flipH="1">
              <a:off x="8084100" y="3735551"/>
              <a:ext cx="860463" cy="47650"/>
            </a:xfrm>
            <a:custGeom>
              <a:avLst/>
              <a:gdLst/>
              <a:ahLst/>
              <a:cxnLst/>
              <a:rect l="l" t="t" r="r" b="b"/>
              <a:pathLst>
                <a:path w="35560" h="1969" extrusionOk="0">
                  <a:moveTo>
                    <a:pt x="0" y="0"/>
                  </a:moveTo>
                  <a:lnTo>
                    <a:pt x="0" y="1969"/>
                  </a:lnTo>
                  <a:lnTo>
                    <a:pt x="35559" y="1969"/>
                  </a:lnTo>
                  <a:lnTo>
                    <a:pt x="35559" y="0"/>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118;p56">
              <a:extLst>
                <a:ext uri="{FF2B5EF4-FFF2-40B4-BE49-F238E27FC236}">
                  <a16:creationId xmlns:a16="http://schemas.microsoft.com/office/drawing/2014/main" id="{53FE900E-7308-37AA-193C-5A9CAE5C4A32}"/>
                </a:ext>
              </a:extLst>
            </p:cNvPr>
            <p:cNvSpPr/>
            <p:nvPr/>
          </p:nvSpPr>
          <p:spPr>
            <a:xfrm flipH="1">
              <a:off x="7964661" y="3540209"/>
              <a:ext cx="860439" cy="195367"/>
            </a:xfrm>
            <a:custGeom>
              <a:avLst/>
              <a:gdLst/>
              <a:ahLst/>
              <a:cxnLst/>
              <a:rect l="l" t="t" r="r" b="b"/>
              <a:pathLst>
                <a:path w="35559" h="8073" extrusionOk="0">
                  <a:moveTo>
                    <a:pt x="0" y="0"/>
                  </a:moveTo>
                  <a:lnTo>
                    <a:pt x="0" y="8072"/>
                  </a:lnTo>
                  <a:lnTo>
                    <a:pt x="35559" y="8072"/>
                  </a:lnTo>
                  <a:lnTo>
                    <a:pt x="35559" y="0"/>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119;p56">
              <a:extLst>
                <a:ext uri="{FF2B5EF4-FFF2-40B4-BE49-F238E27FC236}">
                  <a16:creationId xmlns:a16="http://schemas.microsoft.com/office/drawing/2014/main" id="{98F95BD7-FB86-6B8B-E248-FC6B47578B9C}"/>
                </a:ext>
              </a:extLst>
            </p:cNvPr>
            <p:cNvSpPr/>
            <p:nvPr/>
          </p:nvSpPr>
          <p:spPr>
            <a:xfrm flipH="1">
              <a:off x="8716115" y="3540209"/>
              <a:ext cx="23423" cy="195367"/>
            </a:xfrm>
            <a:custGeom>
              <a:avLst/>
              <a:gdLst/>
              <a:ahLst/>
              <a:cxnLst/>
              <a:rect l="l" t="t" r="r" b="b"/>
              <a:pathLst>
                <a:path w="968" h="8073" extrusionOk="0">
                  <a:moveTo>
                    <a:pt x="0" y="0"/>
                  </a:moveTo>
                  <a:lnTo>
                    <a:pt x="0" y="8072"/>
                  </a:lnTo>
                  <a:lnTo>
                    <a:pt x="967" y="8072"/>
                  </a:lnTo>
                  <a:lnTo>
                    <a:pt x="967" y="0"/>
                  </a:ln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120;p56">
              <a:extLst>
                <a:ext uri="{FF2B5EF4-FFF2-40B4-BE49-F238E27FC236}">
                  <a16:creationId xmlns:a16="http://schemas.microsoft.com/office/drawing/2014/main" id="{150AE059-ECFB-CDD8-2933-5A5B602ECFF1}"/>
                </a:ext>
              </a:extLst>
            </p:cNvPr>
            <p:cNvSpPr/>
            <p:nvPr/>
          </p:nvSpPr>
          <p:spPr>
            <a:xfrm flipH="1">
              <a:off x="8596652" y="3540209"/>
              <a:ext cx="23447" cy="195367"/>
            </a:xfrm>
            <a:custGeom>
              <a:avLst/>
              <a:gdLst/>
              <a:ahLst/>
              <a:cxnLst/>
              <a:rect l="l" t="t" r="r" b="b"/>
              <a:pathLst>
                <a:path w="969" h="8073" extrusionOk="0">
                  <a:moveTo>
                    <a:pt x="1" y="0"/>
                  </a:moveTo>
                  <a:lnTo>
                    <a:pt x="1" y="8072"/>
                  </a:lnTo>
                  <a:lnTo>
                    <a:pt x="968" y="8072"/>
                  </a:lnTo>
                  <a:lnTo>
                    <a:pt x="968" y="0"/>
                  </a:ln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121;p56">
              <a:extLst>
                <a:ext uri="{FF2B5EF4-FFF2-40B4-BE49-F238E27FC236}">
                  <a16:creationId xmlns:a16="http://schemas.microsoft.com/office/drawing/2014/main" id="{0430992D-EDCB-7E09-5428-F6CD7995C60E}"/>
                </a:ext>
              </a:extLst>
            </p:cNvPr>
            <p:cNvSpPr/>
            <p:nvPr/>
          </p:nvSpPr>
          <p:spPr>
            <a:xfrm flipH="1">
              <a:off x="8477189" y="3540209"/>
              <a:ext cx="22625" cy="195367"/>
            </a:xfrm>
            <a:custGeom>
              <a:avLst/>
              <a:gdLst/>
              <a:ahLst/>
              <a:cxnLst/>
              <a:rect l="l" t="t" r="r" b="b"/>
              <a:pathLst>
                <a:path w="935" h="8073" extrusionOk="0">
                  <a:moveTo>
                    <a:pt x="0" y="0"/>
                  </a:moveTo>
                  <a:lnTo>
                    <a:pt x="0" y="8072"/>
                  </a:lnTo>
                  <a:lnTo>
                    <a:pt x="934" y="8072"/>
                  </a:lnTo>
                  <a:lnTo>
                    <a:pt x="934" y="0"/>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122;p56">
              <a:extLst>
                <a:ext uri="{FF2B5EF4-FFF2-40B4-BE49-F238E27FC236}">
                  <a16:creationId xmlns:a16="http://schemas.microsoft.com/office/drawing/2014/main" id="{A80F6ED9-8504-1192-7367-AA06F276BE7C}"/>
                </a:ext>
              </a:extLst>
            </p:cNvPr>
            <p:cNvSpPr/>
            <p:nvPr/>
          </p:nvSpPr>
          <p:spPr>
            <a:xfrm flipH="1">
              <a:off x="8356927" y="3540209"/>
              <a:ext cx="23447" cy="195367"/>
            </a:xfrm>
            <a:custGeom>
              <a:avLst/>
              <a:gdLst/>
              <a:ahLst/>
              <a:cxnLst/>
              <a:rect l="l" t="t" r="r" b="b"/>
              <a:pathLst>
                <a:path w="969" h="8073" extrusionOk="0">
                  <a:moveTo>
                    <a:pt x="1" y="0"/>
                  </a:moveTo>
                  <a:lnTo>
                    <a:pt x="1" y="8072"/>
                  </a:lnTo>
                  <a:lnTo>
                    <a:pt x="968" y="8072"/>
                  </a:lnTo>
                  <a:lnTo>
                    <a:pt x="968" y="0"/>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123;p56">
              <a:extLst>
                <a:ext uri="{FF2B5EF4-FFF2-40B4-BE49-F238E27FC236}">
                  <a16:creationId xmlns:a16="http://schemas.microsoft.com/office/drawing/2014/main" id="{D652F44C-2940-3F08-2FAF-4BF7B4492B36}"/>
                </a:ext>
              </a:extLst>
            </p:cNvPr>
            <p:cNvSpPr/>
            <p:nvPr/>
          </p:nvSpPr>
          <p:spPr>
            <a:xfrm flipH="1">
              <a:off x="8237464" y="3540209"/>
              <a:ext cx="23447" cy="195367"/>
            </a:xfrm>
            <a:custGeom>
              <a:avLst/>
              <a:gdLst/>
              <a:ahLst/>
              <a:cxnLst/>
              <a:rect l="l" t="t" r="r" b="b"/>
              <a:pathLst>
                <a:path w="969" h="8073" extrusionOk="0">
                  <a:moveTo>
                    <a:pt x="1" y="0"/>
                  </a:moveTo>
                  <a:lnTo>
                    <a:pt x="1" y="8072"/>
                  </a:lnTo>
                  <a:lnTo>
                    <a:pt x="968" y="8072"/>
                  </a:lnTo>
                  <a:lnTo>
                    <a:pt x="968" y="0"/>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124;p56">
              <a:extLst>
                <a:ext uri="{FF2B5EF4-FFF2-40B4-BE49-F238E27FC236}">
                  <a16:creationId xmlns:a16="http://schemas.microsoft.com/office/drawing/2014/main" id="{E87A1E1C-8DD0-1AF3-349C-10338450B96A}"/>
                </a:ext>
              </a:extLst>
            </p:cNvPr>
            <p:cNvSpPr/>
            <p:nvPr/>
          </p:nvSpPr>
          <p:spPr>
            <a:xfrm flipH="1">
              <a:off x="8118001" y="3540209"/>
              <a:ext cx="22625" cy="195367"/>
            </a:xfrm>
            <a:custGeom>
              <a:avLst/>
              <a:gdLst/>
              <a:ahLst/>
              <a:cxnLst/>
              <a:rect l="l" t="t" r="r" b="b"/>
              <a:pathLst>
                <a:path w="935" h="8073" extrusionOk="0">
                  <a:moveTo>
                    <a:pt x="0" y="0"/>
                  </a:moveTo>
                  <a:lnTo>
                    <a:pt x="0" y="8072"/>
                  </a:lnTo>
                  <a:lnTo>
                    <a:pt x="934" y="8072"/>
                  </a:lnTo>
                  <a:lnTo>
                    <a:pt x="934" y="133"/>
                  </a:lnTo>
                  <a:lnTo>
                    <a:pt x="0" y="0"/>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125;p56">
              <a:extLst>
                <a:ext uri="{FF2B5EF4-FFF2-40B4-BE49-F238E27FC236}">
                  <a16:creationId xmlns:a16="http://schemas.microsoft.com/office/drawing/2014/main" id="{F25C756F-6E47-362D-2B0D-A49A5500DFE1}"/>
                </a:ext>
              </a:extLst>
            </p:cNvPr>
            <p:cNvSpPr/>
            <p:nvPr/>
          </p:nvSpPr>
          <p:spPr>
            <a:xfrm flipH="1">
              <a:off x="7997739" y="3540209"/>
              <a:ext cx="23447" cy="195367"/>
            </a:xfrm>
            <a:custGeom>
              <a:avLst/>
              <a:gdLst/>
              <a:ahLst/>
              <a:cxnLst/>
              <a:rect l="l" t="t" r="r" b="b"/>
              <a:pathLst>
                <a:path w="969" h="8073" extrusionOk="0">
                  <a:moveTo>
                    <a:pt x="1" y="0"/>
                  </a:moveTo>
                  <a:lnTo>
                    <a:pt x="1" y="8072"/>
                  </a:lnTo>
                  <a:lnTo>
                    <a:pt x="968" y="8072"/>
                  </a:lnTo>
                  <a:lnTo>
                    <a:pt x="968" y="0"/>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126;p56">
              <a:extLst>
                <a:ext uri="{FF2B5EF4-FFF2-40B4-BE49-F238E27FC236}">
                  <a16:creationId xmlns:a16="http://schemas.microsoft.com/office/drawing/2014/main" id="{ACD84721-63E3-8712-C99F-A469E68AB332}"/>
                </a:ext>
              </a:extLst>
            </p:cNvPr>
            <p:cNvSpPr/>
            <p:nvPr/>
          </p:nvSpPr>
          <p:spPr>
            <a:xfrm flipH="1">
              <a:off x="7964661" y="3540209"/>
              <a:ext cx="860439" cy="40366"/>
            </a:xfrm>
            <a:custGeom>
              <a:avLst/>
              <a:gdLst/>
              <a:ahLst/>
              <a:cxnLst/>
              <a:rect l="l" t="t" r="r" b="b"/>
              <a:pathLst>
                <a:path w="35559" h="1668" extrusionOk="0">
                  <a:moveTo>
                    <a:pt x="0" y="0"/>
                  </a:moveTo>
                  <a:lnTo>
                    <a:pt x="0" y="1668"/>
                  </a:lnTo>
                  <a:lnTo>
                    <a:pt x="35559" y="1668"/>
                  </a:lnTo>
                  <a:lnTo>
                    <a:pt x="35559" y="0"/>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127;p56">
              <a:extLst>
                <a:ext uri="{FF2B5EF4-FFF2-40B4-BE49-F238E27FC236}">
                  <a16:creationId xmlns:a16="http://schemas.microsoft.com/office/drawing/2014/main" id="{AFEFADDE-C795-4607-282D-E2A4205EF372}"/>
                </a:ext>
              </a:extLst>
            </p:cNvPr>
            <p:cNvSpPr/>
            <p:nvPr/>
          </p:nvSpPr>
          <p:spPr>
            <a:xfrm flipH="1">
              <a:off x="7926720" y="3344842"/>
              <a:ext cx="860463" cy="195391"/>
            </a:xfrm>
            <a:custGeom>
              <a:avLst/>
              <a:gdLst/>
              <a:ahLst/>
              <a:cxnLst/>
              <a:rect l="l" t="t" r="r" b="b"/>
              <a:pathLst>
                <a:path w="35560" h="8074" extrusionOk="0">
                  <a:moveTo>
                    <a:pt x="1" y="1"/>
                  </a:moveTo>
                  <a:lnTo>
                    <a:pt x="1" y="8073"/>
                  </a:lnTo>
                  <a:lnTo>
                    <a:pt x="35560" y="8073"/>
                  </a:lnTo>
                  <a:lnTo>
                    <a:pt x="35560" y="1"/>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128;p56">
              <a:extLst>
                <a:ext uri="{FF2B5EF4-FFF2-40B4-BE49-F238E27FC236}">
                  <a16:creationId xmlns:a16="http://schemas.microsoft.com/office/drawing/2014/main" id="{7B22EA60-4633-C0BA-EAA4-B63C24837902}"/>
                </a:ext>
              </a:extLst>
            </p:cNvPr>
            <p:cNvSpPr/>
            <p:nvPr/>
          </p:nvSpPr>
          <p:spPr>
            <a:xfrm flipH="1">
              <a:off x="8678173" y="3344842"/>
              <a:ext cx="23447" cy="195391"/>
            </a:xfrm>
            <a:custGeom>
              <a:avLst/>
              <a:gdLst/>
              <a:ahLst/>
              <a:cxnLst/>
              <a:rect l="l" t="t" r="r" b="b"/>
              <a:pathLst>
                <a:path w="969" h="8074" extrusionOk="0">
                  <a:moveTo>
                    <a:pt x="1" y="1"/>
                  </a:moveTo>
                  <a:lnTo>
                    <a:pt x="1" y="8073"/>
                  </a:lnTo>
                  <a:lnTo>
                    <a:pt x="968" y="8073"/>
                  </a:lnTo>
                  <a:lnTo>
                    <a:pt x="968" y="1"/>
                  </a:ln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129;p56">
              <a:extLst>
                <a:ext uri="{FF2B5EF4-FFF2-40B4-BE49-F238E27FC236}">
                  <a16:creationId xmlns:a16="http://schemas.microsoft.com/office/drawing/2014/main" id="{B2F1CF5D-0A4C-E4DC-79B5-B700FF717323}"/>
                </a:ext>
              </a:extLst>
            </p:cNvPr>
            <p:cNvSpPr/>
            <p:nvPr/>
          </p:nvSpPr>
          <p:spPr>
            <a:xfrm flipH="1">
              <a:off x="8558710" y="3344842"/>
              <a:ext cx="23447" cy="195391"/>
            </a:xfrm>
            <a:custGeom>
              <a:avLst/>
              <a:gdLst/>
              <a:ahLst/>
              <a:cxnLst/>
              <a:rect l="l" t="t" r="r" b="b"/>
              <a:pathLst>
                <a:path w="969" h="8074" extrusionOk="0">
                  <a:moveTo>
                    <a:pt x="1" y="1"/>
                  </a:moveTo>
                  <a:lnTo>
                    <a:pt x="1" y="8073"/>
                  </a:lnTo>
                  <a:lnTo>
                    <a:pt x="968" y="8073"/>
                  </a:lnTo>
                  <a:lnTo>
                    <a:pt x="968" y="1"/>
                  </a:ln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130;p56">
              <a:extLst>
                <a:ext uri="{FF2B5EF4-FFF2-40B4-BE49-F238E27FC236}">
                  <a16:creationId xmlns:a16="http://schemas.microsoft.com/office/drawing/2014/main" id="{7F24FCED-ED8E-6D38-7D06-17A8C58BB638}"/>
                </a:ext>
              </a:extLst>
            </p:cNvPr>
            <p:cNvSpPr/>
            <p:nvPr/>
          </p:nvSpPr>
          <p:spPr>
            <a:xfrm flipH="1">
              <a:off x="8439271" y="3344842"/>
              <a:ext cx="23423" cy="195391"/>
            </a:xfrm>
            <a:custGeom>
              <a:avLst/>
              <a:gdLst/>
              <a:ahLst/>
              <a:cxnLst/>
              <a:rect l="l" t="t" r="r" b="b"/>
              <a:pathLst>
                <a:path w="968" h="8074" extrusionOk="0">
                  <a:moveTo>
                    <a:pt x="1" y="1"/>
                  </a:moveTo>
                  <a:lnTo>
                    <a:pt x="1" y="8073"/>
                  </a:lnTo>
                  <a:lnTo>
                    <a:pt x="968" y="8073"/>
                  </a:lnTo>
                  <a:lnTo>
                    <a:pt x="968" y="1"/>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131;p56">
              <a:extLst>
                <a:ext uri="{FF2B5EF4-FFF2-40B4-BE49-F238E27FC236}">
                  <a16:creationId xmlns:a16="http://schemas.microsoft.com/office/drawing/2014/main" id="{1CF12F97-6AC0-E058-F988-AB1DF3633039}"/>
                </a:ext>
              </a:extLst>
            </p:cNvPr>
            <p:cNvSpPr/>
            <p:nvPr/>
          </p:nvSpPr>
          <p:spPr>
            <a:xfrm flipH="1">
              <a:off x="8318985" y="3344842"/>
              <a:ext cx="23447" cy="195391"/>
            </a:xfrm>
            <a:custGeom>
              <a:avLst/>
              <a:gdLst/>
              <a:ahLst/>
              <a:cxnLst/>
              <a:rect l="l" t="t" r="r" b="b"/>
              <a:pathLst>
                <a:path w="969" h="8074" extrusionOk="0">
                  <a:moveTo>
                    <a:pt x="1" y="1"/>
                  </a:moveTo>
                  <a:lnTo>
                    <a:pt x="1" y="8073"/>
                  </a:lnTo>
                  <a:lnTo>
                    <a:pt x="968" y="8073"/>
                  </a:lnTo>
                  <a:lnTo>
                    <a:pt x="968" y="1"/>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132;p56">
              <a:extLst>
                <a:ext uri="{FF2B5EF4-FFF2-40B4-BE49-F238E27FC236}">
                  <a16:creationId xmlns:a16="http://schemas.microsoft.com/office/drawing/2014/main" id="{481A45EA-D72B-0283-5062-856E0CF0C887}"/>
                </a:ext>
              </a:extLst>
            </p:cNvPr>
            <p:cNvSpPr/>
            <p:nvPr/>
          </p:nvSpPr>
          <p:spPr>
            <a:xfrm flipH="1">
              <a:off x="8199547" y="3344842"/>
              <a:ext cx="23423" cy="195391"/>
            </a:xfrm>
            <a:custGeom>
              <a:avLst/>
              <a:gdLst/>
              <a:ahLst/>
              <a:cxnLst/>
              <a:rect l="l" t="t" r="r" b="b"/>
              <a:pathLst>
                <a:path w="968" h="8074" extrusionOk="0">
                  <a:moveTo>
                    <a:pt x="1" y="1"/>
                  </a:moveTo>
                  <a:lnTo>
                    <a:pt x="1" y="8073"/>
                  </a:lnTo>
                  <a:lnTo>
                    <a:pt x="968" y="8073"/>
                  </a:lnTo>
                  <a:lnTo>
                    <a:pt x="968" y="1"/>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133;p56">
              <a:extLst>
                <a:ext uri="{FF2B5EF4-FFF2-40B4-BE49-F238E27FC236}">
                  <a16:creationId xmlns:a16="http://schemas.microsoft.com/office/drawing/2014/main" id="{11B6E7D7-733A-9685-0675-EF34019A024A}"/>
                </a:ext>
              </a:extLst>
            </p:cNvPr>
            <p:cNvSpPr/>
            <p:nvPr/>
          </p:nvSpPr>
          <p:spPr>
            <a:xfrm flipH="1">
              <a:off x="8080084" y="3344842"/>
              <a:ext cx="23423" cy="195391"/>
            </a:xfrm>
            <a:custGeom>
              <a:avLst/>
              <a:gdLst/>
              <a:ahLst/>
              <a:cxnLst/>
              <a:rect l="l" t="t" r="r" b="b"/>
              <a:pathLst>
                <a:path w="968" h="8074" extrusionOk="0">
                  <a:moveTo>
                    <a:pt x="0" y="1"/>
                  </a:moveTo>
                  <a:lnTo>
                    <a:pt x="0" y="8073"/>
                  </a:lnTo>
                  <a:lnTo>
                    <a:pt x="968" y="8073"/>
                  </a:lnTo>
                  <a:lnTo>
                    <a:pt x="968" y="1"/>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134;p56">
              <a:extLst>
                <a:ext uri="{FF2B5EF4-FFF2-40B4-BE49-F238E27FC236}">
                  <a16:creationId xmlns:a16="http://schemas.microsoft.com/office/drawing/2014/main" id="{FEBE81CC-950C-A5A7-535A-85C4AADA3FEA}"/>
                </a:ext>
              </a:extLst>
            </p:cNvPr>
            <p:cNvSpPr/>
            <p:nvPr/>
          </p:nvSpPr>
          <p:spPr>
            <a:xfrm flipH="1">
              <a:off x="7959798" y="3344842"/>
              <a:ext cx="23447" cy="195391"/>
            </a:xfrm>
            <a:custGeom>
              <a:avLst/>
              <a:gdLst/>
              <a:ahLst/>
              <a:cxnLst/>
              <a:rect l="l" t="t" r="r" b="b"/>
              <a:pathLst>
                <a:path w="969" h="8074" extrusionOk="0">
                  <a:moveTo>
                    <a:pt x="1" y="1"/>
                  </a:moveTo>
                  <a:lnTo>
                    <a:pt x="1" y="8073"/>
                  </a:lnTo>
                  <a:lnTo>
                    <a:pt x="968" y="8073"/>
                  </a:lnTo>
                  <a:lnTo>
                    <a:pt x="968" y="1"/>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135;p56">
              <a:extLst>
                <a:ext uri="{FF2B5EF4-FFF2-40B4-BE49-F238E27FC236}">
                  <a16:creationId xmlns:a16="http://schemas.microsoft.com/office/drawing/2014/main" id="{A4A6DD93-FC6E-27EC-5CAD-8E9EAF321EF4}"/>
                </a:ext>
              </a:extLst>
            </p:cNvPr>
            <p:cNvSpPr/>
            <p:nvPr/>
          </p:nvSpPr>
          <p:spPr>
            <a:xfrm flipH="1">
              <a:off x="7926720" y="3344842"/>
              <a:ext cx="860463" cy="40390"/>
            </a:xfrm>
            <a:custGeom>
              <a:avLst/>
              <a:gdLst/>
              <a:ahLst/>
              <a:cxnLst/>
              <a:rect l="l" t="t" r="r" b="b"/>
              <a:pathLst>
                <a:path w="35560" h="1669" extrusionOk="0">
                  <a:moveTo>
                    <a:pt x="1" y="1"/>
                  </a:moveTo>
                  <a:lnTo>
                    <a:pt x="1" y="1668"/>
                  </a:lnTo>
                  <a:lnTo>
                    <a:pt x="35560" y="1668"/>
                  </a:lnTo>
                  <a:lnTo>
                    <a:pt x="35560" y="1"/>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2136;p56">
              <a:extLst>
                <a:ext uri="{FF2B5EF4-FFF2-40B4-BE49-F238E27FC236}">
                  <a16:creationId xmlns:a16="http://schemas.microsoft.com/office/drawing/2014/main" id="{057593B7-91AB-D8C7-30D3-228423BD8A11}"/>
                </a:ext>
              </a:extLst>
            </p:cNvPr>
            <p:cNvSpPr/>
            <p:nvPr/>
          </p:nvSpPr>
          <p:spPr>
            <a:xfrm flipH="1">
              <a:off x="8029220" y="3149500"/>
              <a:ext cx="860463" cy="195367"/>
            </a:xfrm>
            <a:custGeom>
              <a:avLst/>
              <a:gdLst/>
              <a:ahLst/>
              <a:cxnLst/>
              <a:rect l="l" t="t" r="r" b="b"/>
              <a:pathLst>
                <a:path w="35560" h="8073" extrusionOk="0">
                  <a:moveTo>
                    <a:pt x="1" y="0"/>
                  </a:moveTo>
                  <a:lnTo>
                    <a:pt x="1" y="8073"/>
                  </a:lnTo>
                  <a:lnTo>
                    <a:pt x="35559" y="8073"/>
                  </a:lnTo>
                  <a:lnTo>
                    <a:pt x="35559" y="0"/>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37;p56">
              <a:extLst>
                <a:ext uri="{FF2B5EF4-FFF2-40B4-BE49-F238E27FC236}">
                  <a16:creationId xmlns:a16="http://schemas.microsoft.com/office/drawing/2014/main" id="{E261E1A3-FB56-22C1-B085-41CC26D12A5C}"/>
                </a:ext>
              </a:extLst>
            </p:cNvPr>
            <p:cNvSpPr/>
            <p:nvPr/>
          </p:nvSpPr>
          <p:spPr>
            <a:xfrm flipH="1">
              <a:off x="8780698" y="3149500"/>
              <a:ext cx="23423" cy="195367"/>
            </a:xfrm>
            <a:custGeom>
              <a:avLst/>
              <a:gdLst/>
              <a:ahLst/>
              <a:cxnLst/>
              <a:rect l="l" t="t" r="r" b="b"/>
              <a:pathLst>
                <a:path w="968" h="8073" extrusionOk="0">
                  <a:moveTo>
                    <a:pt x="0" y="0"/>
                  </a:moveTo>
                  <a:lnTo>
                    <a:pt x="0" y="8073"/>
                  </a:lnTo>
                  <a:lnTo>
                    <a:pt x="968" y="8073"/>
                  </a:lnTo>
                  <a:lnTo>
                    <a:pt x="968" y="0"/>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38;p56">
              <a:extLst>
                <a:ext uri="{FF2B5EF4-FFF2-40B4-BE49-F238E27FC236}">
                  <a16:creationId xmlns:a16="http://schemas.microsoft.com/office/drawing/2014/main" id="{C80D5415-976E-BE97-44EA-2E8306FF51E8}"/>
                </a:ext>
              </a:extLst>
            </p:cNvPr>
            <p:cNvSpPr/>
            <p:nvPr/>
          </p:nvSpPr>
          <p:spPr>
            <a:xfrm flipH="1">
              <a:off x="8661235" y="3149500"/>
              <a:ext cx="23423" cy="195367"/>
            </a:xfrm>
            <a:custGeom>
              <a:avLst/>
              <a:gdLst/>
              <a:ahLst/>
              <a:cxnLst/>
              <a:rect l="l" t="t" r="r" b="b"/>
              <a:pathLst>
                <a:path w="968" h="8073" extrusionOk="0">
                  <a:moveTo>
                    <a:pt x="0" y="0"/>
                  </a:moveTo>
                  <a:lnTo>
                    <a:pt x="0" y="8073"/>
                  </a:lnTo>
                  <a:lnTo>
                    <a:pt x="968" y="8073"/>
                  </a:lnTo>
                  <a:lnTo>
                    <a:pt x="968" y="0"/>
                  </a:ln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39;p56">
              <a:extLst>
                <a:ext uri="{FF2B5EF4-FFF2-40B4-BE49-F238E27FC236}">
                  <a16:creationId xmlns:a16="http://schemas.microsoft.com/office/drawing/2014/main" id="{A56294C4-E563-7718-227A-83B136FD421B}"/>
                </a:ext>
              </a:extLst>
            </p:cNvPr>
            <p:cNvSpPr/>
            <p:nvPr/>
          </p:nvSpPr>
          <p:spPr>
            <a:xfrm flipH="1">
              <a:off x="8541772" y="3149500"/>
              <a:ext cx="23423" cy="195367"/>
            </a:xfrm>
            <a:custGeom>
              <a:avLst/>
              <a:gdLst/>
              <a:ahLst/>
              <a:cxnLst/>
              <a:rect l="l" t="t" r="r" b="b"/>
              <a:pathLst>
                <a:path w="968" h="8073" extrusionOk="0">
                  <a:moveTo>
                    <a:pt x="0" y="0"/>
                  </a:moveTo>
                  <a:lnTo>
                    <a:pt x="0" y="8073"/>
                  </a:lnTo>
                  <a:lnTo>
                    <a:pt x="968" y="8073"/>
                  </a:lnTo>
                  <a:lnTo>
                    <a:pt x="968" y="0"/>
                  </a:ln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40;p56">
              <a:extLst>
                <a:ext uri="{FF2B5EF4-FFF2-40B4-BE49-F238E27FC236}">
                  <a16:creationId xmlns:a16="http://schemas.microsoft.com/office/drawing/2014/main" id="{4CB6C986-4232-466E-B263-D4A226E78229}"/>
                </a:ext>
              </a:extLst>
            </p:cNvPr>
            <p:cNvSpPr/>
            <p:nvPr/>
          </p:nvSpPr>
          <p:spPr>
            <a:xfrm flipH="1">
              <a:off x="8421510" y="3149500"/>
              <a:ext cx="23423" cy="195367"/>
            </a:xfrm>
            <a:custGeom>
              <a:avLst/>
              <a:gdLst/>
              <a:ahLst/>
              <a:cxnLst/>
              <a:rect l="l" t="t" r="r" b="b"/>
              <a:pathLst>
                <a:path w="968" h="8073" extrusionOk="0">
                  <a:moveTo>
                    <a:pt x="0" y="0"/>
                  </a:moveTo>
                  <a:lnTo>
                    <a:pt x="0" y="8073"/>
                  </a:lnTo>
                  <a:lnTo>
                    <a:pt x="968" y="8073"/>
                  </a:lnTo>
                  <a:lnTo>
                    <a:pt x="968" y="0"/>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41;p56">
              <a:extLst>
                <a:ext uri="{FF2B5EF4-FFF2-40B4-BE49-F238E27FC236}">
                  <a16:creationId xmlns:a16="http://schemas.microsoft.com/office/drawing/2014/main" id="{7E213F16-CB9C-D59F-BB01-81C7BCF84623}"/>
                </a:ext>
              </a:extLst>
            </p:cNvPr>
            <p:cNvSpPr/>
            <p:nvPr/>
          </p:nvSpPr>
          <p:spPr>
            <a:xfrm flipH="1">
              <a:off x="8302047" y="3149500"/>
              <a:ext cx="23423" cy="195367"/>
            </a:xfrm>
            <a:custGeom>
              <a:avLst/>
              <a:gdLst/>
              <a:ahLst/>
              <a:cxnLst/>
              <a:rect l="l" t="t" r="r" b="b"/>
              <a:pathLst>
                <a:path w="968" h="8073" extrusionOk="0">
                  <a:moveTo>
                    <a:pt x="0" y="0"/>
                  </a:moveTo>
                  <a:lnTo>
                    <a:pt x="0" y="8073"/>
                  </a:lnTo>
                  <a:lnTo>
                    <a:pt x="968" y="8073"/>
                  </a:lnTo>
                  <a:lnTo>
                    <a:pt x="968" y="0"/>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42;p56">
              <a:extLst>
                <a:ext uri="{FF2B5EF4-FFF2-40B4-BE49-F238E27FC236}">
                  <a16:creationId xmlns:a16="http://schemas.microsoft.com/office/drawing/2014/main" id="{F6B01313-C781-A92D-7FB6-D2718B354A95}"/>
                </a:ext>
              </a:extLst>
            </p:cNvPr>
            <p:cNvSpPr/>
            <p:nvPr/>
          </p:nvSpPr>
          <p:spPr>
            <a:xfrm flipH="1">
              <a:off x="8182584" y="3149500"/>
              <a:ext cx="22625" cy="195367"/>
            </a:xfrm>
            <a:custGeom>
              <a:avLst/>
              <a:gdLst/>
              <a:ahLst/>
              <a:cxnLst/>
              <a:rect l="l" t="t" r="r" b="b"/>
              <a:pathLst>
                <a:path w="935" h="8073" extrusionOk="0">
                  <a:moveTo>
                    <a:pt x="0" y="0"/>
                  </a:moveTo>
                  <a:lnTo>
                    <a:pt x="0" y="8073"/>
                  </a:lnTo>
                  <a:lnTo>
                    <a:pt x="934" y="8073"/>
                  </a:lnTo>
                  <a:lnTo>
                    <a:pt x="934" y="0"/>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2143;p56">
              <a:extLst>
                <a:ext uri="{FF2B5EF4-FFF2-40B4-BE49-F238E27FC236}">
                  <a16:creationId xmlns:a16="http://schemas.microsoft.com/office/drawing/2014/main" id="{085FD475-2532-6066-5AB3-A2050577A76B}"/>
                </a:ext>
              </a:extLst>
            </p:cNvPr>
            <p:cNvSpPr/>
            <p:nvPr/>
          </p:nvSpPr>
          <p:spPr>
            <a:xfrm flipH="1">
              <a:off x="8062323" y="3149500"/>
              <a:ext cx="23423" cy="195367"/>
            </a:xfrm>
            <a:custGeom>
              <a:avLst/>
              <a:gdLst/>
              <a:ahLst/>
              <a:cxnLst/>
              <a:rect l="l" t="t" r="r" b="b"/>
              <a:pathLst>
                <a:path w="968" h="8073" extrusionOk="0">
                  <a:moveTo>
                    <a:pt x="0" y="0"/>
                  </a:moveTo>
                  <a:lnTo>
                    <a:pt x="0" y="8073"/>
                  </a:lnTo>
                  <a:lnTo>
                    <a:pt x="968" y="8073"/>
                  </a:lnTo>
                  <a:lnTo>
                    <a:pt x="968" y="0"/>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2144;p56">
              <a:extLst>
                <a:ext uri="{FF2B5EF4-FFF2-40B4-BE49-F238E27FC236}">
                  <a16:creationId xmlns:a16="http://schemas.microsoft.com/office/drawing/2014/main" id="{7DD80E64-8547-433A-52C0-EA25DC79FB15}"/>
                </a:ext>
              </a:extLst>
            </p:cNvPr>
            <p:cNvSpPr/>
            <p:nvPr/>
          </p:nvSpPr>
          <p:spPr>
            <a:xfrm flipH="1">
              <a:off x="8029220" y="3149500"/>
              <a:ext cx="860463" cy="40366"/>
            </a:xfrm>
            <a:custGeom>
              <a:avLst/>
              <a:gdLst/>
              <a:ahLst/>
              <a:cxnLst/>
              <a:rect l="l" t="t" r="r" b="b"/>
              <a:pathLst>
                <a:path w="35560" h="1668" extrusionOk="0">
                  <a:moveTo>
                    <a:pt x="1" y="0"/>
                  </a:moveTo>
                  <a:lnTo>
                    <a:pt x="1" y="1668"/>
                  </a:lnTo>
                  <a:lnTo>
                    <a:pt x="35559" y="1668"/>
                  </a:lnTo>
                  <a:lnTo>
                    <a:pt x="35559" y="0"/>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145;p56">
              <a:extLst>
                <a:ext uri="{FF2B5EF4-FFF2-40B4-BE49-F238E27FC236}">
                  <a16:creationId xmlns:a16="http://schemas.microsoft.com/office/drawing/2014/main" id="{7B79FDD8-0162-1F3C-E061-6B5D871F41F0}"/>
                </a:ext>
              </a:extLst>
            </p:cNvPr>
            <p:cNvSpPr/>
            <p:nvPr/>
          </p:nvSpPr>
          <p:spPr>
            <a:xfrm flipH="1">
              <a:off x="7296327" y="3640300"/>
              <a:ext cx="188886" cy="689410"/>
            </a:xfrm>
            <a:custGeom>
              <a:avLst/>
              <a:gdLst/>
              <a:ahLst/>
              <a:cxnLst/>
              <a:rect l="l" t="t" r="r" b="b"/>
              <a:pathLst>
                <a:path w="7806" h="28488" extrusionOk="0">
                  <a:moveTo>
                    <a:pt x="0" y="0"/>
                  </a:moveTo>
                  <a:lnTo>
                    <a:pt x="0" y="28487"/>
                  </a:lnTo>
                  <a:lnTo>
                    <a:pt x="7806" y="28487"/>
                  </a:lnTo>
                  <a:lnTo>
                    <a:pt x="7806" y="0"/>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146;p56">
              <a:extLst>
                <a:ext uri="{FF2B5EF4-FFF2-40B4-BE49-F238E27FC236}">
                  <a16:creationId xmlns:a16="http://schemas.microsoft.com/office/drawing/2014/main" id="{3B4628FC-608C-877E-7465-105C641B6FD5}"/>
                </a:ext>
              </a:extLst>
            </p:cNvPr>
            <p:cNvSpPr/>
            <p:nvPr/>
          </p:nvSpPr>
          <p:spPr>
            <a:xfrm flipH="1">
              <a:off x="7296327" y="3823542"/>
              <a:ext cx="188886" cy="329386"/>
            </a:xfrm>
            <a:custGeom>
              <a:avLst/>
              <a:gdLst/>
              <a:ahLst/>
              <a:cxnLst/>
              <a:rect l="l" t="t" r="r" b="b"/>
              <a:pathLst>
                <a:path w="7806" h="13611" extrusionOk="0">
                  <a:moveTo>
                    <a:pt x="7806" y="0"/>
                  </a:moveTo>
                  <a:lnTo>
                    <a:pt x="0" y="7372"/>
                  </a:lnTo>
                  <a:lnTo>
                    <a:pt x="0" y="13610"/>
                  </a:lnTo>
                  <a:lnTo>
                    <a:pt x="7806" y="5805"/>
                  </a:lnTo>
                  <a:lnTo>
                    <a:pt x="7806" y="0"/>
                  </a:lnTo>
                  <a:close/>
                </a:path>
              </a:pathLst>
            </a:custGeom>
            <a:solidFill>
              <a:srgbClr val="C3FF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2147;p56">
              <a:extLst>
                <a:ext uri="{FF2B5EF4-FFF2-40B4-BE49-F238E27FC236}">
                  <a16:creationId xmlns:a16="http://schemas.microsoft.com/office/drawing/2014/main" id="{F9101A89-C615-1288-0E9C-E79A18FC904F}"/>
                </a:ext>
              </a:extLst>
            </p:cNvPr>
            <p:cNvSpPr/>
            <p:nvPr/>
          </p:nvSpPr>
          <p:spPr>
            <a:xfrm flipH="1">
              <a:off x="7296327" y="3721031"/>
              <a:ext cx="188886" cy="213129"/>
            </a:xfrm>
            <a:custGeom>
              <a:avLst/>
              <a:gdLst/>
              <a:ahLst/>
              <a:cxnLst/>
              <a:rect l="l" t="t" r="r" b="b"/>
              <a:pathLst>
                <a:path w="7806" h="8807" extrusionOk="0">
                  <a:moveTo>
                    <a:pt x="7806" y="0"/>
                  </a:moveTo>
                  <a:lnTo>
                    <a:pt x="0" y="7806"/>
                  </a:lnTo>
                  <a:lnTo>
                    <a:pt x="0" y="8806"/>
                  </a:lnTo>
                  <a:lnTo>
                    <a:pt x="7806" y="1001"/>
                  </a:lnTo>
                  <a:lnTo>
                    <a:pt x="7806" y="0"/>
                  </a:lnTo>
                  <a:close/>
                </a:path>
              </a:pathLst>
            </a:custGeom>
            <a:solidFill>
              <a:srgbClr val="C3FF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2148;p56">
              <a:extLst>
                <a:ext uri="{FF2B5EF4-FFF2-40B4-BE49-F238E27FC236}">
                  <a16:creationId xmlns:a16="http://schemas.microsoft.com/office/drawing/2014/main" id="{EDCEBE03-EE0A-54B6-011D-57265FC8569C}"/>
                </a:ext>
              </a:extLst>
            </p:cNvPr>
            <p:cNvSpPr/>
            <p:nvPr/>
          </p:nvSpPr>
          <p:spPr>
            <a:xfrm flipH="1">
              <a:off x="7063861" y="3862287"/>
              <a:ext cx="188910" cy="467423"/>
            </a:xfrm>
            <a:custGeom>
              <a:avLst/>
              <a:gdLst/>
              <a:ahLst/>
              <a:cxnLst/>
              <a:rect l="l" t="t" r="r" b="b"/>
              <a:pathLst>
                <a:path w="7807" h="19315" extrusionOk="0">
                  <a:moveTo>
                    <a:pt x="1" y="1"/>
                  </a:moveTo>
                  <a:lnTo>
                    <a:pt x="1" y="19314"/>
                  </a:lnTo>
                  <a:lnTo>
                    <a:pt x="7806" y="19314"/>
                  </a:lnTo>
                  <a:lnTo>
                    <a:pt x="7806" y="1"/>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2149;p56">
              <a:extLst>
                <a:ext uri="{FF2B5EF4-FFF2-40B4-BE49-F238E27FC236}">
                  <a16:creationId xmlns:a16="http://schemas.microsoft.com/office/drawing/2014/main" id="{1AD6F38F-6201-1F71-AB6A-3040D888C2EA}"/>
                </a:ext>
              </a:extLst>
            </p:cNvPr>
            <p:cNvSpPr/>
            <p:nvPr/>
          </p:nvSpPr>
          <p:spPr>
            <a:xfrm flipH="1">
              <a:off x="7063861" y="4000323"/>
              <a:ext cx="188910" cy="326966"/>
            </a:xfrm>
            <a:custGeom>
              <a:avLst/>
              <a:gdLst/>
              <a:ahLst/>
              <a:cxnLst/>
              <a:rect l="l" t="t" r="r" b="b"/>
              <a:pathLst>
                <a:path w="7807" h="13511" extrusionOk="0">
                  <a:moveTo>
                    <a:pt x="7806" y="1"/>
                  </a:moveTo>
                  <a:lnTo>
                    <a:pt x="1" y="7373"/>
                  </a:lnTo>
                  <a:lnTo>
                    <a:pt x="1" y="13510"/>
                  </a:lnTo>
                  <a:lnTo>
                    <a:pt x="7806" y="5738"/>
                  </a:lnTo>
                  <a:lnTo>
                    <a:pt x="7806" y="1"/>
                  </a:lnTo>
                  <a:close/>
                </a:path>
              </a:pathLst>
            </a:custGeom>
            <a:solidFill>
              <a:srgbClr val="C3FF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2150;p56">
              <a:extLst>
                <a:ext uri="{FF2B5EF4-FFF2-40B4-BE49-F238E27FC236}">
                  <a16:creationId xmlns:a16="http://schemas.microsoft.com/office/drawing/2014/main" id="{C7BDB1B6-E8A8-4251-67D0-5F0CDABA75F0}"/>
                </a:ext>
              </a:extLst>
            </p:cNvPr>
            <p:cNvSpPr/>
            <p:nvPr/>
          </p:nvSpPr>
          <p:spPr>
            <a:xfrm flipH="1">
              <a:off x="7063861" y="3934935"/>
              <a:ext cx="188910" cy="215574"/>
            </a:xfrm>
            <a:custGeom>
              <a:avLst/>
              <a:gdLst/>
              <a:ahLst/>
              <a:cxnLst/>
              <a:rect l="l" t="t" r="r" b="b"/>
              <a:pathLst>
                <a:path w="7807" h="8908" extrusionOk="0">
                  <a:moveTo>
                    <a:pt x="7806" y="1"/>
                  </a:moveTo>
                  <a:lnTo>
                    <a:pt x="1" y="7773"/>
                  </a:lnTo>
                  <a:lnTo>
                    <a:pt x="1" y="8907"/>
                  </a:lnTo>
                  <a:lnTo>
                    <a:pt x="7806" y="1101"/>
                  </a:lnTo>
                  <a:lnTo>
                    <a:pt x="7806" y="1"/>
                  </a:lnTo>
                  <a:close/>
                </a:path>
              </a:pathLst>
            </a:custGeom>
            <a:solidFill>
              <a:srgbClr val="C3FF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2151;p56">
              <a:extLst>
                <a:ext uri="{FF2B5EF4-FFF2-40B4-BE49-F238E27FC236}">
                  <a16:creationId xmlns:a16="http://schemas.microsoft.com/office/drawing/2014/main" id="{4BAEE97A-216C-3367-EF49-F6F17639A31F}"/>
                </a:ext>
              </a:extLst>
            </p:cNvPr>
            <p:cNvSpPr/>
            <p:nvPr/>
          </p:nvSpPr>
          <p:spPr>
            <a:xfrm flipH="1">
              <a:off x="7528792" y="3309317"/>
              <a:ext cx="188087" cy="1020393"/>
            </a:xfrm>
            <a:custGeom>
              <a:avLst/>
              <a:gdLst/>
              <a:ahLst/>
              <a:cxnLst/>
              <a:rect l="l" t="t" r="r" b="b"/>
              <a:pathLst>
                <a:path w="7773" h="42165" extrusionOk="0">
                  <a:moveTo>
                    <a:pt x="1" y="1"/>
                  </a:moveTo>
                  <a:lnTo>
                    <a:pt x="1" y="42164"/>
                  </a:lnTo>
                  <a:lnTo>
                    <a:pt x="7773" y="42164"/>
                  </a:lnTo>
                  <a:lnTo>
                    <a:pt x="7773" y="1"/>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2152;p56">
              <a:extLst>
                <a:ext uri="{FF2B5EF4-FFF2-40B4-BE49-F238E27FC236}">
                  <a16:creationId xmlns:a16="http://schemas.microsoft.com/office/drawing/2014/main" id="{E091B208-2EF7-FA8A-EA3E-F1E081C6C416}"/>
                </a:ext>
              </a:extLst>
            </p:cNvPr>
            <p:cNvSpPr/>
            <p:nvPr/>
          </p:nvSpPr>
          <p:spPr>
            <a:xfrm flipH="1">
              <a:off x="7528792" y="3500642"/>
              <a:ext cx="188087" cy="328563"/>
            </a:xfrm>
            <a:custGeom>
              <a:avLst/>
              <a:gdLst/>
              <a:ahLst/>
              <a:cxnLst/>
              <a:rect l="l" t="t" r="r" b="b"/>
              <a:pathLst>
                <a:path w="7773" h="13577" extrusionOk="0">
                  <a:moveTo>
                    <a:pt x="7773" y="1"/>
                  </a:moveTo>
                  <a:lnTo>
                    <a:pt x="1" y="7372"/>
                  </a:lnTo>
                  <a:lnTo>
                    <a:pt x="1" y="13577"/>
                  </a:lnTo>
                  <a:lnTo>
                    <a:pt x="7773" y="5771"/>
                  </a:lnTo>
                  <a:lnTo>
                    <a:pt x="7773" y="1"/>
                  </a:lnTo>
                  <a:close/>
                </a:path>
              </a:pathLst>
            </a:custGeom>
            <a:solidFill>
              <a:srgbClr val="C3FF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2153;p56">
              <a:extLst>
                <a:ext uri="{FF2B5EF4-FFF2-40B4-BE49-F238E27FC236}">
                  <a16:creationId xmlns:a16="http://schemas.microsoft.com/office/drawing/2014/main" id="{D5EEC076-6B7B-A951-AB80-29BA1CD1631F}"/>
                </a:ext>
              </a:extLst>
            </p:cNvPr>
            <p:cNvSpPr/>
            <p:nvPr/>
          </p:nvSpPr>
          <p:spPr>
            <a:xfrm flipH="1">
              <a:off x="7528792" y="3423952"/>
              <a:ext cx="188087" cy="214751"/>
            </a:xfrm>
            <a:custGeom>
              <a:avLst/>
              <a:gdLst/>
              <a:ahLst/>
              <a:cxnLst/>
              <a:rect l="l" t="t" r="r" b="b"/>
              <a:pathLst>
                <a:path w="7773" h="8874" extrusionOk="0">
                  <a:moveTo>
                    <a:pt x="7773" y="1"/>
                  </a:moveTo>
                  <a:lnTo>
                    <a:pt x="1" y="7806"/>
                  </a:lnTo>
                  <a:lnTo>
                    <a:pt x="1" y="8874"/>
                  </a:lnTo>
                  <a:lnTo>
                    <a:pt x="7773" y="1068"/>
                  </a:lnTo>
                  <a:lnTo>
                    <a:pt x="7773" y="1"/>
                  </a:lnTo>
                  <a:close/>
                </a:path>
              </a:pathLst>
            </a:custGeom>
            <a:solidFill>
              <a:srgbClr val="C3FF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2154;p56">
              <a:extLst>
                <a:ext uri="{FF2B5EF4-FFF2-40B4-BE49-F238E27FC236}">
                  <a16:creationId xmlns:a16="http://schemas.microsoft.com/office/drawing/2014/main" id="{3637F071-506E-67C6-116D-3D8AFFF7B908}"/>
                </a:ext>
              </a:extLst>
            </p:cNvPr>
            <p:cNvSpPr/>
            <p:nvPr/>
          </p:nvSpPr>
          <p:spPr>
            <a:xfrm flipH="1">
              <a:off x="7591754" y="3353046"/>
              <a:ext cx="61704" cy="54232"/>
            </a:xfrm>
            <a:custGeom>
              <a:avLst/>
              <a:gdLst/>
              <a:ahLst/>
              <a:cxnLst/>
              <a:rect l="l" t="t" r="r" b="b"/>
              <a:pathLst>
                <a:path w="2550" h="2241" extrusionOk="0">
                  <a:moveTo>
                    <a:pt x="1274" y="0"/>
                  </a:moveTo>
                  <a:cubicBezTo>
                    <a:pt x="604" y="0"/>
                    <a:pt x="0" y="611"/>
                    <a:pt x="182" y="1363"/>
                  </a:cubicBezTo>
                  <a:cubicBezTo>
                    <a:pt x="317" y="1926"/>
                    <a:pt x="804" y="2240"/>
                    <a:pt x="1292" y="2240"/>
                  </a:cubicBezTo>
                  <a:cubicBezTo>
                    <a:pt x="1642" y="2240"/>
                    <a:pt x="1993" y="2078"/>
                    <a:pt x="2216" y="1730"/>
                  </a:cubicBezTo>
                  <a:cubicBezTo>
                    <a:pt x="2550" y="1196"/>
                    <a:pt x="2383" y="496"/>
                    <a:pt x="1849" y="162"/>
                  </a:cubicBezTo>
                  <a:cubicBezTo>
                    <a:pt x="1664" y="50"/>
                    <a:pt x="1466" y="0"/>
                    <a:pt x="1274"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2155;p56">
              <a:extLst>
                <a:ext uri="{FF2B5EF4-FFF2-40B4-BE49-F238E27FC236}">
                  <a16:creationId xmlns:a16="http://schemas.microsoft.com/office/drawing/2014/main" id="{8D13592A-9E8B-B331-4D16-2A2A28CC16E7}"/>
                </a:ext>
              </a:extLst>
            </p:cNvPr>
            <p:cNvSpPr/>
            <p:nvPr/>
          </p:nvSpPr>
          <p:spPr>
            <a:xfrm flipH="1">
              <a:off x="7360087" y="3680787"/>
              <a:ext cx="60929" cy="54232"/>
            </a:xfrm>
            <a:custGeom>
              <a:avLst/>
              <a:gdLst/>
              <a:ahLst/>
              <a:cxnLst/>
              <a:rect l="l" t="t" r="r" b="b"/>
              <a:pathLst>
                <a:path w="2518" h="2241" extrusionOk="0">
                  <a:moveTo>
                    <a:pt x="1275" y="0"/>
                  </a:moveTo>
                  <a:cubicBezTo>
                    <a:pt x="605" y="0"/>
                    <a:pt x="1" y="611"/>
                    <a:pt x="182" y="1363"/>
                  </a:cubicBezTo>
                  <a:cubicBezTo>
                    <a:pt x="299" y="1926"/>
                    <a:pt x="788" y="2240"/>
                    <a:pt x="1282" y="2240"/>
                  </a:cubicBezTo>
                  <a:cubicBezTo>
                    <a:pt x="1637" y="2240"/>
                    <a:pt x="1994" y="2078"/>
                    <a:pt x="2217" y="1730"/>
                  </a:cubicBezTo>
                  <a:cubicBezTo>
                    <a:pt x="2517" y="1196"/>
                    <a:pt x="2384" y="496"/>
                    <a:pt x="1850" y="162"/>
                  </a:cubicBezTo>
                  <a:cubicBezTo>
                    <a:pt x="1664" y="50"/>
                    <a:pt x="1467" y="0"/>
                    <a:pt x="1275"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2156;p56">
              <a:extLst>
                <a:ext uri="{FF2B5EF4-FFF2-40B4-BE49-F238E27FC236}">
                  <a16:creationId xmlns:a16="http://schemas.microsoft.com/office/drawing/2014/main" id="{E9BDBBFA-05EA-080F-C89E-B01036A31808}"/>
                </a:ext>
              </a:extLst>
            </p:cNvPr>
            <p:cNvSpPr/>
            <p:nvPr/>
          </p:nvSpPr>
          <p:spPr>
            <a:xfrm flipH="1">
              <a:off x="7127622" y="3903136"/>
              <a:ext cx="61050" cy="53869"/>
            </a:xfrm>
            <a:custGeom>
              <a:avLst/>
              <a:gdLst/>
              <a:ahLst/>
              <a:cxnLst/>
              <a:rect l="l" t="t" r="r" b="b"/>
              <a:pathLst>
                <a:path w="2523" h="2226" extrusionOk="0">
                  <a:moveTo>
                    <a:pt x="1225" y="1"/>
                  </a:moveTo>
                  <a:cubicBezTo>
                    <a:pt x="574" y="1"/>
                    <a:pt x="0" y="606"/>
                    <a:pt x="154" y="1348"/>
                  </a:cubicBezTo>
                  <a:cubicBezTo>
                    <a:pt x="290" y="1911"/>
                    <a:pt x="776" y="2226"/>
                    <a:pt x="1264" y="2226"/>
                  </a:cubicBezTo>
                  <a:cubicBezTo>
                    <a:pt x="1614" y="2226"/>
                    <a:pt x="1966" y="2063"/>
                    <a:pt x="2189" y="1715"/>
                  </a:cubicBezTo>
                  <a:cubicBezTo>
                    <a:pt x="2522" y="1181"/>
                    <a:pt x="2355" y="481"/>
                    <a:pt x="1822" y="181"/>
                  </a:cubicBezTo>
                  <a:cubicBezTo>
                    <a:pt x="1628" y="56"/>
                    <a:pt x="1423" y="1"/>
                    <a:pt x="1225"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2157;p56">
              <a:extLst>
                <a:ext uri="{FF2B5EF4-FFF2-40B4-BE49-F238E27FC236}">
                  <a16:creationId xmlns:a16="http://schemas.microsoft.com/office/drawing/2014/main" id="{C91B6B9C-9200-42C6-E3BB-19CC50FF3B61}"/>
                </a:ext>
              </a:extLst>
            </p:cNvPr>
            <p:cNvSpPr/>
            <p:nvPr/>
          </p:nvSpPr>
          <p:spPr>
            <a:xfrm flipH="1">
              <a:off x="7158304" y="3380368"/>
              <a:ext cx="464132" cy="772561"/>
            </a:xfrm>
            <a:custGeom>
              <a:avLst/>
              <a:gdLst/>
              <a:ahLst/>
              <a:cxnLst/>
              <a:rect l="l" t="t" r="r" b="b"/>
              <a:pathLst>
                <a:path w="19181" h="31924" fill="none" extrusionOk="0">
                  <a:moveTo>
                    <a:pt x="19181" y="22717"/>
                  </a:moveTo>
                  <a:lnTo>
                    <a:pt x="9274" y="31923"/>
                  </a:lnTo>
                  <a:lnTo>
                    <a:pt x="9574" y="13543"/>
                  </a:lnTo>
                  <a:lnTo>
                    <a:pt x="0" y="19481"/>
                  </a:lnTo>
                  <a:lnTo>
                    <a:pt x="0" y="0"/>
                  </a:lnTo>
                </a:path>
              </a:pathLst>
            </a:custGeom>
            <a:noFill/>
            <a:ln w="10850" cap="flat" cmpd="sng">
              <a:solidFill>
                <a:srgbClr val="263238"/>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3" name="Google Shape;2158;p56">
              <a:extLst>
                <a:ext uri="{FF2B5EF4-FFF2-40B4-BE49-F238E27FC236}">
                  <a16:creationId xmlns:a16="http://schemas.microsoft.com/office/drawing/2014/main" id="{6BE5D39C-0488-C224-7E82-C755AF5E492E}"/>
                </a:ext>
              </a:extLst>
            </p:cNvPr>
            <p:cNvGrpSpPr/>
            <p:nvPr/>
          </p:nvGrpSpPr>
          <p:grpSpPr>
            <a:xfrm>
              <a:off x="7290677" y="1080521"/>
              <a:ext cx="1805642" cy="3422364"/>
              <a:chOff x="7290677" y="1080521"/>
              <a:chExt cx="1805642" cy="3422364"/>
            </a:xfrm>
          </p:grpSpPr>
          <p:sp>
            <p:nvSpPr>
              <p:cNvPr id="84" name="Google Shape;2159;p56">
                <a:extLst>
                  <a:ext uri="{FF2B5EF4-FFF2-40B4-BE49-F238E27FC236}">
                    <a16:creationId xmlns:a16="http://schemas.microsoft.com/office/drawing/2014/main" id="{F7DA4ECB-920D-55D7-BC81-1EA2F4270A0E}"/>
                  </a:ext>
                </a:extLst>
              </p:cNvPr>
              <p:cNvSpPr/>
              <p:nvPr/>
            </p:nvSpPr>
            <p:spPr>
              <a:xfrm flipH="1">
                <a:off x="8415861" y="4129479"/>
                <a:ext cx="23423" cy="195391"/>
              </a:xfrm>
              <a:custGeom>
                <a:avLst/>
                <a:gdLst/>
                <a:ahLst/>
                <a:cxnLst/>
                <a:rect l="l" t="t" r="r" b="b"/>
                <a:pathLst>
                  <a:path w="968" h="8074" extrusionOk="0">
                    <a:moveTo>
                      <a:pt x="0" y="1"/>
                    </a:moveTo>
                    <a:lnTo>
                      <a:pt x="0" y="8073"/>
                    </a:lnTo>
                    <a:lnTo>
                      <a:pt x="968" y="8073"/>
                    </a:lnTo>
                    <a:lnTo>
                      <a:pt x="968" y="1"/>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2160;p56">
                <a:extLst>
                  <a:ext uri="{FF2B5EF4-FFF2-40B4-BE49-F238E27FC236}">
                    <a16:creationId xmlns:a16="http://schemas.microsoft.com/office/drawing/2014/main" id="{00E0564D-32DA-9585-EDE9-BCB25D229127}"/>
                  </a:ext>
                </a:extLst>
              </p:cNvPr>
              <p:cNvSpPr/>
              <p:nvPr/>
            </p:nvSpPr>
            <p:spPr>
              <a:xfrm flipH="1">
                <a:off x="8384380" y="2073423"/>
                <a:ext cx="711939" cy="301338"/>
              </a:xfrm>
              <a:custGeom>
                <a:avLst/>
                <a:gdLst/>
                <a:ahLst/>
                <a:cxnLst/>
                <a:rect l="l" t="t" r="r" b="b"/>
                <a:pathLst>
                  <a:path w="29422" h="12452" extrusionOk="0">
                    <a:moveTo>
                      <a:pt x="1868" y="1"/>
                    </a:moveTo>
                    <a:lnTo>
                      <a:pt x="0" y="3637"/>
                    </a:lnTo>
                    <a:lnTo>
                      <a:pt x="2569" y="5305"/>
                    </a:lnTo>
                    <a:cubicBezTo>
                      <a:pt x="2569" y="5305"/>
                      <a:pt x="3814" y="6758"/>
                      <a:pt x="5367" y="6758"/>
                    </a:cubicBezTo>
                    <a:cubicBezTo>
                      <a:pt x="5575" y="6758"/>
                      <a:pt x="5788" y="6732"/>
                      <a:pt x="6005" y="6672"/>
                    </a:cubicBezTo>
                    <a:cubicBezTo>
                      <a:pt x="6005" y="6672"/>
                      <a:pt x="12543" y="10942"/>
                      <a:pt x="17246" y="12043"/>
                    </a:cubicBezTo>
                    <a:cubicBezTo>
                      <a:pt x="18515" y="12331"/>
                      <a:pt x="19522" y="12451"/>
                      <a:pt x="20343" y="12451"/>
                    </a:cubicBezTo>
                    <a:cubicBezTo>
                      <a:pt x="22563" y="12451"/>
                      <a:pt x="23419" y="11570"/>
                      <a:pt x="24418" y="10742"/>
                    </a:cubicBezTo>
                    <a:cubicBezTo>
                      <a:pt x="25786" y="9641"/>
                      <a:pt x="29421" y="4337"/>
                      <a:pt x="29421" y="4337"/>
                    </a:cubicBezTo>
                    <a:lnTo>
                      <a:pt x="23584" y="2803"/>
                    </a:lnTo>
                    <a:cubicBezTo>
                      <a:pt x="23584" y="2803"/>
                      <a:pt x="20915" y="6706"/>
                      <a:pt x="20282" y="7106"/>
                    </a:cubicBezTo>
                    <a:cubicBezTo>
                      <a:pt x="20218" y="7148"/>
                      <a:pt x="20068" y="7169"/>
                      <a:pt x="19845" y="7169"/>
                    </a:cubicBezTo>
                    <a:cubicBezTo>
                      <a:pt x="17954" y="7169"/>
                      <a:pt x="10842" y="5710"/>
                      <a:pt x="7172" y="3770"/>
                    </a:cubicBezTo>
                    <a:lnTo>
                      <a:pt x="5071" y="1102"/>
                    </a:lnTo>
                    <a:lnTo>
                      <a:pt x="1868" y="1"/>
                    </a:lnTo>
                    <a:close/>
                  </a:path>
                </a:pathLst>
              </a:custGeom>
              <a:solidFill>
                <a:srgbClr val="B55B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2161;p56">
                <a:extLst>
                  <a:ext uri="{FF2B5EF4-FFF2-40B4-BE49-F238E27FC236}">
                    <a16:creationId xmlns:a16="http://schemas.microsoft.com/office/drawing/2014/main" id="{65EDA7AC-B263-3E56-899C-B1FB442456A9}"/>
                  </a:ext>
                </a:extLst>
              </p:cNvPr>
              <p:cNvSpPr/>
              <p:nvPr/>
            </p:nvSpPr>
            <p:spPr>
              <a:xfrm flipH="1">
                <a:off x="7290677" y="1080521"/>
                <a:ext cx="625578" cy="801625"/>
              </a:xfrm>
              <a:custGeom>
                <a:avLst/>
                <a:gdLst/>
                <a:ahLst/>
                <a:cxnLst/>
                <a:rect l="l" t="t" r="r" b="b"/>
                <a:pathLst>
                  <a:path w="25853" h="33125" extrusionOk="0">
                    <a:moveTo>
                      <a:pt x="19781" y="1"/>
                    </a:moveTo>
                    <a:lnTo>
                      <a:pt x="19114" y="4170"/>
                    </a:lnTo>
                    <a:lnTo>
                      <a:pt x="20348" y="7840"/>
                    </a:lnTo>
                    <a:cubicBezTo>
                      <a:pt x="19448" y="14878"/>
                      <a:pt x="14044" y="21483"/>
                      <a:pt x="14044" y="21483"/>
                    </a:cubicBezTo>
                    <a:cubicBezTo>
                      <a:pt x="10508" y="24118"/>
                      <a:pt x="1" y="27320"/>
                      <a:pt x="1" y="27320"/>
                    </a:cubicBezTo>
                    <a:lnTo>
                      <a:pt x="468" y="33124"/>
                    </a:lnTo>
                    <a:cubicBezTo>
                      <a:pt x="468" y="33124"/>
                      <a:pt x="13977" y="29555"/>
                      <a:pt x="18314" y="24251"/>
                    </a:cubicBezTo>
                    <a:cubicBezTo>
                      <a:pt x="22650" y="18914"/>
                      <a:pt x="23317" y="8707"/>
                      <a:pt x="23317" y="8707"/>
                    </a:cubicBezTo>
                    <a:cubicBezTo>
                      <a:pt x="25852" y="5271"/>
                      <a:pt x="23751" y="901"/>
                      <a:pt x="23751" y="901"/>
                    </a:cubicBezTo>
                    <a:lnTo>
                      <a:pt x="19781" y="1"/>
                    </a:lnTo>
                    <a:close/>
                  </a:path>
                </a:pathLst>
              </a:custGeom>
              <a:solidFill>
                <a:srgbClr val="B55B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2162;p56">
                <a:extLst>
                  <a:ext uri="{FF2B5EF4-FFF2-40B4-BE49-F238E27FC236}">
                    <a16:creationId xmlns:a16="http://schemas.microsoft.com/office/drawing/2014/main" id="{2525F5A1-3F09-7002-0FA6-4B8ADD3649E0}"/>
                  </a:ext>
                </a:extLst>
              </p:cNvPr>
              <p:cNvSpPr/>
              <p:nvPr/>
            </p:nvSpPr>
            <p:spPr>
              <a:xfrm flipH="1">
                <a:off x="7682144" y="1663354"/>
                <a:ext cx="883862" cy="1018772"/>
              </a:xfrm>
              <a:custGeom>
                <a:avLst/>
                <a:gdLst/>
                <a:ahLst/>
                <a:cxnLst/>
                <a:rect l="l" t="t" r="r" b="b"/>
                <a:pathLst>
                  <a:path w="36527" h="42098" extrusionOk="0">
                    <a:moveTo>
                      <a:pt x="32190" y="1"/>
                    </a:moveTo>
                    <a:cubicBezTo>
                      <a:pt x="32190" y="1"/>
                      <a:pt x="26919" y="1535"/>
                      <a:pt x="22383" y="1535"/>
                    </a:cubicBezTo>
                    <a:cubicBezTo>
                      <a:pt x="16312" y="1535"/>
                      <a:pt x="10241" y="6105"/>
                      <a:pt x="6938" y="7406"/>
                    </a:cubicBezTo>
                    <a:cubicBezTo>
                      <a:pt x="3636" y="8707"/>
                      <a:pt x="0" y="19915"/>
                      <a:pt x="0" y="19915"/>
                    </a:cubicBezTo>
                    <a:lnTo>
                      <a:pt x="7606" y="23984"/>
                    </a:lnTo>
                    <a:lnTo>
                      <a:pt x="9040" y="19781"/>
                    </a:lnTo>
                    <a:cubicBezTo>
                      <a:pt x="9040" y="19781"/>
                      <a:pt x="11075" y="35292"/>
                      <a:pt x="11075" y="42097"/>
                    </a:cubicBezTo>
                    <a:lnTo>
                      <a:pt x="30622" y="41797"/>
                    </a:lnTo>
                    <a:lnTo>
                      <a:pt x="29755" y="10942"/>
                    </a:lnTo>
                    <a:lnTo>
                      <a:pt x="36526" y="7706"/>
                    </a:lnTo>
                    <a:lnTo>
                      <a:pt x="32190" y="1"/>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2163;p56">
                <a:extLst>
                  <a:ext uri="{FF2B5EF4-FFF2-40B4-BE49-F238E27FC236}">
                    <a16:creationId xmlns:a16="http://schemas.microsoft.com/office/drawing/2014/main" id="{5A2CEF86-ABEE-B93A-4AB7-C0057E61C28B}"/>
                  </a:ext>
                </a:extLst>
              </p:cNvPr>
              <p:cNvSpPr/>
              <p:nvPr/>
            </p:nvSpPr>
            <p:spPr>
              <a:xfrm flipH="1">
                <a:off x="7682144" y="1663354"/>
                <a:ext cx="883862" cy="1018772"/>
              </a:xfrm>
              <a:custGeom>
                <a:avLst/>
                <a:gdLst/>
                <a:ahLst/>
                <a:cxnLst/>
                <a:rect l="l" t="t" r="r" b="b"/>
                <a:pathLst>
                  <a:path w="36527" h="42098" extrusionOk="0">
                    <a:moveTo>
                      <a:pt x="32190" y="1"/>
                    </a:moveTo>
                    <a:cubicBezTo>
                      <a:pt x="32190" y="1"/>
                      <a:pt x="26919" y="1535"/>
                      <a:pt x="22383" y="1535"/>
                    </a:cubicBezTo>
                    <a:cubicBezTo>
                      <a:pt x="16312" y="1535"/>
                      <a:pt x="10241" y="6105"/>
                      <a:pt x="6938" y="7406"/>
                    </a:cubicBezTo>
                    <a:cubicBezTo>
                      <a:pt x="3636" y="8707"/>
                      <a:pt x="0" y="19915"/>
                      <a:pt x="0" y="19915"/>
                    </a:cubicBezTo>
                    <a:lnTo>
                      <a:pt x="7606" y="23984"/>
                    </a:lnTo>
                    <a:lnTo>
                      <a:pt x="9040" y="19781"/>
                    </a:lnTo>
                    <a:cubicBezTo>
                      <a:pt x="9040" y="19781"/>
                      <a:pt x="11075" y="35292"/>
                      <a:pt x="11075" y="42097"/>
                    </a:cubicBezTo>
                    <a:lnTo>
                      <a:pt x="30622" y="41797"/>
                    </a:lnTo>
                    <a:lnTo>
                      <a:pt x="29755" y="10942"/>
                    </a:lnTo>
                    <a:lnTo>
                      <a:pt x="36526" y="7706"/>
                    </a:lnTo>
                    <a:lnTo>
                      <a:pt x="32190"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2164;p56">
                <a:extLst>
                  <a:ext uri="{FF2B5EF4-FFF2-40B4-BE49-F238E27FC236}">
                    <a16:creationId xmlns:a16="http://schemas.microsoft.com/office/drawing/2014/main" id="{2E5A7999-35DB-DA1F-AC00-3D0DBB87C823}"/>
                  </a:ext>
                </a:extLst>
              </p:cNvPr>
              <p:cNvSpPr/>
              <p:nvPr/>
            </p:nvSpPr>
            <p:spPr>
              <a:xfrm flipH="1">
                <a:off x="7965473" y="1180806"/>
                <a:ext cx="473811" cy="451717"/>
              </a:xfrm>
              <a:custGeom>
                <a:avLst/>
                <a:gdLst/>
                <a:ahLst/>
                <a:cxnLst/>
                <a:rect l="l" t="t" r="r" b="b"/>
                <a:pathLst>
                  <a:path w="19581" h="18666" extrusionOk="0">
                    <a:moveTo>
                      <a:pt x="10768" y="1"/>
                    </a:moveTo>
                    <a:cubicBezTo>
                      <a:pt x="10448" y="1"/>
                      <a:pt x="10027" y="56"/>
                      <a:pt x="9474" y="193"/>
                    </a:cubicBezTo>
                    <a:cubicBezTo>
                      <a:pt x="6838" y="793"/>
                      <a:pt x="4704" y="2595"/>
                      <a:pt x="3669" y="5063"/>
                    </a:cubicBezTo>
                    <a:cubicBezTo>
                      <a:pt x="0" y="6364"/>
                      <a:pt x="2869" y="10667"/>
                      <a:pt x="2869" y="10667"/>
                    </a:cubicBezTo>
                    <a:cubicBezTo>
                      <a:pt x="634" y="13769"/>
                      <a:pt x="3803" y="15004"/>
                      <a:pt x="3803" y="15004"/>
                    </a:cubicBezTo>
                    <a:cubicBezTo>
                      <a:pt x="4538" y="18314"/>
                      <a:pt x="7963" y="18665"/>
                      <a:pt x="9386" y="18665"/>
                    </a:cubicBezTo>
                    <a:cubicBezTo>
                      <a:pt x="9769" y="18665"/>
                      <a:pt x="10007" y="18640"/>
                      <a:pt x="10007" y="18640"/>
                    </a:cubicBezTo>
                    <a:lnTo>
                      <a:pt x="14744" y="5197"/>
                    </a:lnTo>
                    <a:cubicBezTo>
                      <a:pt x="14744" y="5197"/>
                      <a:pt x="19581" y="3996"/>
                      <a:pt x="18680" y="1327"/>
                    </a:cubicBezTo>
                    <a:cubicBezTo>
                      <a:pt x="18370" y="374"/>
                      <a:pt x="17380" y="68"/>
                      <a:pt x="16234" y="68"/>
                    </a:cubicBezTo>
                    <a:cubicBezTo>
                      <a:pt x="14173" y="68"/>
                      <a:pt x="11608" y="1060"/>
                      <a:pt x="11608" y="1060"/>
                    </a:cubicBezTo>
                    <a:cubicBezTo>
                      <a:pt x="11608" y="1060"/>
                      <a:pt x="12160" y="1"/>
                      <a:pt x="10768"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2165;p56">
                <a:extLst>
                  <a:ext uri="{FF2B5EF4-FFF2-40B4-BE49-F238E27FC236}">
                    <a16:creationId xmlns:a16="http://schemas.microsoft.com/office/drawing/2014/main" id="{B77A1D67-F44D-DAE0-70F6-B5FB5563E02F}"/>
                  </a:ext>
                </a:extLst>
              </p:cNvPr>
              <p:cNvSpPr/>
              <p:nvPr/>
            </p:nvSpPr>
            <p:spPr>
              <a:xfrm flipH="1">
                <a:off x="8004213" y="1305750"/>
                <a:ext cx="331022" cy="465971"/>
              </a:xfrm>
              <a:custGeom>
                <a:avLst/>
                <a:gdLst/>
                <a:ahLst/>
                <a:cxnLst/>
                <a:rect l="l" t="t" r="r" b="b"/>
                <a:pathLst>
                  <a:path w="13680" h="19255" extrusionOk="0">
                    <a:moveTo>
                      <a:pt x="10411" y="0"/>
                    </a:moveTo>
                    <a:cubicBezTo>
                      <a:pt x="8025" y="1457"/>
                      <a:pt x="5251" y="1725"/>
                      <a:pt x="3536" y="1725"/>
                    </a:cubicBezTo>
                    <a:cubicBezTo>
                      <a:pt x="2543" y="1725"/>
                      <a:pt x="1905" y="1635"/>
                      <a:pt x="1905" y="1635"/>
                    </a:cubicBezTo>
                    <a:lnTo>
                      <a:pt x="1905" y="1635"/>
                    </a:lnTo>
                    <a:cubicBezTo>
                      <a:pt x="4340" y="2869"/>
                      <a:pt x="3572" y="6939"/>
                      <a:pt x="3572" y="6939"/>
                    </a:cubicBezTo>
                    <a:cubicBezTo>
                      <a:pt x="2858" y="6609"/>
                      <a:pt x="2276" y="6473"/>
                      <a:pt x="1812" y="6473"/>
                    </a:cubicBezTo>
                    <a:cubicBezTo>
                      <a:pt x="68" y="6473"/>
                      <a:pt x="1" y="8404"/>
                      <a:pt x="871" y="9274"/>
                    </a:cubicBezTo>
                    <a:cubicBezTo>
                      <a:pt x="1535" y="9959"/>
                      <a:pt x="2549" y="10088"/>
                      <a:pt x="3219" y="10088"/>
                    </a:cubicBezTo>
                    <a:cubicBezTo>
                      <a:pt x="3626" y="10088"/>
                      <a:pt x="3906" y="10041"/>
                      <a:pt x="3906" y="10041"/>
                    </a:cubicBezTo>
                    <a:cubicBezTo>
                      <a:pt x="4473" y="12743"/>
                      <a:pt x="4506" y="15511"/>
                      <a:pt x="4006" y="18213"/>
                    </a:cubicBezTo>
                    <a:cubicBezTo>
                      <a:pt x="4006" y="18213"/>
                      <a:pt x="5641" y="18814"/>
                      <a:pt x="9076" y="19214"/>
                    </a:cubicBezTo>
                    <a:cubicBezTo>
                      <a:pt x="9337" y="19242"/>
                      <a:pt x="9576" y="19255"/>
                      <a:pt x="9796" y="19255"/>
                    </a:cubicBezTo>
                    <a:cubicBezTo>
                      <a:pt x="12473" y="19255"/>
                      <a:pt x="12245" y="17346"/>
                      <a:pt x="12245" y="17346"/>
                    </a:cubicBezTo>
                    <a:cubicBezTo>
                      <a:pt x="10144" y="16712"/>
                      <a:pt x="9277" y="14711"/>
                      <a:pt x="9076" y="13443"/>
                    </a:cubicBezTo>
                    <a:cubicBezTo>
                      <a:pt x="9043" y="13210"/>
                      <a:pt x="9010" y="12976"/>
                      <a:pt x="8976" y="12709"/>
                    </a:cubicBezTo>
                    <a:cubicBezTo>
                      <a:pt x="8976" y="12709"/>
                      <a:pt x="12746" y="12142"/>
                      <a:pt x="13213" y="8173"/>
                    </a:cubicBezTo>
                    <a:cubicBezTo>
                      <a:pt x="13680" y="4170"/>
                      <a:pt x="10411" y="0"/>
                      <a:pt x="10411" y="0"/>
                    </a:cubicBezTo>
                    <a:close/>
                  </a:path>
                </a:pathLst>
              </a:custGeom>
              <a:solidFill>
                <a:srgbClr val="B55B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2166;p56">
                <a:extLst>
                  <a:ext uri="{FF2B5EF4-FFF2-40B4-BE49-F238E27FC236}">
                    <a16:creationId xmlns:a16="http://schemas.microsoft.com/office/drawing/2014/main" id="{A11EA10A-5F3F-772D-92CC-48DB29D697EB}"/>
                  </a:ext>
                </a:extLst>
              </p:cNvPr>
              <p:cNvSpPr/>
              <p:nvPr/>
            </p:nvSpPr>
            <p:spPr>
              <a:xfrm flipH="1">
                <a:off x="8097833" y="1488170"/>
                <a:ext cx="62986" cy="28290"/>
              </a:xfrm>
              <a:custGeom>
                <a:avLst/>
                <a:gdLst/>
                <a:ahLst/>
                <a:cxnLst/>
                <a:rect l="l" t="t" r="r" b="b"/>
                <a:pathLst>
                  <a:path w="2603" h="1169" fill="none" extrusionOk="0">
                    <a:moveTo>
                      <a:pt x="2602" y="368"/>
                    </a:moveTo>
                    <a:cubicBezTo>
                      <a:pt x="2602" y="368"/>
                      <a:pt x="1401" y="1168"/>
                      <a:pt x="0" y="1"/>
                    </a:cubicBezTo>
                  </a:path>
                </a:pathLst>
              </a:custGeom>
              <a:noFill/>
              <a:ln w="7500" cap="rnd" cmpd="sng">
                <a:solidFill>
                  <a:srgbClr val="26323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2167;p56">
                <a:extLst>
                  <a:ext uri="{FF2B5EF4-FFF2-40B4-BE49-F238E27FC236}">
                    <a16:creationId xmlns:a16="http://schemas.microsoft.com/office/drawing/2014/main" id="{9F80F5A0-A4FD-1FCE-BDC1-054979A8C31F}"/>
                  </a:ext>
                </a:extLst>
              </p:cNvPr>
              <p:cNvSpPr/>
              <p:nvPr/>
            </p:nvSpPr>
            <p:spPr>
              <a:xfrm flipH="1">
                <a:off x="8148696" y="1398291"/>
                <a:ext cx="20205" cy="27031"/>
              </a:xfrm>
              <a:custGeom>
                <a:avLst/>
                <a:gdLst/>
                <a:ahLst/>
                <a:cxnLst/>
                <a:rect l="l" t="t" r="r" b="b"/>
                <a:pathLst>
                  <a:path w="835" h="1117" extrusionOk="0">
                    <a:moveTo>
                      <a:pt x="362" y="1"/>
                    </a:moveTo>
                    <a:cubicBezTo>
                      <a:pt x="341" y="1"/>
                      <a:pt x="320" y="5"/>
                      <a:pt x="301" y="12"/>
                    </a:cubicBezTo>
                    <a:cubicBezTo>
                      <a:pt x="101" y="46"/>
                      <a:pt x="1" y="346"/>
                      <a:pt x="101" y="646"/>
                    </a:cubicBezTo>
                    <a:cubicBezTo>
                      <a:pt x="163" y="924"/>
                      <a:pt x="339" y="1117"/>
                      <a:pt x="524" y="1117"/>
                    </a:cubicBezTo>
                    <a:cubicBezTo>
                      <a:pt x="539" y="1117"/>
                      <a:pt x="553" y="1116"/>
                      <a:pt x="568" y="1113"/>
                    </a:cubicBezTo>
                    <a:cubicBezTo>
                      <a:pt x="735" y="1046"/>
                      <a:pt x="835" y="780"/>
                      <a:pt x="768" y="479"/>
                    </a:cubicBezTo>
                    <a:cubicBezTo>
                      <a:pt x="709" y="214"/>
                      <a:pt x="520" y="1"/>
                      <a:pt x="362"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2168;p56">
                <a:extLst>
                  <a:ext uri="{FF2B5EF4-FFF2-40B4-BE49-F238E27FC236}">
                    <a16:creationId xmlns:a16="http://schemas.microsoft.com/office/drawing/2014/main" id="{F1C61909-CD72-82BF-BF95-306B064E7569}"/>
                  </a:ext>
                </a:extLst>
              </p:cNvPr>
              <p:cNvSpPr/>
              <p:nvPr/>
            </p:nvSpPr>
            <p:spPr>
              <a:xfrm flipH="1">
                <a:off x="8069594" y="1368622"/>
                <a:ext cx="20205" cy="27031"/>
              </a:xfrm>
              <a:custGeom>
                <a:avLst/>
                <a:gdLst/>
                <a:ahLst/>
                <a:cxnLst/>
                <a:rect l="l" t="t" r="r" b="b"/>
                <a:pathLst>
                  <a:path w="835" h="1117" extrusionOk="0">
                    <a:moveTo>
                      <a:pt x="339" y="0"/>
                    </a:moveTo>
                    <a:cubicBezTo>
                      <a:pt x="326" y="0"/>
                      <a:pt x="313" y="2"/>
                      <a:pt x="301" y="4"/>
                    </a:cubicBezTo>
                    <a:cubicBezTo>
                      <a:pt x="101" y="37"/>
                      <a:pt x="1" y="338"/>
                      <a:pt x="101" y="638"/>
                    </a:cubicBezTo>
                    <a:cubicBezTo>
                      <a:pt x="160" y="903"/>
                      <a:pt x="323" y="1116"/>
                      <a:pt x="498" y="1116"/>
                    </a:cubicBezTo>
                    <a:cubicBezTo>
                      <a:pt x="521" y="1116"/>
                      <a:pt x="545" y="1113"/>
                      <a:pt x="568" y="1105"/>
                    </a:cubicBezTo>
                    <a:cubicBezTo>
                      <a:pt x="735" y="1072"/>
                      <a:pt x="835" y="771"/>
                      <a:pt x="768" y="471"/>
                    </a:cubicBezTo>
                    <a:cubicBezTo>
                      <a:pt x="706" y="193"/>
                      <a:pt x="501" y="0"/>
                      <a:pt x="339"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2169;p56">
                <a:extLst>
                  <a:ext uri="{FF2B5EF4-FFF2-40B4-BE49-F238E27FC236}">
                    <a16:creationId xmlns:a16="http://schemas.microsoft.com/office/drawing/2014/main" id="{86519678-47A8-B855-5438-C48987B246C4}"/>
                  </a:ext>
                </a:extLst>
              </p:cNvPr>
              <p:cNvSpPr/>
              <p:nvPr/>
            </p:nvSpPr>
            <p:spPr>
              <a:xfrm flipH="1">
                <a:off x="8172095" y="1359837"/>
                <a:ext cx="25867" cy="30686"/>
              </a:xfrm>
              <a:custGeom>
                <a:avLst/>
                <a:gdLst/>
                <a:ahLst/>
                <a:cxnLst/>
                <a:rect l="l" t="t" r="r" b="b"/>
                <a:pathLst>
                  <a:path w="1069" h="1268" fill="none" extrusionOk="0">
                    <a:moveTo>
                      <a:pt x="1068" y="0"/>
                    </a:moveTo>
                    <a:cubicBezTo>
                      <a:pt x="501" y="167"/>
                      <a:pt x="68" y="667"/>
                      <a:pt x="1" y="1268"/>
                    </a:cubicBezTo>
                  </a:path>
                </a:pathLst>
              </a:custGeom>
              <a:noFill/>
              <a:ln w="10000" cap="rnd" cmpd="sng">
                <a:solidFill>
                  <a:srgbClr val="26323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2170;p56">
                <a:extLst>
                  <a:ext uri="{FF2B5EF4-FFF2-40B4-BE49-F238E27FC236}">
                    <a16:creationId xmlns:a16="http://schemas.microsoft.com/office/drawing/2014/main" id="{553E998A-556C-2CC9-9077-81D7F193C905}"/>
                  </a:ext>
                </a:extLst>
              </p:cNvPr>
              <p:cNvSpPr/>
              <p:nvPr/>
            </p:nvSpPr>
            <p:spPr>
              <a:xfrm flipH="1">
                <a:off x="8064755" y="1321093"/>
                <a:ext cx="33102" cy="13746"/>
              </a:xfrm>
              <a:custGeom>
                <a:avLst/>
                <a:gdLst/>
                <a:ahLst/>
                <a:cxnLst/>
                <a:rect l="l" t="t" r="r" b="b"/>
                <a:pathLst>
                  <a:path w="1368" h="568" fill="none" extrusionOk="0">
                    <a:moveTo>
                      <a:pt x="1368" y="567"/>
                    </a:moveTo>
                    <a:cubicBezTo>
                      <a:pt x="1368" y="567"/>
                      <a:pt x="634" y="0"/>
                      <a:pt x="0" y="467"/>
                    </a:cubicBezTo>
                  </a:path>
                </a:pathLst>
              </a:custGeom>
              <a:noFill/>
              <a:ln w="10000" cap="rnd" cmpd="sng">
                <a:solidFill>
                  <a:srgbClr val="26323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2171;p56">
                <a:extLst>
                  <a:ext uri="{FF2B5EF4-FFF2-40B4-BE49-F238E27FC236}">
                    <a16:creationId xmlns:a16="http://schemas.microsoft.com/office/drawing/2014/main" id="{314D035C-CC5B-841E-6CBA-88970C4DACB4}"/>
                  </a:ext>
                </a:extLst>
              </p:cNvPr>
              <p:cNvSpPr/>
              <p:nvPr/>
            </p:nvSpPr>
            <p:spPr>
              <a:xfrm flipH="1">
                <a:off x="8051035" y="1397759"/>
                <a:ext cx="53283" cy="62146"/>
              </a:xfrm>
              <a:custGeom>
                <a:avLst/>
                <a:gdLst/>
                <a:ahLst/>
                <a:cxnLst/>
                <a:rect l="l" t="t" r="r" b="b"/>
                <a:pathLst>
                  <a:path w="2202" h="2568" extrusionOk="0">
                    <a:moveTo>
                      <a:pt x="0" y="1"/>
                    </a:moveTo>
                    <a:lnTo>
                      <a:pt x="801" y="2536"/>
                    </a:lnTo>
                    <a:cubicBezTo>
                      <a:pt x="891" y="2557"/>
                      <a:pt x="981" y="2568"/>
                      <a:pt x="1070" y="2568"/>
                    </a:cubicBezTo>
                    <a:cubicBezTo>
                      <a:pt x="1540" y="2568"/>
                      <a:pt x="1977" y="2279"/>
                      <a:pt x="2202" y="1802"/>
                    </a:cubicBezTo>
                    <a:lnTo>
                      <a:pt x="0" y="1"/>
                    </a:lnTo>
                    <a:close/>
                  </a:path>
                </a:pathLst>
              </a:custGeom>
              <a:solidFill>
                <a:srgbClr val="A0272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2172;p56">
                <a:extLst>
                  <a:ext uri="{FF2B5EF4-FFF2-40B4-BE49-F238E27FC236}">
                    <a16:creationId xmlns:a16="http://schemas.microsoft.com/office/drawing/2014/main" id="{AE8826CC-87E0-8E6A-64C1-C4F94B1C0EAD}"/>
                  </a:ext>
                </a:extLst>
              </p:cNvPr>
              <p:cNvSpPr/>
              <p:nvPr/>
            </p:nvSpPr>
            <p:spPr>
              <a:xfrm flipH="1">
                <a:off x="8115594" y="1613308"/>
                <a:ext cx="43604" cy="19263"/>
              </a:xfrm>
              <a:custGeom>
                <a:avLst/>
                <a:gdLst/>
                <a:ahLst/>
                <a:cxnLst/>
                <a:rect l="l" t="t" r="r" b="b"/>
                <a:pathLst>
                  <a:path w="1802" h="796" extrusionOk="0">
                    <a:moveTo>
                      <a:pt x="1701" y="0"/>
                    </a:moveTo>
                    <a:cubicBezTo>
                      <a:pt x="1701" y="0"/>
                      <a:pt x="634" y="234"/>
                      <a:pt x="0" y="301"/>
                    </a:cubicBezTo>
                    <a:cubicBezTo>
                      <a:pt x="406" y="625"/>
                      <a:pt x="920" y="796"/>
                      <a:pt x="1438" y="796"/>
                    </a:cubicBezTo>
                    <a:cubicBezTo>
                      <a:pt x="1560" y="796"/>
                      <a:pt x="1681" y="787"/>
                      <a:pt x="1801" y="768"/>
                    </a:cubicBezTo>
                    <a:cubicBezTo>
                      <a:pt x="1768" y="501"/>
                      <a:pt x="1735" y="267"/>
                      <a:pt x="1701" y="0"/>
                    </a:cubicBez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2173;p56">
                <a:extLst>
                  <a:ext uri="{FF2B5EF4-FFF2-40B4-BE49-F238E27FC236}">
                    <a16:creationId xmlns:a16="http://schemas.microsoft.com/office/drawing/2014/main" id="{C57EC06D-195D-69C3-76B8-3B90EA3F340D}"/>
                  </a:ext>
                </a:extLst>
              </p:cNvPr>
              <p:cNvSpPr/>
              <p:nvPr/>
            </p:nvSpPr>
            <p:spPr>
              <a:xfrm flipH="1">
                <a:off x="8070393" y="1766760"/>
                <a:ext cx="88539" cy="106504"/>
              </a:xfrm>
              <a:custGeom>
                <a:avLst/>
                <a:gdLst/>
                <a:ahLst/>
                <a:cxnLst/>
                <a:rect l="l" t="t" r="r" b="b"/>
                <a:pathLst>
                  <a:path w="3659" h="4401" extrusionOk="0">
                    <a:moveTo>
                      <a:pt x="2897" y="0"/>
                    </a:moveTo>
                    <a:cubicBezTo>
                      <a:pt x="1549" y="0"/>
                      <a:pt x="0" y="1525"/>
                      <a:pt x="56" y="2165"/>
                    </a:cubicBezTo>
                    <a:cubicBezTo>
                      <a:pt x="156" y="2933"/>
                      <a:pt x="1657" y="4400"/>
                      <a:pt x="1657" y="4400"/>
                    </a:cubicBezTo>
                    <a:lnTo>
                      <a:pt x="3625" y="4200"/>
                    </a:lnTo>
                    <a:lnTo>
                      <a:pt x="3658" y="197"/>
                    </a:lnTo>
                    <a:cubicBezTo>
                      <a:pt x="3422" y="60"/>
                      <a:pt x="3163" y="0"/>
                      <a:pt x="2897"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2174;p56">
                <a:extLst>
                  <a:ext uri="{FF2B5EF4-FFF2-40B4-BE49-F238E27FC236}">
                    <a16:creationId xmlns:a16="http://schemas.microsoft.com/office/drawing/2014/main" id="{AC5B6490-0C1B-16C7-DC8D-58F823CE4010}"/>
                  </a:ext>
                </a:extLst>
              </p:cNvPr>
              <p:cNvSpPr/>
              <p:nvPr/>
            </p:nvSpPr>
            <p:spPr>
              <a:xfrm flipH="1">
                <a:off x="7972732" y="1858696"/>
                <a:ext cx="139668" cy="471464"/>
              </a:xfrm>
              <a:custGeom>
                <a:avLst/>
                <a:gdLst/>
                <a:ahLst/>
                <a:cxnLst/>
                <a:rect l="l" t="t" r="r" b="b"/>
                <a:pathLst>
                  <a:path w="5772" h="19482" extrusionOk="0">
                    <a:moveTo>
                      <a:pt x="1402" y="1"/>
                    </a:moveTo>
                    <a:lnTo>
                      <a:pt x="1" y="168"/>
                    </a:lnTo>
                    <a:lnTo>
                      <a:pt x="1469" y="16746"/>
                    </a:lnTo>
                    <a:lnTo>
                      <a:pt x="4170" y="19482"/>
                    </a:lnTo>
                    <a:lnTo>
                      <a:pt x="5772" y="16246"/>
                    </a:lnTo>
                    <a:cubicBezTo>
                      <a:pt x="4371" y="10842"/>
                      <a:pt x="1402" y="1"/>
                      <a:pt x="1402"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2175;p56">
                <a:extLst>
                  <a:ext uri="{FF2B5EF4-FFF2-40B4-BE49-F238E27FC236}">
                    <a16:creationId xmlns:a16="http://schemas.microsoft.com/office/drawing/2014/main" id="{30E5E506-1777-A3B4-7D87-A335D7B87789}"/>
                  </a:ext>
                </a:extLst>
              </p:cNvPr>
              <p:cNvSpPr/>
              <p:nvPr/>
            </p:nvSpPr>
            <p:spPr>
              <a:xfrm flipH="1">
                <a:off x="7709584" y="2565844"/>
                <a:ext cx="731321" cy="1693637"/>
              </a:xfrm>
              <a:custGeom>
                <a:avLst/>
                <a:gdLst/>
                <a:ahLst/>
                <a:cxnLst/>
                <a:rect l="l" t="t" r="r" b="b"/>
                <a:pathLst>
                  <a:path w="30223" h="69985" extrusionOk="0">
                    <a:moveTo>
                      <a:pt x="25319" y="1"/>
                    </a:moveTo>
                    <a:lnTo>
                      <a:pt x="5771" y="835"/>
                    </a:lnTo>
                    <a:cubicBezTo>
                      <a:pt x="5771" y="835"/>
                      <a:pt x="6205" y="25152"/>
                      <a:pt x="5838" y="31090"/>
                    </a:cubicBezTo>
                    <a:cubicBezTo>
                      <a:pt x="5438" y="36994"/>
                      <a:pt x="4437" y="52805"/>
                      <a:pt x="0" y="65481"/>
                    </a:cubicBezTo>
                    <a:lnTo>
                      <a:pt x="5671" y="68116"/>
                    </a:lnTo>
                    <a:cubicBezTo>
                      <a:pt x="5671" y="68116"/>
                      <a:pt x="12910" y="52739"/>
                      <a:pt x="14611" y="42264"/>
                    </a:cubicBezTo>
                    <a:cubicBezTo>
                      <a:pt x="16312" y="31757"/>
                      <a:pt x="16946" y="18080"/>
                      <a:pt x="16946" y="18080"/>
                    </a:cubicBezTo>
                    <a:cubicBezTo>
                      <a:pt x="16946" y="18080"/>
                      <a:pt x="18847" y="26286"/>
                      <a:pt x="19748" y="33959"/>
                    </a:cubicBezTo>
                    <a:cubicBezTo>
                      <a:pt x="19948" y="35560"/>
                      <a:pt x="20081" y="37127"/>
                      <a:pt x="20182" y="38629"/>
                    </a:cubicBezTo>
                    <a:cubicBezTo>
                      <a:pt x="20649" y="47168"/>
                      <a:pt x="22483" y="69984"/>
                      <a:pt x="22483" y="69984"/>
                    </a:cubicBezTo>
                    <a:lnTo>
                      <a:pt x="28454" y="69050"/>
                    </a:lnTo>
                    <a:cubicBezTo>
                      <a:pt x="28454" y="69050"/>
                      <a:pt x="30222" y="44800"/>
                      <a:pt x="29955" y="37528"/>
                    </a:cubicBezTo>
                    <a:cubicBezTo>
                      <a:pt x="29688" y="30256"/>
                      <a:pt x="27220" y="9207"/>
                      <a:pt x="25319"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2176;p56">
                <a:extLst>
                  <a:ext uri="{FF2B5EF4-FFF2-40B4-BE49-F238E27FC236}">
                    <a16:creationId xmlns:a16="http://schemas.microsoft.com/office/drawing/2014/main" id="{AA6153EF-887F-95B9-D997-F9BCB7329A7A}"/>
                  </a:ext>
                </a:extLst>
              </p:cNvPr>
              <p:cNvSpPr/>
              <p:nvPr/>
            </p:nvSpPr>
            <p:spPr>
              <a:xfrm flipH="1">
                <a:off x="7770126" y="4278817"/>
                <a:ext cx="94467" cy="135641"/>
              </a:xfrm>
              <a:custGeom>
                <a:avLst/>
                <a:gdLst/>
                <a:ahLst/>
                <a:cxnLst/>
                <a:rect l="l" t="t" r="r" b="b"/>
                <a:pathLst>
                  <a:path w="3904" h="5605" extrusionOk="0">
                    <a:moveTo>
                      <a:pt x="3570" y="1"/>
                    </a:moveTo>
                    <a:lnTo>
                      <a:pt x="0" y="234"/>
                    </a:lnTo>
                    <a:lnTo>
                      <a:pt x="367" y="5605"/>
                    </a:lnTo>
                    <a:lnTo>
                      <a:pt x="3903" y="4804"/>
                    </a:lnTo>
                    <a:lnTo>
                      <a:pt x="3570" y="1"/>
                    </a:lnTo>
                    <a:close/>
                  </a:path>
                </a:pathLst>
              </a:custGeom>
              <a:solidFill>
                <a:srgbClr val="B55B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2177;p56">
                <a:extLst>
                  <a:ext uri="{FF2B5EF4-FFF2-40B4-BE49-F238E27FC236}">
                    <a16:creationId xmlns:a16="http://schemas.microsoft.com/office/drawing/2014/main" id="{256105AC-8697-C611-879F-3306BABF4B3C}"/>
                  </a:ext>
                </a:extLst>
              </p:cNvPr>
              <p:cNvSpPr/>
              <p:nvPr/>
            </p:nvSpPr>
            <p:spPr>
              <a:xfrm flipH="1">
                <a:off x="7728966" y="4218293"/>
                <a:ext cx="183248" cy="92033"/>
              </a:xfrm>
              <a:custGeom>
                <a:avLst/>
                <a:gdLst/>
                <a:ahLst/>
                <a:cxnLst/>
                <a:rect l="l" t="t" r="r" b="b"/>
                <a:pathLst>
                  <a:path w="7573" h="3803" extrusionOk="0">
                    <a:moveTo>
                      <a:pt x="7572" y="0"/>
                    </a:moveTo>
                    <a:lnTo>
                      <a:pt x="0" y="1434"/>
                    </a:lnTo>
                    <a:lnTo>
                      <a:pt x="367" y="3803"/>
                    </a:lnTo>
                    <a:lnTo>
                      <a:pt x="7406" y="2502"/>
                    </a:lnTo>
                    <a:lnTo>
                      <a:pt x="7572" y="0"/>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2178;p56">
                <a:extLst>
                  <a:ext uri="{FF2B5EF4-FFF2-40B4-BE49-F238E27FC236}">
                    <a16:creationId xmlns:a16="http://schemas.microsoft.com/office/drawing/2014/main" id="{C7BF0A2F-33C1-F9DE-3A3F-27F6958B90B7}"/>
                  </a:ext>
                </a:extLst>
              </p:cNvPr>
              <p:cNvSpPr/>
              <p:nvPr/>
            </p:nvSpPr>
            <p:spPr>
              <a:xfrm flipH="1">
                <a:off x="8333541" y="4194069"/>
                <a:ext cx="131586" cy="143700"/>
              </a:xfrm>
              <a:custGeom>
                <a:avLst/>
                <a:gdLst/>
                <a:ahLst/>
                <a:cxnLst/>
                <a:rect l="l" t="t" r="r" b="b"/>
                <a:pathLst>
                  <a:path w="5438" h="5938" extrusionOk="0">
                    <a:moveTo>
                      <a:pt x="2236" y="0"/>
                    </a:moveTo>
                    <a:lnTo>
                      <a:pt x="1" y="4637"/>
                    </a:lnTo>
                    <a:lnTo>
                      <a:pt x="3370" y="5938"/>
                    </a:lnTo>
                    <a:lnTo>
                      <a:pt x="5438" y="1468"/>
                    </a:lnTo>
                    <a:lnTo>
                      <a:pt x="2236" y="0"/>
                    </a:lnTo>
                    <a:close/>
                  </a:path>
                </a:pathLst>
              </a:custGeom>
              <a:solidFill>
                <a:srgbClr val="B55B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2179;p56">
                <a:extLst>
                  <a:ext uri="{FF2B5EF4-FFF2-40B4-BE49-F238E27FC236}">
                    <a16:creationId xmlns:a16="http://schemas.microsoft.com/office/drawing/2014/main" id="{9A6A09AD-0EA7-726D-2433-1611590FA129}"/>
                  </a:ext>
                </a:extLst>
              </p:cNvPr>
              <p:cNvSpPr/>
              <p:nvPr/>
            </p:nvSpPr>
            <p:spPr>
              <a:xfrm flipH="1">
                <a:off x="8257657" y="4306623"/>
                <a:ext cx="259131" cy="166060"/>
              </a:xfrm>
              <a:custGeom>
                <a:avLst/>
                <a:gdLst/>
                <a:ahLst/>
                <a:cxnLst/>
                <a:rect l="l" t="t" r="r" b="b"/>
                <a:pathLst>
                  <a:path w="10709" h="6862" extrusionOk="0">
                    <a:moveTo>
                      <a:pt x="2125" y="0"/>
                    </a:moveTo>
                    <a:cubicBezTo>
                      <a:pt x="1902" y="0"/>
                      <a:pt x="1691" y="124"/>
                      <a:pt x="1569" y="320"/>
                    </a:cubicBezTo>
                    <a:lnTo>
                      <a:pt x="201" y="2454"/>
                    </a:lnTo>
                    <a:cubicBezTo>
                      <a:pt x="1" y="2788"/>
                      <a:pt x="134" y="3255"/>
                      <a:pt x="501" y="3422"/>
                    </a:cubicBezTo>
                    <a:cubicBezTo>
                      <a:pt x="2469" y="4256"/>
                      <a:pt x="7873" y="6524"/>
                      <a:pt x="8440" y="6657"/>
                    </a:cubicBezTo>
                    <a:cubicBezTo>
                      <a:pt x="8784" y="6756"/>
                      <a:pt x="9120" y="6862"/>
                      <a:pt x="9428" y="6862"/>
                    </a:cubicBezTo>
                    <a:cubicBezTo>
                      <a:pt x="9747" y="6862"/>
                      <a:pt x="10037" y="6747"/>
                      <a:pt x="10275" y="6391"/>
                    </a:cubicBezTo>
                    <a:cubicBezTo>
                      <a:pt x="10709" y="5657"/>
                      <a:pt x="10075" y="5190"/>
                      <a:pt x="8807" y="4489"/>
                    </a:cubicBezTo>
                    <a:cubicBezTo>
                      <a:pt x="7840" y="3956"/>
                      <a:pt x="7006" y="2521"/>
                      <a:pt x="6706" y="1954"/>
                    </a:cubicBezTo>
                    <a:cubicBezTo>
                      <a:pt x="6606" y="1787"/>
                      <a:pt x="6472" y="1654"/>
                      <a:pt x="6305" y="1587"/>
                    </a:cubicBezTo>
                    <a:lnTo>
                      <a:pt x="2369" y="53"/>
                    </a:lnTo>
                    <a:cubicBezTo>
                      <a:pt x="2289" y="17"/>
                      <a:pt x="2206" y="0"/>
                      <a:pt x="2125"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2180;p56">
                <a:extLst>
                  <a:ext uri="{FF2B5EF4-FFF2-40B4-BE49-F238E27FC236}">
                    <a16:creationId xmlns:a16="http://schemas.microsoft.com/office/drawing/2014/main" id="{640115A5-AC84-1C41-940F-AC7D28ADF961}"/>
                  </a:ext>
                </a:extLst>
              </p:cNvPr>
              <p:cNvSpPr/>
              <p:nvPr/>
            </p:nvSpPr>
            <p:spPr>
              <a:xfrm flipH="1">
                <a:off x="7613544" y="4389121"/>
                <a:ext cx="256711" cy="113764"/>
              </a:xfrm>
              <a:custGeom>
                <a:avLst/>
                <a:gdLst/>
                <a:ahLst/>
                <a:cxnLst/>
                <a:rect l="l" t="t" r="r" b="b"/>
                <a:pathLst>
                  <a:path w="10609" h="4701" extrusionOk="0">
                    <a:moveTo>
                      <a:pt x="4834" y="0"/>
                    </a:moveTo>
                    <a:cubicBezTo>
                      <a:pt x="4790" y="0"/>
                      <a:pt x="4746" y="4"/>
                      <a:pt x="4704" y="13"/>
                    </a:cubicBezTo>
                    <a:lnTo>
                      <a:pt x="535" y="847"/>
                    </a:lnTo>
                    <a:cubicBezTo>
                      <a:pt x="234" y="913"/>
                      <a:pt x="1" y="1180"/>
                      <a:pt x="1" y="1481"/>
                    </a:cubicBezTo>
                    <a:lnTo>
                      <a:pt x="1" y="4049"/>
                    </a:lnTo>
                    <a:cubicBezTo>
                      <a:pt x="1" y="4401"/>
                      <a:pt x="284" y="4701"/>
                      <a:pt x="647" y="4701"/>
                    </a:cubicBezTo>
                    <a:cubicBezTo>
                      <a:pt x="697" y="4701"/>
                      <a:pt x="749" y="4695"/>
                      <a:pt x="802" y="4683"/>
                    </a:cubicBezTo>
                    <a:cubicBezTo>
                      <a:pt x="2903" y="4316"/>
                      <a:pt x="8674" y="3315"/>
                      <a:pt x="9208" y="3148"/>
                    </a:cubicBezTo>
                    <a:cubicBezTo>
                      <a:pt x="9908" y="2915"/>
                      <a:pt x="10609" y="2781"/>
                      <a:pt x="10609" y="1914"/>
                    </a:cubicBezTo>
                    <a:cubicBezTo>
                      <a:pt x="10609" y="1260"/>
                      <a:pt x="10096" y="1078"/>
                      <a:pt x="9199" y="1078"/>
                    </a:cubicBezTo>
                    <a:cubicBezTo>
                      <a:pt x="8952" y="1078"/>
                      <a:pt x="8676" y="1092"/>
                      <a:pt x="8374" y="1114"/>
                    </a:cubicBezTo>
                    <a:cubicBezTo>
                      <a:pt x="8327" y="1116"/>
                      <a:pt x="8279" y="1118"/>
                      <a:pt x="8231" y="1118"/>
                    </a:cubicBezTo>
                    <a:cubicBezTo>
                      <a:pt x="7120" y="1118"/>
                      <a:pt x="5748" y="401"/>
                      <a:pt x="5205" y="113"/>
                    </a:cubicBezTo>
                    <a:cubicBezTo>
                      <a:pt x="5105" y="38"/>
                      <a:pt x="4967" y="0"/>
                      <a:pt x="4834"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2181;p56">
                <a:extLst>
                  <a:ext uri="{FF2B5EF4-FFF2-40B4-BE49-F238E27FC236}">
                    <a16:creationId xmlns:a16="http://schemas.microsoft.com/office/drawing/2014/main" id="{714F114B-140C-DC98-1B6C-B096FB511609}"/>
                  </a:ext>
                </a:extLst>
              </p:cNvPr>
              <p:cNvSpPr/>
              <p:nvPr/>
            </p:nvSpPr>
            <p:spPr>
              <a:xfrm flipH="1">
                <a:off x="8252818" y="4148863"/>
                <a:ext cx="213107" cy="108997"/>
              </a:xfrm>
              <a:custGeom>
                <a:avLst/>
                <a:gdLst/>
                <a:ahLst/>
                <a:cxnLst/>
                <a:rect l="l" t="t" r="r" b="b"/>
                <a:pathLst>
                  <a:path w="8807" h="4504" extrusionOk="0">
                    <a:moveTo>
                      <a:pt x="734" y="0"/>
                    </a:moveTo>
                    <a:lnTo>
                      <a:pt x="0" y="2335"/>
                    </a:lnTo>
                    <a:lnTo>
                      <a:pt x="7372" y="4504"/>
                    </a:lnTo>
                    <a:lnTo>
                      <a:pt x="8807" y="1735"/>
                    </a:lnTo>
                    <a:lnTo>
                      <a:pt x="734" y="0"/>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2182;p56">
                <a:extLst>
                  <a:ext uri="{FF2B5EF4-FFF2-40B4-BE49-F238E27FC236}">
                    <a16:creationId xmlns:a16="http://schemas.microsoft.com/office/drawing/2014/main" id="{52CD2FCB-6985-F2C2-2691-AB207243AE22}"/>
                  </a:ext>
                </a:extLst>
              </p:cNvPr>
              <p:cNvSpPr/>
              <p:nvPr/>
            </p:nvSpPr>
            <p:spPr>
              <a:xfrm flipH="1">
                <a:off x="7941251" y="2757169"/>
                <a:ext cx="108986" cy="632104"/>
              </a:xfrm>
              <a:custGeom>
                <a:avLst/>
                <a:gdLst/>
                <a:ahLst/>
                <a:cxnLst/>
                <a:rect l="l" t="t" r="r" b="b"/>
                <a:pathLst>
                  <a:path w="4504" h="26120" extrusionOk="0">
                    <a:moveTo>
                      <a:pt x="0" y="1"/>
                    </a:moveTo>
                    <a:lnTo>
                      <a:pt x="801" y="10241"/>
                    </a:lnTo>
                    <a:cubicBezTo>
                      <a:pt x="801" y="10241"/>
                      <a:pt x="2669" y="18447"/>
                      <a:pt x="3603" y="26119"/>
                    </a:cubicBezTo>
                    <a:cubicBezTo>
                      <a:pt x="4504" y="17680"/>
                      <a:pt x="1" y="2"/>
                      <a:pt x="0" y="1"/>
                    </a:cubicBez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2183;p56">
                <a:extLst>
                  <a:ext uri="{FF2B5EF4-FFF2-40B4-BE49-F238E27FC236}">
                    <a16:creationId xmlns:a16="http://schemas.microsoft.com/office/drawing/2014/main" id="{AE5281BD-F760-DC95-8713-179F5832DF69}"/>
                  </a:ext>
                </a:extLst>
              </p:cNvPr>
              <p:cNvSpPr/>
              <p:nvPr/>
            </p:nvSpPr>
            <p:spPr>
              <a:xfrm flipH="1">
                <a:off x="8115594" y="1716642"/>
                <a:ext cx="145306" cy="145321"/>
              </a:xfrm>
              <a:custGeom>
                <a:avLst/>
                <a:gdLst/>
                <a:ahLst/>
                <a:cxnLst/>
                <a:rect l="l" t="t" r="r" b="b"/>
                <a:pathLst>
                  <a:path w="6005" h="6005" extrusionOk="0">
                    <a:moveTo>
                      <a:pt x="1134" y="0"/>
                    </a:moveTo>
                    <a:lnTo>
                      <a:pt x="0" y="3269"/>
                    </a:lnTo>
                    <a:cubicBezTo>
                      <a:pt x="1568" y="4570"/>
                      <a:pt x="4737" y="6004"/>
                      <a:pt x="4737" y="6004"/>
                    </a:cubicBezTo>
                    <a:lnTo>
                      <a:pt x="6004" y="2235"/>
                    </a:lnTo>
                    <a:cubicBezTo>
                      <a:pt x="4270" y="1768"/>
                      <a:pt x="2602" y="1034"/>
                      <a:pt x="1134"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2184;p56">
                <a:extLst>
                  <a:ext uri="{FF2B5EF4-FFF2-40B4-BE49-F238E27FC236}">
                    <a16:creationId xmlns:a16="http://schemas.microsoft.com/office/drawing/2014/main" id="{7403CCA2-C3A5-54D2-DB1B-AF22889EBC93}"/>
                  </a:ext>
                </a:extLst>
              </p:cNvPr>
              <p:cNvSpPr/>
              <p:nvPr/>
            </p:nvSpPr>
            <p:spPr>
              <a:xfrm flipH="1">
                <a:off x="8014690" y="1700476"/>
                <a:ext cx="100928" cy="149387"/>
              </a:xfrm>
              <a:custGeom>
                <a:avLst/>
                <a:gdLst/>
                <a:ahLst/>
                <a:cxnLst/>
                <a:rect l="l" t="t" r="r" b="b"/>
                <a:pathLst>
                  <a:path w="4171" h="6173" extrusionOk="0">
                    <a:moveTo>
                      <a:pt x="1802" y="1"/>
                    </a:moveTo>
                    <a:cubicBezTo>
                      <a:pt x="1802" y="1"/>
                      <a:pt x="801" y="2169"/>
                      <a:pt x="0" y="2903"/>
                    </a:cubicBezTo>
                    <a:lnTo>
                      <a:pt x="2102" y="6172"/>
                    </a:lnTo>
                    <a:cubicBezTo>
                      <a:pt x="3069" y="4838"/>
                      <a:pt x="3770" y="3337"/>
                      <a:pt x="4170" y="1736"/>
                    </a:cubicBezTo>
                    <a:lnTo>
                      <a:pt x="1802"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110" name="Google Shape;2076;p56">
            <a:extLst>
              <a:ext uri="{FF2B5EF4-FFF2-40B4-BE49-F238E27FC236}">
                <a16:creationId xmlns:a16="http://schemas.microsoft.com/office/drawing/2014/main" id="{8C41ED61-518C-81FA-4441-F1B686DB2D74}"/>
              </a:ext>
            </a:extLst>
          </p:cNvPr>
          <p:cNvSpPr txBox="1">
            <a:spLocks/>
          </p:cNvSpPr>
          <p:nvPr/>
        </p:nvSpPr>
        <p:spPr>
          <a:xfrm>
            <a:off x="1054201" y="715199"/>
            <a:ext cx="7013845" cy="1131600"/>
          </a:xfrm>
          <a:prstGeom prst="rect">
            <a:avLst/>
          </a:prstGeom>
          <a:noFill/>
          <a:ln>
            <a:noFill/>
          </a:ln>
        </p:spPr>
        <p:txBody>
          <a:bodyPr spcFirstLastPara="1" wrap="square" lIns="91425" tIns="91425" rIns="91425" bIns="91425" anchor="b" anchorCtr="0">
            <a:noAutofit/>
            <a:scene3d>
              <a:camera prst="orthographicFront"/>
              <a:lightRig rig="threePt" dir="t"/>
            </a:scene3d>
            <a:sp3d extrusionH="57150">
              <a:bevelT w="38100" h="38100"/>
            </a:sp3d>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FF8B7B"/>
              </a:buClr>
              <a:buSzPts val="2800"/>
              <a:buFont typeface="Hammersmith One"/>
              <a:buNone/>
              <a:defRPr sz="3000" b="0" i="0" u="none" strike="noStrike" cap="none">
                <a:solidFill>
                  <a:srgbClr val="FF8B7B"/>
                </a:solidFill>
                <a:latin typeface="Hammersmith One"/>
                <a:ea typeface="Hammersmith One"/>
                <a:cs typeface="Hammersmith One"/>
                <a:sym typeface="Hammersmith One"/>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CA" sz="7200">
                <a:solidFill>
                  <a:schemeClr val="tx1"/>
                </a:solidFill>
                <a:effectLst>
                  <a:outerShdw blurRad="50800" dist="38100" dir="2700000" algn="tl" rotWithShape="0">
                    <a:prstClr val="black">
                      <a:alpha val="40000"/>
                    </a:prstClr>
                  </a:outerShdw>
                </a:effectLst>
              </a:rPr>
              <a:t>Thank You!</a:t>
            </a:r>
          </a:p>
        </p:txBody>
      </p:sp>
    </p:spTree>
    <p:extLst>
      <p:ext uri="{BB962C8B-B14F-4D97-AF65-F5344CB8AC3E}">
        <p14:creationId xmlns:p14="http://schemas.microsoft.com/office/powerpoint/2010/main" val="211197281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BA638-232D-12D4-6739-B86677D7C32D}"/>
              </a:ext>
            </a:extLst>
          </p:cNvPr>
          <p:cNvSpPr>
            <a:spLocks noGrp="1"/>
          </p:cNvSpPr>
          <p:nvPr>
            <p:ph type="title"/>
          </p:nvPr>
        </p:nvSpPr>
        <p:spPr/>
        <p:txBody>
          <a:bodyPr/>
          <a:lstStyle/>
          <a:p>
            <a:r>
              <a:rPr lang="en-US"/>
              <a:t>Appendix</a:t>
            </a:r>
          </a:p>
        </p:txBody>
      </p:sp>
      <p:pic>
        <p:nvPicPr>
          <p:cNvPr id="4" name="Picture 3" descr="A graph with a line going up&#10;&#10;Description automatically generated">
            <a:extLst>
              <a:ext uri="{FF2B5EF4-FFF2-40B4-BE49-F238E27FC236}">
                <a16:creationId xmlns:a16="http://schemas.microsoft.com/office/drawing/2014/main" id="{66F22BA7-3F7D-932C-677C-1ED92755347A}"/>
              </a:ext>
            </a:extLst>
          </p:cNvPr>
          <p:cNvPicPr>
            <a:picLocks noChangeAspect="1"/>
          </p:cNvPicPr>
          <p:nvPr/>
        </p:nvPicPr>
        <p:blipFill>
          <a:blip r:embed="rId2"/>
          <a:stretch>
            <a:fillRect/>
          </a:stretch>
        </p:blipFill>
        <p:spPr>
          <a:xfrm>
            <a:off x="258856" y="1021804"/>
            <a:ext cx="8567457" cy="3763841"/>
          </a:xfrm>
          <a:prstGeom prst="rect">
            <a:avLst/>
          </a:prstGeom>
        </p:spPr>
      </p:pic>
    </p:spTree>
    <p:extLst>
      <p:ext uri="{BB962C8B-B14F-4D97-AF65-F5344CB8AC3E}">
        <p14:creationId xmlns:p14="http://schemas.microsoft.com/office/powerpoint/2010/main" val="108157960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BA638-232D-12D4-6739-B86677D7C32D}"/>
              </a:ext>
            </a:extLst>
          </p:cNvPr>
          <p:cNvSpPr>
            <a:spLocks noGrp="1"/>
          </p:cNvSpPr>
          <p:nvPr>
            <p:ph type="title"/>
          </p:nvPr>
        </p:nvSpPr>
        <p:spPr/>
        <p:txBody>
          <a:bodyPr/>
          <a:lstStyle/>
          <a:p>
            <a:r>
              <a:rPr lang="en-US"/>
              <a:t>Appendix</a:t>
            </a:r>
          </a:p>
        </p:txBody>
      </p:sp>
      <p:pic>
        <p:nvPicPr>
          <p:cNvPr id="3" name="Picture 2" descr="A screenshot of a graph&#10;&#10;Description automatically generated">
            <a:extLst>
              <a:ext uri="{FF2B5EF4-FFF2-40B4-BE49-F238E27FC236}">
                <a16:creationId xmlns:a16="http://schemas.microsoft.com/office/drawing/2014/main" id="{7D14BBE0-6978-8DBB-565D-2348D10F2402}"/>
              </a:ext>
            </a:extLst>
          </p:cNvPr>
          <p:cNvPicPr>
            <a:picLocks noChangeAspect="1"/>
          </p:cNvPicPr>
          <p:nvPr/>
        </p:nvPicPr>
        <p:blipFill>
          <a:blip r:embed="rId2"/>
          <a:stretch>
            <a:fillRect/>
          </a:stretch>
        </p:blipFill>
        <p:spPr>
          <a:xfrm>
            <a:off x="1010887" y="936293"/>
            <a:ext cx="7137069" cy="3886945"/>
          </a:xfrm>
          <a:prstGeom prst="rect">
            <a:avLst/>
          </a:prstGeom>
        </p:spPr>
      </p:pic>
    </p:spTree>
    <p:extLst>
      <p:ext uri="{BB962C8B-B14F-4D97-AF65-F5344CB8AC3E}">
        <p14:creationId xmlns:p14="http://schemas.microsoft.com/office/powerpoint/2010/main" val="201312173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BA638-232D-12D4-6739-B86677D7C32D}"/>
              </a:ext>
            </a:extLst>
          </p:cNvPr>
          <p:cNvSpPr>
            <a:spLocks noGrp="1"/>
          </p:cNvSpPr>
          <p:nvPr>
            <p:ph type="title"/>
          </p:nvPr>
        </p:nvSpPr>
        <p:spPr/>
        <p:txBody>
          <a:bodyPr/>
          <a:lstStyle/>
          <a:p>
            <a:r>
              <a:rPr lang="en-US"/>
              <a:t>Appendix</a:t>
            </a:r>
          </a:p>
        </p:txBody>
      </p:sp>
      <p:pic>
        <p:nvPicPr>
          <p:cNvPr id="4" name="Picture 3" descr="A graph of a curve&#10;&#10;Description automatically generated">
            <a:extLst>
              <a:ext uri="{FF2B5EF4-FFF2-40B4-BE49-F238E27FC236}">
                <a16:creationId xmlns:a16="http://schemas.microsoft.com/office/drawing/2014/main" id="{33E88A50-1A22-1986-A0D0-C46BE10814EB}"/>
              </a:ext>
            </a:extLst>
          </p:cNvPr>
          <p:cNvPicPr>
            <a:picLocks noChangeAspect="1"/>
          </p:cNvPicPr>
          <p:nvPr/>
        </p:nvPicPr>
        <p:blipFill>
          <a:blip r:embed="rId2"/>
          <a:stretch>
            <a:fillRect/>
          </a:stretch>
        </p:blipFill>
        <p:spPr>
          <a:xfrm>
            <a:off x="1960913" y="1004550"/>
            <a:ext cx="4992089" cy="3839497"/>
          </a:xfrm>
          <a:prstGeom prst="rect">
            <a:avLst/>
          </a:prstGeom>
        </p:spPr>
      </p:pic>
    </p:spTree>
    <p:extLst>
      <p:ext uri="{BB962C8B-B14F-4D97-AF65-F5344CB8AC3E}">
        <p14:creationId xmlns:p14="http://schemas.microsoft.com/office/powerpoint/2010/main" val="69272641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BA638-232D-12D4-6739-B86677D7C32D}"/>
              </a:ext>
            </a:extLst>
          </p:cNvPr>
          <p:cNvSpPr>
            <a:spLocks noGrp="1"/>
          </p:cNvSpPr>
          <p:nvPr>
            <p:ph type="title"/>
          </p:nvPr>
        </p:nvSpPr>
        <p:spPr/>
        <p:txBody>
          <a:bodyPr/>
          <a:lstStyle/>
          <a:p>
            <a:r>
              <a:rPr lang="en-US"/>
              <a:t>Appendix</a:t>
            </a:r>
          </a:p>
        </p:txBody>
      </p:sp>
      <p:pic>
        <p:nvPicPr>
          <p:cNvPr id="3" name="Picture 2" descr="A screenshot of a graph&#10;&#10;Description automatically generated">
            <a:extLst>
              <a:ext uri="{FF2B5EF4-FFF2-40B4-BE49-F238E27FC236}">
                <a16:creationId xmlns:a16="http://schemas.microsoft.com/office/drawing/2014/main" id="{634A84D7-F230-D3A9-2FDF-8C07EC561F25}"/>
              </a:ext>
            </a:extLst>
          </p:cNvPr>
          <p:cNvPicPr>
            <a:picLocks noChangeAspect="1"/>
          </p:cNvPicPr>
          <p:nvPr/>
        </p:nvPicPr>
        <p:blipFill>
          <a:blip r:embed="rId2"/>
          <a:stretch>
            <a:fillRect/>
          </a:stretch>
        </p:blipFill>
        <p:spPr>
          <a:xfrm>
            <a:off x="973777" y="891836"/>
            <a:ext cx="7196446" cy="4064925"/>
          </a:xfrm>
          <a:prstGeom prst="rect">
            <a:avLst/>
          </a:prstGeom>
        </p:spPr>
      </p:pic>
    </p:spTree>
    <p:extLst>
      <p:ext uri="{BB962C8B-B14F-4D97-AF65-F5344CB8AC3E}">
        <p14:creationId xmlns:p14="http://schemas.microsoft.com/office/powerpoint/2010/main" val="180788819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BA638-232D-12D4-6739-B86677D7C32D}"/>
              </a:ext>
            </a:extLst>
          </p:cNvPr>
          <p:cNvSpPr>
            <a:spLocks noGrp="1"/>
          </p:cNvSpPr>
          <p:nvPr>
            <p:ph type="title"/>
          </p:nvPr>
        </p:nvSpPr>
        <p:spPr/>
        <p:txBody>
          <a:bodyPr/>
          <a:lstStyle/>
          <a:p>
            <a:r>
              <a:rPr lang="en-US"/>
              <a:t>Appendix</a:t>
            </a:r>
          </a:p>
        </p:txBody>
      </p:sp>
      <p:pic>
        <p:nvPicPr>
          <p:cNvPr id="3" name="Picture 2">
            <a:extLst>
              <a:ext uri="{FF2B5EF4-FFF2-40B4-BE49-F238E27FC236}">
                <a16:creationId xmlns:a16="http://schemas.microsoft.com/office/drawing/2014/main" id="{97479AB5-0379-93DD-787E-538B4D77522B}"/>
              </a:ext>
            </a:extLst>
          </p:cNvPr>
          <p:cNvPicPr>
            <a:picLocks noChangeAspect="1"/>
          </p:cNvPicPr>
          <p:nvPr/>
        </p:nvPicPr>
        <p:blipFill>
          <a:blip r:embed="rId2"/>
          <a:stretch>
            <a:fillRect/>
          </a:stretch>
        </p:blipFill>
        <p:spPr>
          <a:xfrm>
            <a:off x="276101" y="1014769"/>
            <a:ext cx="8562109" cy="3729995"/>
          </a:xfrm>
          <a:prstGeom prst="rect">
            <a:avLst/>
          </a:prstGeom>
        </p:spPr>
      </p:pic>
    </p:spTree>
    <p:extLst>
      <p:ext uri="{BB962C8B-B14F-4D97-AF65-F5344CB8AC3E}">
        <p14:creationId xmlns:p14="http://schemas.microsoft.com/office/powerpoint/2010/main" val="65182886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BA638-232D-12D4-6739-B86677D7C32D}"/>
              </a:ext>
            </a:extLst>
          </p:cNvPr>
          <p:cNvSpPr>
            <a:spLocks noGrp="1"/>
          </p:cNvSpPr>
          <p:nvPr>
            <p:ph type="title"/>
          </p:nvPr>
        </p:nvSpPr>
        <p:spPr/>
        <p:txBody>
          <a:bodyPr/>
          <a:lstStyle/>
          <a:p>
            <a:r>
              <a:rPr lang="en-US"/>
              <a:t>Appendix</a:t>
            </a:r>
          </a:p>
        </p:txBody>
      </p:sp>
      <p:pic>
        <p:nvPicPr>
          <p:cNvPr id="4" name="Picture 3">
            <a:extLst>
              <a:ext uri="{FF2B5EF4-FFF2-40B4-BE49-F238E27FC236}">
                <a16:creationId xmlns:a16="http://schemas.microsoft.com/office/drawing/2014/main" id="{830D75FA-F462-E3F3-96BB-2D45D34F383B}"/>
              </a:ext>
            </a:extLst>
          </p:cNvPr>
          <p:cNvPicPr>
            <a:picLocks noChangeAspect="1"/>
          </p:cNvPicPr>
          <p:nvPr/>
        </p:nvPicPr>
        <p:blipFill>
          <a:blip r:embed="rId2"/>
          <a:stretch>
            <a:fillRect/>
          </a:stretch>
        </p:blipFill>
        <p:spPr>
          <a:xfrm>
            <a:off x="1240971" y="993589"/>
            <a:ext cx="6654635" cy="3905950"/>
          </a:xfrm>
          <a:prstGeom prst="rect">
            <a:avLst/>
          </a:prstGeom>
        </p:spPr>
      </p:pic>
    </p:spTree>
    <p:extLst>
      <p:ext uri="{BB962C8B-B14F-4D97-AF65-F5344CB8AC3E}">
        <p14:creationId xmlns:p14="http://schemas.microsoft.com/office/powerpoint/2010/main" val="31857056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302"/>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DED018C0-6F07-95E4-5E1A-3C9AF73DF299}"/>
              </a:ext>
            </a:extLst>
          </p:cNvPr>
          <p:cNvGraphicFramePr>
            <a:graphicFrameLocks noChangeAspect="1"/>
          </p:cNvGraphicFramePr>
          <p:nvPr>
            <p:custDataLst>
              <p:tags r:id="rId1"/>
            </p:custDataLst>
            <p:extLst>
              <p:ext uri="{D42A27DB-BD31-4B8C-83A1-F6EECF244321}">
                <p14:modId xmlns:p14="http://schemas.microsoft.com/office/powerpoint/2010/main" val="2401716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425" imgH="424" progId="TCLayout.ActiveDocument.1">
                  <p:embed/>
                </p:oleObj>
              </mc:Choice>
              <mc:Fallback>
                <p:oleObj name="Diapositiva think-cell" r:id="rId4" imgW="425" imgH="424" progId="TCLayout.ActiveDocument.1">
                  <p:embed/>
                  <p:pic>
                    <p:nvPicPr>
                      <p:cNvPr id="18" name="think-cell data - do not delete" hidden="1">
                        <a:extLst>
                          <a:ext uri="{FF2B5EF4-FFF2-40B4-BE49-F238E27FC236}">
                            <a16:creationId xmlns:a16="http://schemas.microsoft.com/office/drawing/2014/main" id="{DED018C0-6F07-95E4-5E1A-3C9AF73DF2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04" name="Google Shape;304;p28"/>
          <p:cNvSpPr txBox="1">
            <a:spLocks noGrp="1"/>
          </p:cNvSpPr>
          <p:nvPr>
            <p:ph type="subTitle" idx="1"/>
          </p:nvPr>
        </p:nvSpPr>
        <p:spPr>
          <a:xfrm>
            <a:off x="1363428" y="1949713"/>
            <a:ext cx="1505700" cy="572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Background &amp; Objective</a:t>
            </a:r>
            <a:endParaRPr/>
          </a:p>
        </p:txBody>
      </p:sp>
      <p:sp>
        <p:nvSpPr>
          <p:cNvPr id="306" name="Google Shape;306;p28"/>
          <p:cNvSpPr txBox="1">
            <a:spLocks noGrp="1"/>
          </p:cNvSpPr>
          <p:nvPr>
            <p:ph type="subTitle" idx="3"/>
          </p:nvPr>
        </p:nvSpPr>
        <p:spPr>
          <a:xfrm>
            <a:off x="3831035" y="1949713"/>
            <a:ext cx="1673949" cy="572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Problem Identification</a:t>
            </a:r>
            <a:endParaRPr/>
          </a:p>
        </p:txBody>
      </p:sp>
      <p:sp>
        <p:nvSpPr>
          <p:cNvPr id="308" name="Google Shape;308;p28"/>
          <p:cNvSpPr txBox="1">
            <a:spLocks noGrp="1"/>
          </p:cNvSpPr>
          <p:nvPr>
            <p:ph type="subTitle" idx="5"/>
          </p:nvPr>
        </p:nvSpPr>
        <p:spPr>
          <a:xfrm>
            <a:off x="6328936" y="1949713"/>
            <a:ext cx="1505700" cy="572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Analysis Overview</a:t>
            </a:r>
            <a:endParaRPr/>
          </a:p>
        </p:txBody>
      </p:sp>
      <p:sp>
        <p:nvSpPr>
          <p:cNvPr id="310" name="Google Shape;310;p28"/>
          <p:cNvSpPr txBox="1">
            <a:spLocks noGrp="1"/>
          </p:cNvSpPr>
          <p:nvPr>
            <p:ph type="subTitle" idx="7"/>
          </p:nvPr>
        </p:nvSpPr>
        <p:spPr>
          <a:xfrm>
            <a:off x="352385" y="3486948"/>
            <a:ext cx="1505700" cy="551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Modelling Customers</a:t>
            </a:r>
            <a:endParaRPr/>
          </a:p>
        </p:txBody>
      </p:sp>
      <p:sp>
        <p:nvSpPr>
          <p:cNvPr id="312" name="Google Shape;312;p28"/>
          <p:cNvSpPr txBox="1">
            <a:spLocks noGrp="1"/>
          </p:cNvSpPr>
          <p:nvPr>
            <p:ph type="subTitle" idx="9"/>
          </p:nvPr>
        </p:nvSpPr>
        <p:spPr>
          <a:xfrm>
            <a:off x="2649010" y="3486948"/>
            <a:ext cx="1505700" cy="551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Customer Segments</a:t>
            </a:r>
            <a:endParaRPr/>
          </a:p>
        </p:txBody>
      </p:sp>
      <p:sp>
        <p:nvSpPr>
          <p:cNvPr id="314" name="Google Shape;314;p28"/>
          <p:cNvSpPr txBox="1">
            <a:spLocks noGrp="1"/>
          </p:cNvSpPr>
          <p:nvPr>
            <p:ph type="subTitle" idx="14"/>
          </p:nvPr>
        </p:nvSpPr>
        <p:spPr>
          <a:xfrm>
            <a:off x="4827295" y="3486948"/>
            <a:ext cx="1811550" cy="551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Recommended Strategies</a:t>
            </a:r>
            <a:endParaRPr/>
          </a:p>
        </p:txBody>
      </p:sp>
      <p:sp>
        <p:nvSpPr>
          <p:cNvPr id="316" name="Google Shape;316;p28"/>
          <p:cNvSpPr txBox="1">
            <a:spLocks noGrp="1"/>
          </p:cNvSpPr>
          <p:nvPr>
            <p:ph type="title"/>
          </p:nvPr>
        </p:nvSpPr>
        <p:spPr>
          <a:xfrm>
            <a:off x="1561428" y="1558696"/>
            <a:ext cx="1109700" cy="3714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01</a:t>
            </a:r>
            <a:endParaRPr/>
          </a:p>
        </p:txBody>
      </p:sp>
      <p:sp>
        <p:nvSpPr>
          <p:cNvPr id="317" name="Google Shape;317;p28"/>
          <p:cNvSpPr txBox="1">
            <a:spLocks noGrp="1"/>
          </p:cNvSpPr>
          <p:nvPr>
            <p:ph type="title" idx="16"/>
          </p:nvPr>
        </p:nvSpPr>
        <p:spPr>
          <a:xfrm>
            <a:off x="4029036" y="1558696"/>
            <a:ext cx="1109700" cy="3714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02</a:t>
            </a:r>
            <a:endParaRPr/>
          </a:p>
        </p:txBody>
      </p:sp>
      <p:sp>
        <p:nvSpPr>
          <p:cNvPr id="318" name="Google Shape;318;p28"/>
          <p:cNvSpPr txBox="1">
            <a:spLocks noGrp="1"/>
          </p:cNvSpPr>
          <p:nvPr>
            <p:ph type="title" idx="17"/>
          </p:nvPr>
        </p:nvSpPr>
        <p:spPr>
          <a:xfrm>
            <a:off x="6526936" y="1558696"/>
            <a:ext cx="1109700" cy="3714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03</a:t>
            </a:r>
            <a:endParaRPr/>
          </a:p>
        </p:txBody>
      </p:sp>
      <p:sp>
        <p:nvSpPr>
          <p:cNvPr id="319" name="Google Shape;319;p28"/>
          <p:cNvSpPr txBox="1">
            <a:spLocks noGrp="1"/>
          </p:cNvSpPr>
          <p:nvPr>
            <p:ph type="title" idx="18"/>
          </p:nvPr>
        </p:nvSpPr>
        <p:spPr>
          <a:xfrm>
            <a:off x="550385" y="3075704"/>
            <a:ext cx="1109700" cy="3714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04</a:t>
            </a:r>
            <a:endParaRPr/>
          </a:p>
        </p:txBody>
      </p:sp>
      <p:sp>
        <p:nvSpPr>
          <p:cNvPr id="320" name="Google Shape;320;p28"/>
          <p:cNvSpPr txBox="1">
            <a:spLocks noGrp="1"/>
          </p:cNvSpPr>
          <p:nvPr>
            <p:ph type="title" idx="19"/>
          </p:nvPr>
        </p:nvSpPr>
        <p:spPr>
          <a:xfrm>
            <a:off x="2847010" y="3075704"/>
            <a:ext cx="1109700" cy="3714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05</a:t>
            </a:r>
            <a:endParaRPr/>
          </a:p>
        </p:txBody>
      </p:sp>
      <p:sp>
        <p:nvSpPr>
          <p:cNvPr id="321" name="Google Shape;321;p28"/>
          <p:cNvSpPr txBox="1">
            <a:spLocks noGrp="1"/>
          </p:cNvSpPr>
          <p:nvPr>
            <p:ph type="title" idx="20"/>
          </p:nvPr>
        </p:nvSpPr>
        <p:spPr>
          <a:xfrm>
            <a:off x="5181362" y="3075704"/>
            <a:ext cx="1109700" cy="3714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06</a:t>
            </a:r>
            <a:endParaRPr/>
          </a:p>
        </p:txBody>
      </p:sp>
      <p:sp>
        <p:nvSpPr>
          <p:cNvPr id="303" name="Google Shape;303;p28"/>
          <p:cNvSpPr txBox="1">
            <a:spLocks noGrp="1"/>
          </p:cNvSpPr>
          <p:nvPr>
            <p:ph type="title" idx="21"/>
          </p:nvPr>
        </p:nvSpPr>
        <p:spPr>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US">
                <a:solidFill>
                  <a:schemeClr val="tx1"/>
                </a:solidFill>
              </a:rPr>
              <a:t>Table of Contents</a:t>
            </a:r>
          </a:p>
        </p:txBody>
      </p:sp>
      <p:sp>
        <p:nvSpPr>
          <p:cNvPr id="2" name="Google Shape;314;p28">
            <a:extLst>
              <a:ext uri="{FF2B5EF4-FFF2-40B4-BE49-F238E27FC236}">
                <a16:creationId xmlns:a16="http://schemas.microsoft.com/office/drawing/2014/main" id="{47692758-D32E-8F3E-C550-82B29D97B0E6}"/>
              </a:ext>
            </a:extLst>
          </p:cNvPr>
          <p:cNvSpPr txBox="1">
            <a:spLocks/>
          </p:cNvSpPr>
          <p:nvPr/>
        </p:nvSpPr>
        <p:spPr>
          <a:xfrm>
            <a:off x="7258223" y="3486948"/>
            <a:ext cx="1505700" cy="551700"/>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L="457200" marR="0" lvl="0" indent="-342900" algn="ctr" rtl="0">
              <a:lnSpc>
                <a:spcPct val="100000"/>
              </a:lnSpc>
              <a:spcBef>
                <a:spcPts val="0"/>
              </a:spcBef>
              <a:spcAft>
                <a:spcPts val="0"/>
              </a:spcAft>
              <a:buClr>
                <a:schemeClr val="lt1"/>
              </a:buClr>
              <a:buSzPts val="1800"/>
              <a:buFont typeface="Hammersmith One"/>
              <a:buNone/>
              <a:defRPr sz="1800" b="0" i="0" u="none" strike="noStrike" cap="none">
                <a:solidFill>
                  <a:schemeClr val="lt1"/>
                </a:solidFill>
                <a:latin typeface="Hammersmith One"/>
                <a:ea typeface="Hammersmith One"/>
                <a:cs typeface="Hammersmith One"/>
                <a:sym typeface="Hammersmith One"/>
              </a:defRPr>
            </a:lvl1pPr>
            <a:lvl2pPr marL="914400" marR="0" lvl="1" indent="-317500" algn="r" rtl="0">
              <a:lnSpc>
                <a:spcPct val="100000"/>
              </a:lnSpc>
              <a:spcBef>
                <a:spcPts val="0"/>
              </a:spcBef>
              <a:spcAft>
                <a:spcPts val="0"/>
              </a:spcAft>
              <a:buClr>
                <a:schemeClr val="lt1"/>
              </a:buClr>
              <a:buSzPts val="1800"/>
              <a:buFont typeface="Hammersmith One"/>
              <a:buNone/>
              <a:defRPr sz="1800" b="0" i="0" u="none" strike="noStrike" cap="none">
                <a:solidFill>
                  <a:schemeClr val="lt1"/>
                </a:solidFill>
                <a:latin typeface="Hammersmith One"/>
                <a:ea typeface="Hammersmith One"/>
                <a:cs typeface="Hammersmith One"/>
                <a:sym typeface="Hammersmith One"/>
              </a:defRPr>
            </a:lvl2pPr>
            <a:lvl3pPr marL="1371600" marR="0" lvl="2" indent="-317500" algn="r" rtl="0">
              <a:lnSpc>
                <a:spcPct val="100000"/>
              </a:lnSpc>
              <a:spcBef>
                <a:spcPts val="0"/>
              </a:spcBef>
              <a:spcAft>
                <a:spcPts val="0"/>
              </a:spcAft>
              <a:buClr>
                <a:schemeClr val="lt1"/>
              </a:buClr>
              <a:buSzPts val="1800"/>
              <a:buFont typeface="Hammersmith One"/>
              <a:buNone/>
              <a:defRPr sz="1800" b="0" i="0" u="none" strike="noStrike" cap="none">
                <a:solidFill>
                  <a:schemeClr val="lt1"/>
                </a:solidFill>
                <a:latin typeface="Hammersmith One"/>
                <a:ea typeface="Hammersmith One"/>
                <a:cs typeface="Hammersmith One"/>
                <a:sym typeface="Hammersmith One"/>
              </a:defRPr>
            </a:lvl3pPr>
            <a:lvl4pPr marL="1828800" marR="0" lvl="3" indent="-317500" algn="r" rtl="0">
              <a:lnSpc>
                <a:spcPct val="100000"/>
              </a:lnSpc>
              <a:spcBef>
                <a:spcPts val="0"/>
              </a:spcBef>
              <a:spcAft>
                <a:spcPts val="0"/>
              </a:spcAft>
              <a:buClr>
                <a:schemeClr val="lt1"/>
              </a:buClr>
              <a:buSzPts val="1800"/>
              <a:buFont typeface="Hammersmith One"/>
              <a:buNone/>
              <a:defRPr sz="1800" b="0" i="0" u="none" strike="noStrike" cap="none">
                <a:solidFill>
                  <a:schemeClr val="lt1"/>
                </a:solidFill>
                <a:latin typeface="Hammersmith One"/>
                <a:ea typeface="Hammersmith One"/>
                <a:cs typeface="Hammersmith One"/>
                <a:sym typeface="Hammersmith One"/>
              </a:defRPr>
            </a:lvl4pPr>
            <a:lvl5pPr marL="2286000" marR="0" lvl="4" indent="-317500" algn="r" rtl="0">
              <a:lnSpc>
                <a:spcPct val="100000"/>
              </a:lnSpc>
              <a:spcBef>
                <a:spcPts val="0"/>
              </a:spcBef>
              <a:spcAft>
                <a:spcPts val="0"/>
              </a:spcAft>
              <a:buClr>
                <a:schemeClr val="lt1"/>
              </a:buClr>
              <a:buSzPts val="1800"/>
              <a:buFont typeface="Hammersmith One"/>
              <a:buNone/>
              <a:defRPr sz="1800" b="0" i="0" u="none" strike="noStrike" cap="none">
                <a:solidFill>
                  <a:schemeClr val="lt1"/>
                </a:solidFill>
                <a:latin typeface="Hammersmith One"/>
                <a:ea typeface="Hammersmith One"/>
                <a:cs typeface="Hammersmith One"/>
                <a:sym typeface="Hammersmith One"/>
              </a:defRPr>
            </a:lvl5pPr>
            <a:lvl6pPr marL="2743200" marR="0" lvl="5" indent="-317500" algn="r" rtl="0">
              <a:lnSpc>
                <a:spcPct val="100000"/>
              </a:lnSpc>
              <a:spcBef>
                <a:spcPts val="0"/>
              </a:spcBef>
              <a:spcAft>
                <a:spcPts val="0"/>
              </a:spcAft>
              <a:buClr>
                <a:schemeClr val="lt1"/>
              </a:buClr>
              <a:buSzPts val="1800"/>
              <a:buFont typeface="Hammersmith One"/>
              <a:buNone/>
              <a:defRPr sz="1800" b="0" i="0" u="none" strike="noStrike" cap="none">
                <a:solidFill>
                  <a:schemeClr val="lt1"/>
                </a:solidFill>
                <a:latin typeface="Hammersmith One"/>
                <a:ea typeface="Hammersmith One"/>
                <a:cs typeface="Hammersmith One"/>
                <a:sym typeface="Hammersmith One"/>
              </a:defRPr>
            </a:lvl6pPr>
            <a:lvl7pPr marL="3200400" marR="0" lvl="6" indent="-317500" algn="r" rtl="0">
              <a:lnSpc>
                <a:spcPct val="100000"/>
              </a:lnSpc>
              <a:spcBef>
                <a:spcPts val="0"/>
              </a:spcBef>
              <a:spcAft>
                <a:spcPts val="0"/>
              </a:spcAft>
              <a:buClr>
                <a:schemeClr val="lt1"/>
              </a:buClr>
              <a:buSzPts val="1800"/>
              <a:buFont typeface="Hammersmith One"/>
              <a:buNone/>
              <a:defRPr sz="1800" b="0" i="0" u="none" strike="noStrike" cap="none">
                <a:solidFill>
                  <a:schemeClr val="lt1"/>
                </a:solidFill>
                <a:latin typeface="Hammersmith One"/>
                <a:ea typeface="Hammersmith One"/>
                <a:cs typeface="Hammersmith One"/>
                <a:sym typeface="Hammersmith One"/>
              </a:defRPr>
            </a:lvl7pPr>
            <a:lvl8pPr marL="3657600" marR="0" lvl="7" indent="-317500" algn="r" rtl="0">
              <a:lnSpc>
                <a:spcPct val="100000"/>
              </a:lnSpc>
              <a:spcBef>
                <a:spcPts val="0"/>
              </a:spcBef>
              <a:spcAft>
                <a:spcPts val="0"/>
              </a:spcAft>
              <a:buClr>
                <a:schemeClr val="lt1"/>
              </a:buClr>
              <a:buSzPts val="1800"/>
              <a:buFont typeface="Hammersmith One"/>
              <a:buNone/>
              <a:defRPr sz="1800" b="0" i="0" u="none" strike="noStrike" cap="none">
                <a:solidFill>
                  <a:schemeClr val="lt1"/>
                </a:solidFill>
                <a:latin typeface="Hammersmith One"/>
                <a:ea typeface="Hammersmith One"/>
                <a:cs typeface="Hammersmith One"/>
                <a:sym typeface="Hammersmith One"/>
              </a:defRPr>
            </a:lvl8pPr>
            <a:lvl9pPr marL="4114800" marR="0" lvl="8" indent="-317500" algn="r" rtl="0">
              <a:lnSpc>
                <a:spcPct val="100000"/>
              </a:lnSpc>
              <a:spcBef>
                <a:spcPts val="0"/>
              </a:spcBef>
              <a:spcAft>
                <a:spcPts val="0"/>
              </a:spcAft>
              <a:buClr>
                <a:schemeClr val="lt1"/>
              </a:buClr>
              <a:buSzPts val="1800"/>
              <a:buFont typeface="Hammersmith One"/>
              <a:buNone/>
              <a:defRPr sz="1800" b="0" i="0" u="none" strike="noStrike" cap="none">
                <a:solidFill>
                  <a:schemeClr val="lt1"/>
                </a:solidFill>
                <a:latin typeface="Hammersmith One"/>
                <a:ea typeface="Hammersmith One"/>
                <a:cs typeface="Hammersmith One"/>
                <a:sym typeface="Hammersmith One"/>
              </a:defRPr>
            </a:lvl9pPr>
          </a:lstStyle>
          <a:p>
            <a:pPr marL="0" indent="0"/>
            <a:r>
              <a:rPr lang="en-CA"/>
              <a:t>Projected Impact</a:t>
            </a:r>
          </a:p>
        </p:txBody>
      </p:sp>
      <p:sp>
        <p:nvSpPr>
          <p:cNvPr id="4" name="Google Shape;321;p28">
            <a:extLst>
              <a:ext uri="{FF2B5EF4-FFF2-40B4-BE49-F238E27FC236}">
                <a16:creationId xmlns:a16="http://schemas.microsoft.com/office/drawing/2014/main" id="{BF4059EE-5B2F-F2BF-3FD8-8C9D5A1AD706}"/>
              </a:ext>
            </a:extLst>
          </p:cNvPr>
          <p:cNvSpPr txBox="1">
            <a:spLocks/>
          </p:cNvSpPr>
          <p:nvPr/>
        </p:nvSpPr>
        <p:spPr>
          <a:xfrm>
            <a:off x="7456223" y="3075704"/>
            <a:ext cx="1109700" cy="37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3"/>
              </a:buClr>
              <a:buSzPts val="2000"/>
              <a:buFont typeface="Hammersmith One"/>
              <a:buNone/>
              <a:defRPr sz="2000" b="0" i="0" u="none" strike="noStrike" cap="none">
                <a:solidFill>
                  <a:schemeClr val="accent3"/>
                </a:solidFill>
                <a:latin typeface="Hammersmith One"/>
                <a:ea typeface="Hammersmith One"/>
                <a:cs typeface="Hammersmith One"/>
                <a:sym typeface="Hammersmith One"/>
              </a:defRPr>
            </a:lvl1pPr>
            <a:lvl2pPr marR="0" lvl="1" algn="ctr" rtl="0">
              <a:lnSpc>
                <a:spcPct val="100000"/>
              </a:lnSpc>
              <a:spcBef>
                <a:spcPts val="0"/>
              </a:spcBef>
              <a:spcAft>
                <a:spcPts val="0"/>
              </a:spcAft>
              <a:buClr>
                <a:schemeClr val="accent3"/>
              </a:buClr>
              <a:buSzPts val="2000"/>
              <a:buFont typeface="Arial"/>
              <a:buNone/>
              <a:defRPr sz="2000" b="0" i="0" u="none" strike="noStrike" cap="none">
                <a:solidFill>
                  <a:schemeClr val="accent3"/>
                </a:solidFill>
                <a:latin typeface="Arial"/>
                <a:ea typeface="Arial"/>
                <a:cs typeface="Arial"/>
                <a:sym typeface="Arial"/>
              </a:defRPr>
            </a:lvl2pPr>
            <a:lvl3pPr marR="0" lvl="2" algn="ctr" rtl="0">
              <a:lnSpc>
                <a:spcPct val="100000"/>
              </a:lnSpc>
              <a:spcBef>
                <a:spcPts val="0"/>
              </a:spcBef>
              <a:spcAft>
                <a:spcPts val="0"/>
              </a:spcAft>
              <a:buClr>
                <a:schemeClr val="accent3"/>
              </a:buClr>
              <a:buSzPts val="2000"/>
              <a:buFont typeface="Arial"/>
              <a:buNone/>
              <a:defRPr sz="2000" b="0" i="0" u="none" strike="noStrike" cap="none">
                <a:solidFill>
                  <a:schemeClr val="accent3"/>
                </a:solidFill>
                <a:latin typeface="Arial"/>
                <a:ea typeface="Arial"/>
                <a:cs typeface="Arial"/>
                <a:sym typeface="Arial"/>
              </a:defRPr>
            </a:lvl3pPr>
            <a:lvl4pPr marR="0" lvl="3" algn="ctr" rtl="0">
              <a:lnSpc>
                <a:spcPct val="100000"/>
              </a:lnSpc>
              <a:spcBef>
                <a:spcPts val="0"/>
              </a:spcBef>
              <a:spcAft>
                <a:spcPts val="0"/>
              </a:spcAft>
              <a:buClr>
                <a:schemeClr val="accent3"/>
              </a:buClr>
              <a:buSzPts val="2000"/>
              <a:buFont typeface="Arial"/>
              <a:buNone/>
              <a:defRPr sz="2000" b="0" i="0" u="none" strike="noStrike" cap="none">
                <a:solidFill>
                  <a:schemeClr val="accent3"/>
                </a:solidFill>
                <a:latin typeface="Arial"/>
                <a:ea typeface="Arial"/>
                <a:cs typeface="Arial"/>
                <a:sym typeface="Arial"/>
              </a:defRPr>
            </a:lvl4pPr>
            <a:lvl5pPr marR="0" lvl="4" algn="ctr" rtl="0">
              <a:lnSpc>
                <a:spcPct val="100000"/>
              </a:lnSpc>
              <a:spcBef>
                <a:spcPts val="0"/>
              </a:spcBef>
              <a:spcAft>
                <a:spcPts val="0"/>
              </a:spcAft>
              <a:buClr>
                <a:schemeClr val="accent3"/>
              </a:buClr>
              <a:buSzPts val="2000"/>
              <a:buFont typeface="Arial"/>
              <a:buNone/>
              <a:defRPr sz="2000" b="0" i="0" u="none" strike="noStrike" cap="none">
                <a:solidFill>
                  <a:schemeClr val="accent3"/>
                </a:solidFill>
                <a:latin typeface="Arial"/>
                <a:ea typeface="Arial"/>
                <a:cs typeface="Arial"/>
                <a:sym typeface="Arial"/>
              </a:defRPr>
            </a:lvl5pPr>
            <a:lvl6pPr marR="0" lvl="5" algn="ctr" rtl="0">
              <a:lnSpc>
                <a:spcPct val="100000"/>
              </a:lnSpc>
              <a:spcBef>
                <a:spcPts val="0"/>
              </a:spcBef>
              <a:spcAft>
                <a:spcPts val="0"/>
              </a:spcAft>
              <a:buClr>
                <a:schemeClr val="accent3"/>
              </a:buClr>
              <a:buSzPts val="2000"/>
              <a:buFont typeface="Arial"/>
              <a:buNone/>
              <a:defRPr sz="2000" b="0" i="0" u="none" strike="noStrike" cap="none">
                <a:solidFill>
                  <a:schemeClr val="accent3"/>
                </a:solidFill>
                <a:latin typeface="Arial"/>
                <a:ea typeface="Arial"/>
                <a:cs typeface="Arial"/>
                <a:sym typeface="Arial"/>
              </a:defRPr>
            </a:lvl6pPr>
            <a:lvl7pPr marR="0" lvl="6" algn="ctr" rtl="0">
              <a:lnSpc>
                <a:spcPct val="100000"/>
              </a:lnSpc>
              <a:spcBef>
                <a:spcPts val="0"/>
              </a:spcBef>
              <a:spcAft>
                <a:spcPts val="0"/>
              </a:spcAft>
              <a:buClr>
                <a:schemeClr val="accent3"/>
              </a:buClr>
              <a:buSzPts val="2000"/>
              <a:buFont typeface="Arial"/>
              <a:buNone/>
              <a:defRPr sz="2000" b="0" i="0" u="none" strike="noStrike" cap="none">
                <a:solidFill>
                  <a:schemeClr val="accent3"/>
                </a:solidFill>
                <a:latin typeface="Arial"/>
                <a:ea typeface="Arial"/>
                <a:cs typeface="Arial"/>
                <a:sym typeface="Arial"/>
              </a:defRPr>
            </a:lvl7pPr>
            <a:lvl8pPr marR="0" lvl="7" algn="ctr" rtl="0">
              <a:lnSpc>
                <a:spcPct val="100000"/>
              </a:lnSpc>
              <a:spcBef>
                <a:spcPts val="0"/>
              </a:spcBef>
              <a:spcAft>
                <a:spcPts val="0"/>
              </a:spcAft>
              <a:buClr>
                <a:schemeClr val="accent3"/>
              </a:buClr>
              <a:buSzPts val="2000"/>
              <a:buFont typeface="Arial"/>
              <a:buNone/>
              <a:defRPr sz="2000" b="0" i="0" u="none" strike="noStrike" cap="none">
                <a:solidFill>
                  <a:schemeClr val="accent3"/>
                </a:solidFill>
                <a:latin typeface="Arial"/>
                <a:ea typeface="Arial"/>
                <a:cs typeface="Arial"/>
                <a:sym typeface="Arial"/>
              </a:defRPr>
            </a:lvl8pPr>
            <a:lvl9pPr marR="0" lvl="8" algn="ctr" rtl="0">
              <a:lnSpc>
                <a:spcPct val="100000"/>
              </a:lnSpc>
              <a:spcBef>
                <a:spcPts val="0"/>
              </a:spcBef>
              <a:spcAft>
                <a:spcPts val="0"/>
              </a:spcAft>
              <a:buClr>
                <a:schemeClr val="accent3"/>
              </a:buClr>
              <a:buSzPts val="2000"/>
              <a:buFont typeface="Arial"/>
              <a:buNone/>
              <a:defRPr sz="2000" b="0" i="0" u="none" strike="noStrike" cap="none">
                <a:solidFill>
                  <a:schemeClr val="accent3"/>
                </a:solidFill>
                <a:latin typeface="Arial"/>
                <a:ea typeface="Arial"/>
                <a:cs typeface="Arial"/>
                <a:sym typeface="Arial"/>
              </a:defRPr>
            </a:lvl9pPr>
          </a:lstStyle>
          <a:p>
            <a:r>
              <a:rPr lang="en"/>
              <a:t>07</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BA638-232D-12D4-6739-B86677D7C32D}"/>
              </a:ext>
            </a:extLst>
          </p:cNvPr>
          <p:cNvSpPr>
            <a:spLocks noGrp="1"/>
          </p:cNvSpPr>
          <p:nvPr>
            <p:ph type="title"/>
          </p:nvPr>
        </p:nvSpPr>
        <p:spPr/>
        <p:txBody>
          <a:bodyPr/>
          <a:lstStyle/>
          <a:p>
            <a:r>
              <a:rPr lang="en-US"/>
              <a:t>Appendix</a:t>
            </a:r>
          </a:p>
        </p:txBody>
      </p:sp>
      <p:pic>
        <p:nvPicPr>
          <p:cNvPr id="3" name="Picture 2">
            <a:extLst>
              <a:ext uri="{FF2B5EF4-FFF2-40B4-BE49-F238E27FC236}">
                <a16:creationId xmlns:a16="http://schemas.microsoft.com/office/drawing/2014/main" id="{812F6544-21B6-5FB5-0344-906674EEB5AE}"/>
              </a:ext>
            </a:extLst>
          </p:cNvPr>
          <p:cNvPicPr>
            <a:picLocks noChangeAspect="1"/>
          </p:cNvPicPr>
          <p:nvPr/>
        </p:nvPicPr>
        <p:blipFill>
          <a:blip r:embed="rId2"/>
          <a:stretch>
            <a:fillRect/>
          </a:stretch>
        </p:blipFill>
        <p:spPr>
          <a:xfrm>
            <a:off x="1930911" y="1031805"/>
            <a:ext cx="5045298" cy="3820738"/>
          </a:xfrm>
          <a:prstGeom prst="rect">
            <a:avLst/>
          </a:prstGeom>
        </p:spPr>
      </p:pic>
    </p:spTree>
    <p:extLst>
      <p:ext uri="{BB962C8B-B14F-4D97-AF65-F5344CB8AC3E}">
        <p14:creationId xmlns:p14="http://schemas.microsoft.com/office/powerpoint/2010/main" val="185265534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BA638-232D-12D4-6739-B86677D7C32D}"/>
              </a:ext>
            </a:extLst>
          </p:cNvPr>
          <p:cNvSpPr>
            <a:spLocks noGrp="1"/>
          </p:cNvSpPr>
          <p:nvPr>
            <p:ph type="title"/>
          </p:nvPr>
        </p:nvSpPr>
        <p:spPr/>
        <p:txBody>
          <a:bodyPr/>
          <a:lstStyle/>
          <a:p>
            <a:r>
              <a:rPr lang="en-US"/>
              <a:t>Appendix</a:t>
            </a:r>
          </a:p>
        </p:txBody>
      </p:sp>
      <p:pic>
        <p:nvPicPr>
          <p:cNvPr id="4" name="Picture 3" descr="A screenshot of a computer&#10;&#10;Description automatically generated">
            <a:extLst>
              <a:ext uri="{FF2B5EF4-FFF2-40B4-BE49-F238E27FC236}">
                <a16:creationId xmlns:a16="http://schemas.microsoft.com/office/drawing/2014/main" id="{F65150B0-8E86-B3A1-3473-ABD2C2565C15}"/>
              </a:ext>
            </a:extLst>
          </p:cNvPr>
          <p:cNvPicPr>
            <a:picLocks noChangeAspect="1"/>
          </p:cNvPicPr>
          <p:nvPr/>
        </p:nvPicPr>
        <p:blipFill>
          <a:blip r:embed="rId2"/>
          <a:stretch>
            <a:fillRect/>
          </a:stretch>
        </p:blipFill>
        <p:spPr>
          <a:xfrm>
            <a:off x="335478" y="872400"/>
            <a:ext cx="8666018" cy="3918245"/>
          </a:xfrm>
          <a:prstGeom prst="rect">
            <a:avLst/>
          </a:prstGeom>
        </p:spPr>
      </p:pic>
    </p:spTree>
    <p:extLst>
      <p:ext uri="{BB962C8B-B14F-4D97-AF65-F5344CB8AC3E}">
        <p14:creationId xmlns:p14="http://schemas.microsoft.com/office/powerpoint/2010/main" val="364579432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BA638-232D-12D4-6739-B86677D7C32D}"/>
              </a:ext>
            </a:extLst>
          </p:cNvPr>
          <p:cNvSpPr>
            <a:spLocks noGrp="1"/>
          </p:cNvSpPr>
          <p:nvPr>
            <p:ph type="title"/>
          </p:nvPr>
        </p:nvSpPr>
        <p:spPr/>
        <p:txBody>
          <a:bodyPr/>
          <a:lstStyle/>
          <a:p>
            <a:r>
              <a:rPr lang="en-US"/>
              <a:t>Appendix</a:t>
            </a:r>
          </a:p>
        </p:txBody>
      </p:sp>
      <p:pic>
        <p:nvPicPr>
          <p:cNvPr id="4" name="Picture 3">
            <a:extLst>
              <a:ext uri="{FF2B5EF4-FFF2-40B4-BE49-F238E27FC236}">
                <a16:creationId xmlns:a16="http://schemas.microsoft.com/office/drawing/2014/main" id="{C7EAB9D6-6DD2-1711-6AC1-923C1B587369}"/>
              </a:ext>
            </a:extLst>
          </p:cNvPr>
          <p:cNvPicPr>
            <a:picLocks noChangeAspect="1"/>
          </p:cNvPicPr>
          <p:nvPr/>
        </p:nvPicPr>
        <p:blipFill>
          <a:blip r:embed="rId2"/>
          <a:stretch>
            <a:fillRect/>
          </a:stretch>
        </p:blipFill>
        <p:spPr>
          <a:xfrm>
            <a:off x="149926" y="937476"/>
            <a:ext cx="8858992" cy="3892000"/>
          </a:xfrm>
          <a:prstGeom prst="rect">
            <a:avLst/>
          </a:prstGeom>
        </p:spPr>
      </p:pic>
    </p:spTree>
    <p:extLst>
      <p:ext uri="{BB962C8B-B14F-4D97-AF65-F5344CB8AC3E}">
        <p14:creationId xmlns:p14="http://schemas.microsoft.com/office/powerpoint/2010/main" val="153383082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BA638-232D-12D4-6739-B86677D7C32D}"/>
              </a:ext>
            </a:extLst>
          </p:cNvPr>
          <p:cNvSpPr>
            <a:spLocks noGrp="1"/>
          </p:cNvSpPr>
          <p:nvPr>
            <p:ph type="title"/>
          </p:nvPr>
        </p:nvSpPr>
        <p:spPr/>
        <p:txBody>
          <a:bodyPr/>
          <a:lstStyle/>
          <a:p>
            <a:r>
              <a:rPr lang="en-US"/>
              <a:t>Appendix</a:t>
            </a:r>
          </a:p>
        </p:txBody>
      </p:sp>
      <p:pic>
        <p:nvPicPr>
          <p:cNvPr id="3" name="Picture 2">
            <a:extLst>
              <a:ext uri="{FF2B5EF4-FFF2-40B4-BE49-F238E27FC236}">
                <a16:creationId xmlns:a16="http://schemas.microsoft.com/office/drawing/2014/main" id="{D6C10250-886E-27BA-716B-FB4BE060CB11}"/>
              </a:ext>
            </a:extLst>
          </p:cNvPr>
          <p:cNvPicPr>
            <a:picLocks noChangeAspect="1"/>
          </p:cNvPicPr>
          <p:nvPr/>
        </p:nvPicPr>
        <p:blipFill>
          <a:blip r:embed="rId2"/>
          <a:stretch>
            <a:fillRect/>
          </a:stretch>
        </p:blipFill>
        <p:spPr>
          <a:xfrm>
            <a:off x="2584368" y="1207910"/>
            <a:ext cx="3967842" cy="3618329"/>
          </a:xfrm>
          <a:prstGeom prst="rect">
            <a:avLst/>
          </a:prstGeom>
        </p:spPr>
      </p:pic>
    </p:spTree>
    <p:extLst>
      <p:ext uri="{BB962C8B-B14F-4D97-AF65-F5344CB8AC3E}">
        <p14:creationId xmlns:p14="http://schemas.microsoft.com/office/powerpoint/2010/main" val="77956857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BA638-232D-12D4-6739-B86677D7C32D}"/>
              </a:ext>
            </a:extLst>
          </p:cNvPr>
          <p:cNvSpPr>
            <a:spLocks noGrp="1"/>
          </p:cNvSpPr>
          <p:nvPr>
            <p:ph type="title"/>
          </p:nvPr>
        </p:nvSpPr>
        <p:spPr/>
        <p:txBody>
          <a:bodyPr/>
          <a:lstStyle/>
          <a:p>
            <a:r>
              <a:rPr lang="en-US"/>
              <a:t>Appendix</a:t>
            </a:r>
          </a:p>
        </p:txBody>
      </p:sp>
      <p:pic>
        <p:nvPicPr>
          <p:cNvPr id="3" name="Picture 2">
            <a:extLst>
              <a:ext uri="{FF2B5EF4-FFF2-40B4-BE49-F238E27FC236}">
                <a16:creationId xmlns:a16="http://schemas.microsoft.com/office/drawing/2014/main" id="{C252E753-440D-0EA4-2C45-FBBD025E20DA}"/>
              </a:ext>
            </a:extLst>
          </p:cNvPr>
          <p:cNvPicPr>
            <a:picLocks noChangeAspect="1"/>
          </p:cNvPicPr>
          <p:nvPr/>
        </p:nvPicPr>
        <p:blipFill>
          <a:blip r:embed="rId2"/>
          <a:stretch>
            <a:fillRect/>
          </a:stretch>
        </p:blipFill>
        <p:spPr>
          <a:xfrm>
            <a:off x="409699" y="1051515"/>
            <a:ext cx="8376557" cy="3604548"/>
          </a:xfrm>
          <a:prstGeom prst="rect">
            <a:avLst/>
          </a:prstGeom>
        </p:spPr>
      </p:pic>
    </p:spTree>
    <p:extLst>
      <p:ext uri="{BB962C8B-B14F-4D97-AF65-F5344CB8AC3E}">
        <p14:creationId xmlns:p14="http://schemas.microsoft.com/office/powerpoint/2010/main" val="346370018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BA638-232D-12D4-6739-B86677D7C32D}"/>
              </a:ext>
            </a:extLst>
          </p:cNvPr>
          <p:cNvSpPr>
            <a:spLocks noGrp="1"/>
          </p:cNvSpPr>
          <p:nvPr>
            <p:ph type="title"/>
          </p:nvPr>
        </p:nvSpPr>
        <p:spPr/>
        <p:txBody>
          <a:bodyPr/>
          <a:lstStyle/>
          <a:p>
            <a:r>
              <a:rPr lang="en-US"/>
              <a:t>Appendix</a:t>
            </a:r>
          </a:p>
        </p:txBody>
      </p:sp>
      <p:pic>
        <p:nvPicPr>
          <p:cNvPr id="3" name="Picture 2">
            <a:extLst>
              <a:ext uri="{FF2B5EF4-FFF2-40B4-BE49-F238E27FC236}">
                <a16:creationId xmlns:a16="http://schemas.microsoft.com/office/drawing/2014/main" id="{9C172402-8D0F-1F82-3AE1-F3A10155729A}"/>
              </a:ext>
            </a:extLst>
          </p:cNvPr>
          <p:cNvPicPr>
            <a:picLocks noChangeAspect="1"/>
          </p:cNvPicPr>
          <p:nvPr/>
        </p:nvPicPr>
        <p:blipFill>
          <a:blip r:embed="rId2"/>
          <a:stretch>
            <a:fillRect/>
          </a:stretch>
        </p:blipFill>
        <p:spPr>
          <a:xfrm>
            <a:off x="1255816" y="1038991"/>
            <a:ext cx="6639790" cy="3562797"/>
          </a:xfrm>
          <a:prstGeom prst="rect">
            <a:avLst/>
          </a:prstGeom>
        </p:spPr>
      </p:pic>
    </p:spTree>
    <p:extLst>
      <p:ext uri="{BB962C8B-B14F-4D97-AF65-F5344CB8AC3E}">
        <p14:creationId xmlns:p14="http://schemas.microsoft.com/office/powerpoint/2010/main" val="248729730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BA638-232D-12D4-6739-B86677D7C32D}"/>
              </a:ext>
            </a:extLst>
          </p:cNvPr>
          <p:cNvSpPr>
            <a:spLocks noGrp="1"/>
          </p:cNvSpPr>
          <p:nvPr>
            <p:ph type="title"/>
          </p:nvPr>
        </p:nvSpPr>
        <p:spPr/>
        <p:txBody>
          <a:bodyPr/>
          <a:lstStyle/>
          <a:p>
            <a:r>
              <a:rPr lang="en-US"/>
              <a:t>Appendix</a:t>
            </a:r>
          </a:p>
        </p:txBody>
      </p:sp>
      <p:pic>
        <p:nvPicPr>
          <p:cNvPr id="3" name="Picture 2">
            <a:extLst>
              <a:ext uri="{FF2B5EF4-FFF2-40B4-BE49-F238E27FC236}">
                <a16:creationId xmlns:a16="http://schemas.microsoft.com/office/drawing/2014/main" id="{056116CC-0B13-9BC5-5739-13255718A74E}"/>
              </a:ext>
            </a:extLst>
          </p:cNvPr>
          <p:cNvPicPr>
            <a:picLocks noChangeAspect="1"/>
          </p:cNvPicPr>
          <p:nvPr/>
        </p:nvPicPr>
        <p:blipFill>
          <a:blip r:embed="rId2"/>
          <a:stretch>
            <a:fillRect/>
          </a:stretch>
        </p:blipFill>
        <p:spPr>
          <a:xfrm>
            <a:off x="2124199" y="1098397"/>
            <a:ext cx="4895602" cy="3800245"/>
          </a:xfrm>
          <a:prstGeom prst="rect">
            <a:avLst/>
          </a:prstGeom>
        </p:spPr>
      </p:pic>
    </p:spTree>
    <p:extLst>
      <p:ext uri="{BB962C8B-B14F-4D97-AF65-F5344CB8AC3E}">
        <p14:creationId xmlns:p14="http://schemas.microsoft.com/office/powerpoint/2010/main" val="19418939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BA638-232D-12D4-6739-B86677D7C32D}"/>
              </a:ext>
            </a:extLst>
          </p:cNvPr>
          <p:cNvSpPr>
            <a:spLocks noGrp="1"/>
          </p:cNvSpPr>
          <p:nvPr>
            <p:ph type="title"/>
          </p:nvPr>
        </p:nvSpPr>
        <p:spPr/>
        <p:txBody>
          <a:bodyPr/>
          <a:lstStyle/>
          <a:p>
            <a:r>
              <a:rPr lang="en-US"/>
              <a:t>Appendix</a:t>
            </a:r>
          </a:p>
        </p:txBody>
      </p:sp>
      <p:pic>
        <p:nvPicPr>
          <p:cNvPr id="3" name="Picture 2" descr="A screenshot of a computer&#10;&#10;Description automatically generated">
            <a:extLst>
              <a:ext uri="{FF2B5EF4-FFF2-40B4-BE49-F238E27FC236}">
                <a16:creationId xmlns:a16="http://schemas.microsoft.com/office/drawing/2014/main" id="{CCFEB617-B99F-3595-1383-889B97662C96}"/>
              </a:ext>
            </a:extLst>
          </p:cNvPr>
          <p:cNvPicPr>
            <a:picLocks noChangeAspect="1"/>
          </p:cNvPicPr>
          <p:nvPr/>
        </p:nvPicPr>
        <p:blipFill>
          <a:blip r:embed="rId2"/>
          <a:stretch>
            <a:fillRect/>
          </a:stretch>
        </p:blipFill>
        <p:spPr>
          <a:xfrm>
            <a:off x="216725" y="907371"/>
            <a:ext cx="8755083" cy="4041278"/>
          </a:xfrm>
          <a:prstGeom prst="rect">
            <a:avLst/>
          </a:prstGeom>
        </p:spPr>
      </p:pic>
    </p:spTree>
    <p:extLst>
      <p:ext uri="{BB962C8B-B14F-4D97-AF65-F5344CB8AC3E}">
        <p14:creationId xmlns:p14="http://schemas.microsoft.com/office/powerpoint/2010/main" val="67146061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BA638-232D-12D4-6739-B86677D7C32D}"/>
              </a:ext>
            </a:extLst>
          </p:cNvPr>
          <p:cNvSpPr>
            <a:spLocks noGrp="1"/>
          </p:cNvSpPr>
          <p:nvPr>
            <p:ph type="title"/>
          </p:nvPr>
        </p:nvSpPr>
        <p:spPr/>
        <p:txBody>
          <a:bodyPr/>
          <a:lstStyle/>
          <a:p>
            <a:r>
              <a:rPr lang="en-US"/>
              <a:t>Appendix</a:t>
            </a:r>
          </a:p>
        </p:txBody>
      </p:sp>
      <p:pic>
        <p:nvPicPr>
          <p:cNvPr id="4" name="Picture 3" descr="A screenshot of a graph&#10;&#10;Description automatically generated">
            <a:extLst>
              <a:ext uri="{FF2B5EF4-FFF2-40B4-BE49-F238E27FC236}">
                <a16:creationId xmlns:a16="http://schemas.microsoft.com/office/drawing/2014/main" id="{C3AAE580-0C15-87C3-DFDA-543E1D6621EA}"/>
              </a:ext>
            </a:extLst>
          </p:cNvPr>
          <p:cNvPicPr>
            <a:picLocks noChangeAspect="1"/>
          </p:cNvPicPr>
          <p:nvPr/>
        </p:nvPicPr>
        <p:blipFill>
          <a:blip r:embed="rId2"/>
          <a:stretch>
            <a:fillRect/>
          </a:stretch>
        </p:blipFill>
        <p:spPr>
          <a:xfrm>
            <a:off x="141194" y="931700"/>
            <a:ext cx="8878420" cy="3750746"/>
          </a:xfrm>
          <a:prstGeom prst="rect">
            <a:avLst/>
          </a:prstGeom>
        </p:spPr>
      </p:pic>
    </p:spTree>
    <p:extLst>
      <p:ext uri="{BB962C8B-B14F-4D97-AF65-F5344CB8AC3E}">
        <p14:creationId xmlns:p14="http://schemas.microsoft.com/office/powerpoint/2010/main" val="210370516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BA638-232D-12D4-6739-B86677D7C32D}"/>
              </a:ext>
            </a:extLst>
          </p:cNvPr>
          <p:cNvSpPr>
            <a:spLocks noGrp="1"/>
          </p:cNvSpPr>
          <p:nvPr>
            <p:ph type="title"/>
          </p:nvPr>
        </p:nvSpPr>
        <p:spPr/>
        <p:txBody>
          <a:bodyPr/>
          <a:lstStyle/>
          <a:p>
            <a:r>
              <a:rPr lang="en-US"/>
              <a:t>Appendix</a:t>
            </a:r>
          </a:p>
        </p:txBody>
      </p:sp>
      <p:pic>
        <p:nvPicPr>
          <p:cNvPr id="3" name="Picture 2">
            <a:extLst>
              <a:ext uri="{FF2B5EF4-FFF2-40B4-BE49-F238E27FC236}">
                <a16:creationId xmlns:a16="http://schemas.microsoft.com/office/drawing/2014/main" id="{79DF6528-8340-00C6-4D0B-DE45441AB570}"/>
              </a:ext>
            </a:extLst>
          </p:cNvPr>
          <p:cNvPicPr>
            <a:picLocks noChangeAspect="1"/>
          </p:cNvPicPr>
          <p:nvPr/>
        </p:nvPicPr>
        <p:blipFill>
          <a:blip r:embed="rId2"/>
          <a:stretch>
            <a:fillRect/>
          </a:stretch>
        </p:blipFill>
        <p:spPr>
          <a:xfrm>
            <a:off x="342900" y="873287"/>
            <a:ext cx="8465622" cy="1170302"/>
          </a:xfrm>
          <a:prstGeom prst="rect">
            <a:avLst/>
          </a:prstGeom>
        </p:spPr>
      </p:pic>
      <p:pic>
        <p:nvPicPr>
          <p:cNvPr id="5" name="Picture 4">
            <a:extLst>
              <a:ext uri="{FF2B5EF4-FFF2-40B4-BE49-F238E27FC236}">
                <a16:creationId xmlns:a16="http://schemas.microsoft.com/office/drawing/2014/main" id="{5C9CE01D-8BC1-9E66-51D5-F94E7B3A8D69}"/>
              </a:ext>
            </a:extLst>
          </p:cNvPr>
          <p:cNvPicPr>
            <a:picLocks noChangeAspect="1"/>
          </p:cNvPicPr>
          <p:nvPr/>
        </p:nvPicPr>
        <p:blipFill>
          <a:blip r:embed="rId3"/>
          <a:stretch>
            <a:fillRect/>
          </a:stretch>
        </p:blipFill>
        <p:spPr>
          <a:xfrm>
            <a:off x="120239" y="2152823"/>
            <a:ext cx="4079174" cy="2485555"/>
          </a:xfrm>
          <a:prstGeom prst="rect">
            <a:avLst/>
          </a:prstGeom>
        </p:spPr>
      </p:pic>
      <p:pic>
        <p:nvPicPr>
          <p:cNvPr id="6" name="Picture 5">
            <a:extLst>
              <a:ext uri="{FF2B5EF4-FFF2-40B4-BE49-F238E27FC236}">
                <a16:creationId xmlns:a16="http://schemas.microsoft.com/office/drawing/2014/main" id="{A7842A55-4479-B7E4-1885-F08ADDCE87ED}"/>
              </a:ext>
            </a:extLst>
          </p:cNvPr>
          <p:cNvPicPr>
            <a:picLocks noChangeAspect="1"/>
          </p:cNvPicPr>
          <p:nvPr/>
        </p:nvPicPr>
        <p:blipFill>
          <a:blip r:embed="rId4"/>
          <a:stretch>
            <a:fillRect/>
          </a:stretch>
        </p:blipFill>
        <p:spPr>
          <a:xfrm>
            <a:off x="4098472" y="2152563"/>
            <a:ext cx="4992090" cy="2738422"/>
          </a:xfrm>
          <a:prstGeom prst="rect">
            <a:avLst/>
          </a:prstGeom>
        </p:spPr>
      </p:pic>
    </p:spTree>
    <p:extLst>
      <p:ext uri="{BB962C8B-B14F-4D97-AF65-F5344CB8AC3E}">
        <p14:creationId xmlns:p14="http://schemas.microsoft.com/office/powerpoint/2010/main" val="13753604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403"/>
        <p:cNvGrpSpPr/>
        <p:nvPr/>
      </p:nvGrpSpPr>
      <p:grpSpPr>
        <a:xfrm>
          <a:off x="0" y="0"/>
          <a:ext cx="0" cy="0"/>
          <a:chOff x="0" y="0"/>
          <a:chExt cx="0" cy="0"/>
        </a:xfrm>
      </p:grpSpPr>
      <p:sp>
        <p:nvSpPr>
          <p:cNvPr id="404" name="Google Shape;404;p30"/>
          <p:cNvSpPr txBox="1">
            <a:spLocks noGrp="1"/>
          </p:cNvSpPr>
          <p:nvPr>
            <p:ph type="ctrTitle"/>
          </p:nvPr>
        </p:nvSpPr>
        <p:spPr>
          <a:xfrm>
            <a:off x="500707" y="1218226"/>
            <a:ext cx="4738732" cy="2751274"/>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IN" sz="3600"/>
              <a:t>Background &amp; Objectives</a:t>
            </a:r>
          </a:p>
        </p:txBody>
      </p:sp>
      <p:sp>
        <p:nvSpPr>
          <p:cNvPr id="406" name="Google Shape;406;p30"/>
          <p:cNvSpPr txBox="1">
            <a:spLocks noGrp="1"/>
          </p:cNvSpPr>
          <p:nvPr>
            <p:ph type="title" idx="2"/>
          </p:nvPr>
        </p:nvSpPr>
        <p:spPr>
          <a:xfrm>
            <a:off x="696596" y="336990"/>
            <a:ext cx="1554900" cy="10533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01</a:t>
            </a:r>
            <a:endParaRPr/>
          </a:p>
        </p:txBody>
      </p:sp>
      <p:sp>
        <p:nvSpPr>
          <p:cNvPr id="489" name="Google Shape;489;p30"/>
          <p:cNvSpPr/>
          <p:nvPr/>
        </p:nvSpPr>
        <p:spPr>
          <a:xfrm rot="-10189978" flipH="1">
            <a:off x="4276173" y="1248422"/>
            <a:ext cx="328487" cy="328248"/>
          </a:xfrm>
          <a:custGeom>
            <a:avLst/>
            <a:gdLst/>
            <a:ahLst/>
            <a:cxnLst/>
            <a:rect l="l" t="t" r="r" b="b"/>
            <a:pathLst>
              <a:path w="45300" h="45267" extrusionOk="0">
                <a:moveTo>
                  <a:pt x="22629" y="6872"/>
                </a:moveTo>
                <a:cubicBezTo>
                  <a:pt x="26731" y="6872"/>
                  <a:pt x="30760" y="8466"/>
                  <a:pt x="33792" y="11476"/>
                </a:cubicBezTo>
                <a:cubicBezTo>
                  <a:pt x="38295" y="16012"/>
                  <a:pt x="39629" y="22784"/>
                  <a:pt x="37194" y="28688"/>
                </a:cubicBezTo>
                <a:cubicBezTo>
                  <a:pt x="34759" y="34559"/>
                  <a:pt x="29021" y="38428"/>
                  <a:pt x="22617" y="38428"/>
                </a:cubicBezTo>
                <a:lnTo>
                  <a:pt x="22617" y="38395"/>
                </a:lnTo>
                <a:cubicBezTo>
                  <a:pt x="13911" y="38395"/>
                  <a:pt x="6872" y="31356"/>
                  <a:pt x="6872" y="22650"/>
                </a:cubicBezTo>
                <a:cubicBezTo>
                  <a:pt x="6839" y="16279"/>
                  <a:pt x="10708" y="10508"/>
                  <a:pt x="16579" y="8073"/>
                </a:cubicBezTo>
                <a:cubicBezTo>
                  <a:pt x="18538" y="7265"/>
                  <a:pt x="20592" y="6872"/>
                  <a:pt x="22629" y="6872"/>
                </a:cubicBezTo>
                <a:close/>
                <a:moveTo>
                  <a:pt x="20916" y="1"/>
                </a:moveTo>
                <a:lnTo>
                  <a:pt x="20315" y="2102"/>
                </a:lnTo>
                <a:cubicBezTo>
                  <a:pt x="19148" y="2236"/>
                  <a:pt x="18014" y="2469"/>
                  <a:pt x="16913" y="2769"/>
                </a:cubicBezTo>
                <a:lnTo>
                  <a:pt x="15545" y="1068"/>
                </a:lnTo>
                <a:lnTo>
                  <a:pt x="12376" y="2369"/>
                </a:lnTo>
                <a:lnTo>
                  <a:pt x="12643" y="4571"/>
                </a:lnTo>
                <a:cubicBezTo>
                  <a:pt x="11609" y="5104"/>
                  <a:pt x="10642" y="5771"/>
                  <a:pt x="9741" y="6472"/>
                </a:cubicBezTo>
                <a:lnTo>
                  <a:pt x="7806" y="5405"/>
                </a:lnTo>
                <a:lnTo>
                  <a:pt x="5405" y="7840"/>
                </a:lnTo>
                <a:lnTo>
                  <a:pt x="6472" y="9774"/>
                </a:lnTo>
                <a:cubicBezTo>
                  <a:pt x="5772" y="10675"/>
                  <a:pt x="5104" y="11642"/>
                  <a:pt x="4537" y="12643"/>
                </a:cubicBezTo>
                <a:lnTo>
                  <a:pt x="2369" y="12410"/>
                </a:lnTo>
                <a:lnTo>
                  <a:pt x="1068" y="15545"/>
                </a:lnTo>
                <a:lnTo>
                  <a:pt x="2769" y="16913"/>
                </a:lnTo>
                <a:cubicBezTo>
                  <a:pt x="2436" y="18047"/>
                  <a:pt x="2236" y="19181"/>
                  <a:pt x="2102" y="20315"/>
                </a:cubicBezTo>
                <a:lnTo>
                  <a:pt x="1" y="20916"/>
                </a:lnTo>
                <a:lnTo>
                  <a:pt x="1" y="24351"/>
                </a:lnTo>
                <a:lnTo>
                  <a:pt x="2102" y="24952"/>
                </a:lnTo>
                <a:cubicBezTo>
                  <a:pt x="2236" y="26086"/>
                  <a:pt x="2469" y="27220"/>
                  <a:pt x="2769" y="28354"/>
                </a:cubicBezTo>
                <a:lnTo>
                  <a:pt x="1068" y="29722"/>
                </a:lnTo>
                <a:lnTo>
                  <a:pt x="2369" y="32857"/>
                </a:lnTo>
                <a:lnTo>
                  <a:pt x="4537" y="32624"/>
                </a:lnTo>
                <a:cubicBezTo>
                  <a:pt x="5104" y="33625"/>
                  <a:pt x="5772" y="34592"/>
                  <a:pt x="6472" y="35493"/>
                </a:cubicBezTo>
                <a:lnTo>
                  <a:pt x="5405" y="37427"/>
                </a:lnTo>
                <a:lnTo>
                  <a:pt x="7840" y="39863"/>
                </a:lnTo>
                <a:lnTo>
                  <a:pt x="9774" y="38795"/>
                </a:lnTo>
                <a:cubicBezTo>
                  <a:pt x="10675" y="39496"/>
                  <a:pt x="11642" y="40163"/>
                  <a:pt x="12643" y="40730"/>
                </a:cubicBezTo>
                <a:lnTo>
                  <a:pt x="12410" y="42898"/>
                </a:lnTo>
                <a:lnTo>
                  <a:pt x="15545" y="44199"/>
                </a:lnTo>
                <a:lnTo>
                  <a:pt x="16913" y="42498"/>
                </a:lnTo>
                <a:cubicBezTo>
                  <a:pt x="18047" y="42798"/>
                  <a:pt x="19181" y="43031"/>
                  <a:pt x="20349" y="43165"/>
                </a:cubicBezTo>
                <a:lnTo>
                  <a:pt x="20916" y="45266"/>
                </a:lnTo>
                <a:lnTo>
                  <a:pt x="24318" y="45266"/>
                </a:lnTo>
                <a:lnTo>
                  <a:pt x="24952" y="43165"/>
                </a:lnTo>
                <a:cubicBezTo>
                  <a:pt x="26086" y="43031"/>
                  <a:pt x="27220" y="42798"/>
                  <a:pt x="28354" y="42498"/>
                </a:cubicBezTo>
                <a:lnTo>
                  <a:pt x="29722" y="44199"/>
                </a:lnTo>
                <a:lnTo>
                  <a:pt x="32858" y="42898"/>
                </a:lnTo>
                <a:lnTo>
                  <a:pt x="32624" y="40730"/>
                </a:lnTo>
                <a:cubicBezTo>
                  <a:pt x="33625" y="40163"/>
                  <a:pt x="34592" y="39496"/>
                  <a:pt x="35493" y="38795"/>
                </a:cubicBezTo>
                <a:lnTo>
                  <a:pt x="37427" y="39863"/>
                </a:lnTo>
                <a:lnTo>
                  <a:pt x="39863" y="37461"/>
                </a:lnTo>
                <a:lnTo>
                  <a:pt x="38795" y="35526"/>
                </a:lnTo>
                <a:cubicBezTo>
                  <a:pt x="39496" y="34625"/>
                  <a:pt x="40163" y="33658"/>
                  <a:pt x="40730" y="32657"/>
                </a:cubicBezTo>
                <a:lnTo>
                  <a:pt x="42898" y="32891"/>
                </a:lnTo>
                <a:lnTo>
                  <a:pt x="44199" y="29722"/>
                </a:lnTo>
                <a:lnTo>
                  <a:pt x="42498" y="28354"/>
                </a:lnTo>
                <a:cubicBezTo>
                  <a:pt x="42798" y="27253"/>
                  <a:pt x="43031" y="26119"/>
                  <a:pt x="43165" y="24952"/>
                </a:cubicBezTo>
                <a:lnTo>
                  <a:pt x="45300" y="24351"/>
                </a:lnTo>
                <a:lnTo>
                  <a:pt x="45300" y="20916"/>
                </a:lnTo>
                <a:lnTo>
                  <a:pt x="43165" y="20315"/>
                </a:lnTo>
                <a:cubicBezTo>
                  <a:pt x="43031" y="19181"/>
                  <a:pt x="42798" y="18047"/>
                  <a:pt x="42498" y="16913"/>
                </a:cubicBezTo>
                <a:lnTo>
                  <a:pt x="44199" y="15545"/>
                </a:lnTo>
                <a:lnTo>
                  <a:pt x="42898" y="12376"/>
                </a:lnTo>
                <a:lnTo>
                  <a:pt x="40730" y="12643"/>
                </a:lnTo>
                <a:cubicBezTo>
                  <a:pt x="40163" y="11642"/>
                  <a:pt x="39496" y="10675"/>
                  <a:pt x="38795" y="9774"/>
                </a:cubicBezTo>
                <a:lnTo>
                  <a:pt x="39863" y="7840"/>
                </a:lnTo>
                <a:lnTo>
                  <a:pt x="37427" y="5405"/>
                </a:lnTo>
                <a:lnTo>
                  <a:pt x="35493" y="6472"/>
                </a:lnTo>
                <a:cubicBezTo>
                  <a:pt x="34592" y="5771"/>
                  <a:pt x="33658" y="5104"/>
                  <a:pt x="32624" y="4571"/>
                </a:cubicBezTo>
                <a:lnTo>
                  <a:pt x="32891" y="2369"/>
                </a:lnTo>
                <a:lnTo>
                  <a:pt x="29722" y="1068"/>
                </a:lnTo>
                <a:lnTo>
                  <a:pt x="28354" y="2769"/>
                </a:lnTo>
                <a:cubicBezTo>
                  <a:pt x="27220" y="2469"/>
                  <a:pt x="26086" y="2236"/>
                  <a:pt x="24952" y="2102"/>
                </a:cubicBezTo>
                <a:lnTo>
                  <a:pt x="24318" y="1"/>
                </a:lnTo>
                <a:close/>
              </a:path>
            </a:pathLst>
          </a:custGeom>
          <a:solidFill>
            <a:srgbClr val="C3FF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 name="Google Shape;490;p30"/>
          <p:cNvSpPr/>
          <p:nvPr/>
        </p:nvSpPr>
        <p:spPr>
          <a:xfrm rot="-10189508" flipH="1">
            <a:off x="4640637" y="839847"/>
            <a:ext cx="513511" cy="513137"/>
          </a:xfrm>
          <a:custGeom>
            <a:avLst/>
            <a:gdLst/>
            <a:ahLst/>
            <a:cxnLst/>
            <a:rect l="l" t="t" r="r" b="b"/>
            <a:pathLst>
              <a:path w="45300" h="45267" extrusionOk="0">
                <a:moveTo>
                  <a:pt x="22629" y="6872"/>
                </a:moveTo>
                <a:cubicBezTo>
                  <a:pt x="26731" y="6872"/>
                  <a:pt x="30760" y="8466"/>
                  <a:pt x="33792" y="11476"/>
                </a:cubicBezTo>
                <a:cubicBezTo>
                  <a:pt x="38295" y="16012"/>
                  <a:pt x="39629" y="22784"/>
                  <a:pt x="37194" y="28688"/>
                </a:cubicBezTo>
                <a:cubicBezTo>
                  <a:pt x="34759" y="34559"/>
                  <a:pt x="29021" y="38428"/>
                  <a:pt x="22617" y="38428"/>
                </a:cubicBezTo>
                <a:lnTo>
                  <a:pt x="22617" y="38395"/>
                </a:lnTo>
                <a:cubicBezTo>
                  <a:pt x="13911" y="38395"/>
                  <a:pt x="6872" y="31356"/>
                  <a:pt x="6872" y="22650"/>
                </a:cubicBezTo>
                <a:cubicBezTo>
                  <a:pt x="6839" y="16279"/>
                  <a:pt x="10708" y="10508"/>
                  <a:pt x="16579" y="8073"/>
                </a:cubicBezTo>
                <a:cubicBezTo>
                  <a:pt x="18538" y="7265"/>
                  <a:pt x="20592" y="6872"/>
                  <a:pt x="22629" y="6872"/>
                </a:cubicBezTo>
                <a:close/>
                <a:moveTo>
                  <a:pt x="20916" y="1"/>
                </a:moveTo>
                <a:lnTo>
                  <a:pt x="20315" y="2102"/>
                </a:lnTo>
                <a:cubicBezTo>
                  <a:pt x="19148" y="2236"/>
                  <a:pt x="18014" y="2469"/>
                  <a:pt x="16913" y="2769"/>
                </a:cubicBezTo>
                <a:lnTo>
                  <a:pt x="15545" y="1068"/>
                </a:lnTo>
                <a:lnTo>
                  <a:pt x="12376" y="2369"/>
                </a:lnTo>
                <a:lnTo>
                  <a:pt x="12643" y="4571"/>
                </a:lnTo>
                <a:cubicBezTo>
                  <a:pt x="11609" y="5104"/>
                  <a:pt x="10642" y="5771"/>
                  <a:pt x="9741" y="6472"/>
                </a:cubicBezTo>
                <a:lnTo>
                  <a:pt x="7806" y="5405"/>
                </a:lnTo>
                <a:lnTo>
                  <a:pt x="5405" y="7840"/>
                </a:lnTo>
                <a:lnTo>
                  <a:pt x="6472" y="9774"/>
                </a:lnTo>
                <a:cubicBezTo>
                  <a:pt x="5772" y="10675"/>
                  <a:pt x="5104" y="11642"/>
                  <a:pt x="4537" y="12643"/>
                </a:cubicBezTo>
                <a:lnTo>
                  <a:pt x="2369" y="12410"/>
                </a:lnTo>
                <a:lnTo>
                  <a:pt x="1068" y="15545"/>
                </a:lnTo>
                <a:lnTo>
                  <a:pt x="2769" y="16913"/>
                </a:lnTo>
                <a:cubicBezTo>
                  <a:pt x="2436" y="18047"/>
                  <a:pt x="2236" y="19181"/>
                  <a:pt x="2102" y="20315"/>
                </a:cubicBezTo>
                <a:lnTo>
                  <a:pt x="1" y="20916"/>
                </a:lnTo>
                <a:lnTo>
                  <a:pt x="1" y="24351"/>
                </a:lnTo>
                <a:lnTo>
                  <a:pt x="2102" y="24952"/>
                </a:lnTo>
                <a:cubicBezTo>
                  <a:pt x="2236" y="26086"/>
                  <a:pt x="2469" y="27220"/>
                  <a:pt x="2769" y="28354"/>
                </a:cubicBezTo>
                <a:lnTo>
                  <a:pt x="1068" y="29722"/>
                </a:lnTo>
                <a:lnTo>
                  <a:pt x="2369" y="32857"/>
                </a:lnTo>
                <a:lnTo>
                  <a:pt x="4537" y="32624"/>
                </a:lnTo>
                <a:cubicBezTo>
                  <a:pt x="5104" y="33625"/>
                  <a:pt x="5772" y="34592"/>
                  <a:pt x="6472" y="35493"/>
                </a:cubicBezTo>
                <a:lnTo>
                  <a:pt x="5405" y="37427"/>
                </a:lnTo>
                <a:lnTo>
                  <a:pt x="7840" y="39863"/>
                </a:lnTo>
                <a:lnTo>
                  <a:pt x="9774" y="38795"/>
                </a:lnTo>
                <a:cubicBezTo>
                  <a:pt x="10675" y="39496"/>
                  <a:pt x="11642" y="40163"/>
                  <a:pt x="12643" y="40730"/>
                </a:cubicBezTo>
                <a:lnTo>
                  <a:pt x="12410" y="42898"/>
                </a:lnTo>
                <a:lnTo>
                  <a:pt x="15545" y="44199"/>
                </a:lnTo>
                <a:lnTo>
                  <a:pt x="16913" y="42498"/>
                </a:lnTo>
                <a:cubicBezTo>
                  <a:pt x="18047" y="42798"/>
                  <a:pt x="19181" y="43031"/>
                  <a:pt x="20349" y="43165"/>
                </a:cubicBezTo>
                <a:lnTo>
                  <a:pt x="20916" y="45266"/>
                </a:lnTo>
                <a:lnTo>
                  <a:pt x="24318" y="45266"/>
                </a:lnTo>
                <a:lnTo>
                  <a:pt x="24952" y="43165"/>
                </a:lnTo>
                <a:cubicBezTo>
                  <a:pt x="26086" y="43031"/>
                  <a:pt x="27220" y="42798"/>
                  <a:pt x="28354" y="42498"/>
                </a:cubicBezTo>
                <a:lnTo>
                  <a:pt x="29722" y="44199"/>
                </a:lnTo>
                <a:lnTo>
                  <a:pt x="32858" y="42898"/>
                </a:lnTo>
                <a:lnTo>
                  <a:pt x="32624" y="40730"/>
                </a:lnTo>
                <a:cubicBezTo>
                  <a:pt x="33625" y="40163"/>
                  <a:pt x="34592" y="39496"/>
                  <a:pt x="35493" y="38795"/>
                </a:cubicBezTo>
                <a:lnTo>
                  <a:pt x="37427" y="39863"/>
                </a:lnTo>
                <a:lnTo>
                  <a:pt x="39863" y="37461"/>
                </a:lnTo>
                <a:lnTo>
                  <a:pt x="38795" y="35526"/>
                </a:lnTo>
                <a:cubicBezTo>
                  <a:pt x="39496" y="34625"/>
                  <a:pt x="40163" y="33658"/>
                  <a:pt x="40730" y="32657"/>
                </a:cubicBezTo>
                <a:lnTo>
                  <a:pt x="42898" y="32891"/>
                </a:lnTo>
                <a:lnTo>
                  <a:pt x="44199" y="29722"/>
                </a:lnTo>
                <a:lnTo>
                  <a:pt x="42498" y="28354"/>
                </a:lnTo>
                <a:cubicBezTo>
                  <a:pt x="42798" y="27253"/>
                  <a:pt x="43031" y="26119"/>
                  <a:pt x="43165" y="24952"/>
                </a:cubicBezTo>
                <a:lnTo>
                  <a:pt x="45300" y="24351"/>
                </a:lnTo>
                <a:lnTo>
                  <a:pt x="45300" y="20916"/>
                </a:lnTo>
                <a:lnTo>
                  <a:pt x="43165" y="20315"/>
                </a:lnTo>
                <a:cubicBezTo>
                  <a:pt x="43031" y="19181"/>
                  <a:pt x="42798" y="18047"/>
                  <a:pt x="42498" y="16913"/>
                </a:cubicBezTo>
                <a:lnTo>
                  <a:pt x="44199" y="15545"/>
                </a:lnTo>
                <a:lnTo>
                  <a:pt x="42898" y="12376"/>
                </a:lnTo>
                <a:lnTo>
                  <a:pt x="40730" y="12643"/>
                </a:lnTo>
                <a:cubicBezTo>
                  <a:pt x="40163" y="11642"/>
                  <a:pt x="39496" y="10675"/>
                  <a:pt x="38795" y="9774"/>
                </a:cubicBezTo>
                <a:lnTo>
                  <a:pt x="39863" y="7840"/>
                </a:lnTo>
                <a:lnTo>
                  <a:pt x="37427" y="5405"/>
                </a:lnTo>
                <a:lnTo>
                  <a:pt x="35493" y="6472"/>
                </a:lnTo>
                <a:cubicBezTo>
                  <a:pt x="34592" y="5771"/>
                  <a:pt x="33658" y="5104"/>
                  <a:pt x="32624" y="4571"/>
                </a:cubicBezTo>
                <a:lnTo>
                  <a:pt x="32891" y="2369"/>
                </a:lnTo>
                <a:lnTo>
                  <a:pt x="29722" y="1068"/>
                </a:lnTo>
                <a:lnTo>
                  <a:pt x="28354" y="2769"/>
                </a:lnTo>
                <a:cubicBezTo>
                  <a:pt x="27220" y="2469"/>
                  <a:pt x="26086" y="2236"/>
                  <a:pt x="24952" y="2102"/>
                </a:cubicBezTo>
                <a:lnTo>
                  <a:pt x="24318"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60" name="Google Shape;859;p39">
            <a:extLst>
              <a:ext uri="{FF2B5EF4-FFF2-40B4-BE49-F238E27FC236}">
                <a16:creationId xmlns:a16="http://schemas.microsoft.com/office/drawing/2014/main" id="{3210914B-7EDB-F634-401B-C62F53307964}"/>
              </a:ext>
            </a:extLst>
          </p:cNvPr>
          <p:cNvGrpSpPr/>
          <p:nvPr/>
        </p:nvGrpSpPr>
        <p:grpSpPr>
          <a:xfrm>
            <a:off x="3382463" y="355897"/>
            <a:ext cx="5415574" cy="4504858"/>
            <a:chOff x="-445825" y="638163"/>
            <a:chExt cx="5415574" cy="4504858"/>
          </a:xfrm>
        </p:grpSpPr>
        <p:sp>
          <p:nvSpPr>
            <p:cNvPr id="1061" name="Google Shape;860;p39">
              <a:extLst>
                <a:ext uri="{FF2B5EF4-FFF2-40B4-BE49-F238E27FC236}">
                  <a16:creationId xmlns:a16="http://schemas.microsoft.com/office/drawing/2014/main" id="{7060A331-811A-6AE4-A72C-DCC0C8BFDDA2}"/>
                </a:ext>
              </a:extLst>
            </p:cNvPr>
            <p:cNvSpPr/>
            <p:nvPr/>
          </p:nvSpPr>
          <p:spPr>
            <a:xfrm flipH="1">
              <a:off x="-119842" y="4604250"/>
              <a:ext cx="5089591" cy="2900"/>
            </a:xfrm>
            <a:custGeom>
              <a:avLst/>
              <a:gdLst/>
              <a:ahLst/>
              <a:cxnLst/>
              <a:rect l="l" t="t" r="r" b="b"/>
              <a:pathLst>
                <a:path w="208483" h="101" extrusionOk="0">
                  <a:moveTo>
                    <a:pt x="0" y="0"/>
                  </a:moveTo>
                  <a:lnTo>
                    <a:pt x="0" y="101"/>
                  </a:lnTo>
                  <a:lnTo>
                    <a:pt x="208482" y="101"/>
                  </a:lnTo>
                  <a:lnTo>
                    <a:pt x="208482" y="0"/>
                  </a:lnTo>
                  <a:close/>
                </a:path>
              </a:pathLst>
            </a:custGeom>
            <a:solidFill>
              <a:srgbClr val="EBEBEB"/>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2" name="Google Shape;861;p39">
              <a:extLst>
                <a:ext uri="{FF2B5EF4-FFF2-40B4-BE49-F238E27FC236}">
                  <a16:creationId xmlns:a16="http://schemas.microsoft.com/office/drawing/2014/main" id="{A6307272-5CC5-381E-F2C7-488621A29300}"/>
                </a:ext>
              </a:extLst>
            </p:cNvPr>
            <p:cNvSpPr/>
            <p:nvPr/>
          </p:nvSpPr>
          <p:spPr>
            <a:xfrm flipH="1">
              <a:off x="-445825" y="4796264"/>
              <a:ext cx="660095" cy="2892"/>
            </a:xfrm>
            <a:custGeom>
              <a:avLst/>
              <a:gdLst/>
              <a:ahLst/>
              <a:cxnLst/>
              <a:rect l="l" t="t" r="r" b="b"/>
              <a:pathLst>
                <a:path w="23051" h="101" extrusionOk="0">
                  <a:moveTo>
                    <a:pt x="1" y="0"/>
                  </a:moveTo>
                  <a:lnTo>
                    <a:pt x="1" y="100"/>
                  </a:lnTo>
                  <a:lnTo>
                    <a:pt x="23051" y="100"/>
                  </a:lnTo>
                  <a:lnTo>
                    <a:pt x="23051" y="0"/>
                  </a:lnTo>
                  <a:close/>
                </a:path>
              </a:pathLst>
            </a:custGeom>
            <a:solidFill>
              <a:srgbClr val="EBEBEB"/>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 name="Google Shape;862;p39">
              <a:extLst>
                <a:ext uri="{FF2B5EF4-FFF2-40B4-BE49-F238E27FC236}">
                  <a16:creationId xmlns:a16="http://schemas.microsoft.com/office/drawing/2014/main" id="{D1D83806-F0B7-D20F-72B2-7065AA0673C8}"/>
                </a:ext>
              </a:extLst>
            </p:cNvPr>
            <p:cNvSpPr/>
            <p:nvPr/>
          </p:nvSpPr>
          <p:spPr>
            <a:xfrm flipH="1">
              <a:off x="980319" y="4734180"/>
              <a:ext cx="103205" cy="2892"/>
            </a:xfrm>
            <a:custGeom>
              <a:avLst/>
              <a:gdLst/>
              <a:ahLst/>
              <a:cxnLst/>
              <a:rect l="l" t="t" r="r" b="b"/>
              <a:pathLst>
                <a:path w="3604" h="101" extrusionOk="0">
                  <a:moveTo>
                    <a:pt x="1" y="0"/>
                  </a:moveTo>
                  <a:lnTo>
                    <a:pt x="1" y="100"/>
                  </a:lnTo>
                  <a:lnTo>
                    <a:pt x="3603" y="100"/>
                  </a:lnTo>
                  <a:lnTo>
                    <a:pt x="3603" y="0"/>
                  </a:lnTo>
                  <a:close/>
                </a:path>
              </a:pathLst>
            </a:custGeom>
            <a:solidFill>
              <a:srgbClr val="EBEBEB"/>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 name="Google Shape;863;p39">
              <a:extLst>
                <a:ext uri="{FF2B5EF4-FFF2-40B4-BE49-F238E27FC236}">
                  <a16:creationId xmlns:a16="http://schemas.microsoft.com/office/drawing/2014/main" id="{29375844-5E6A-F690-4799-9B77DC32C9C1}"/>
                </a:ext>
              </a:extLst>
            </p:cNvPr>
            <p:cNvSpPr/>
            <p:nvPr/>
          </p:nvSpPr>
          <p:spPr>
            <a:xfrm flipH="1">
              <a:off x="249579" y="4685441"/>
              <a:ext cx="229291" cy="2892"/>
            </a:xfrm>
            <a:custGeom>
              <a:avLst/>
              <a:gdLst/>
              <a:ahLst/>
              <a:cxnLst/>
              <a:rect l="l" t="t" r="r" b="b"/>
              <a:pathLst>
                <a:path w="8007" h="101" extrusionOk="0">
                  <a:moveTo>
                    <a:pt x="1" y="1"/>
                  </a:moveTo>
                  <a:lnTo>
                    <a:pt x="1" y="101"/>
                  </a:lnTo>
                  <a:lnTo>
                    <a:pt x="8007" y="101"/>
                  </a:lnTo>
                  <a:lnTo>
                    <a:pt x="8007" y="1"/>
                  </a:lnTo>
                  <a:close/>
                </a:path>
              </a:pathLst>
            </a:custGeom>
            <a:solidFill>
              <a:srgbClr val="EBEBEB"/>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 name="Google Shape;864;p39">
              <a:extLst>
                <a:ext uri="{FF2B5EF4-FFF2-40B4-BE49-F238E27FC236}">
                  <a16:creationId xmlns:a16="http://schemas.microsoft.com/office/drawing/2014/main" id="{DEC057A8-1797-CCE2-A2CF-77AB07C578B4}"/>
                </a:ext>
              </a:extLst>
            </p:cNvPr>
            <p:cNvSpPr/>
            <p:nvPr/>
          </p:nvSpPr>
          <p:spPr>
            <a:xfrm flipH="1">
              <a:off x="3783896" y="4705515"/>
              <a:ext cx="515854" cy="2892"/>
            </a:xfrm>
            <a:custGeom>
              <a:avLst/>
              <a:gdLst/>
              <a:ahLst/>
              <a:cxnLst/>
              <a:rect l="l" t="t" r="r" b="b"/>
              <a:pathLst>
                <a:path w="18014" h="101" extrusionOk="0">
                  <a:moveTo>
                    <a:pt x="0" y="0"/>
                  </a:moveTo>
                  <a:lnTo>
                    <a:pt x="0" y="100"/>
                  </a:lnTo>
                  <a:lnTo>
                    <a:pt x="18013" y="100"/>
                  </a:lnTo>
                  <a:lnTo>
                    <a:pt x="18013" y="0"/>
                  </a:lnTo>
                  <a:close/>
                </a:path>
              </a:pathLst>
            </a:custGeom>
            <a:solidFill>
              <a:srgbClr val="EBEBEB"/>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 name="Google Shape;865;p39">
              <a:extLst>
                <a:ext uri="{FF2B5EF4-FFF2-40B4-BE49-F238E27FC236}">
                  <a16:creationId xmlns:a16="http://schemas.microsoft.com/office/drawing/2014/main" id="{04413867-8F75-E25F-9D9A-4E5673DDE84D}"/>
                </a:ext>
              </a:extLst>
            </p:cNvPr>
            <p:cNvSpPr/>
            <p:nvPr/>
          </p:nvSpPr>
          <p:spPr>
            <a:xfrm flipH="1">
              <a:off x="2130409" y="4732262"/>
              <a:ext cx="1118590" cy="2892"/>
            </a:xfrm>
            <a:custGeom>
              <a:avLst/>
              <a:gdLst/>
              <a:ahLst/>
              <a:cxnLst/>
              <a:rect l="l" t="t" r="r" b="b"/>
              <a:pathLst>
                <a:path w="39062" h="101" extrusionOk="0">
                  <a:moveTo>
                    <a:pt x="0" y="0"/>
                  </a:moveTo>
                  <a:lnTo>
                    <a:pt x="0" y="100"/>
                  </a:lnTo>
                  <a:lnTo>
                    <a:pt x="39061" y="100"/>
                  </a:lnTo>
                  <a:lnTo>
                    <a:pt x="39061" y="0"/>
                  </a:lnTo>
                  <a:close/>
                </a:path>
              </a:pathLst>
            </a:custGeom>
            <a:solidFill>
              <a:srgbClr val="EBEBEB"/>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 name="Google Shape;866;p39">
              <a:extLst>
                <a:ext uri="{FF2B5EF4-FFF2-40B4-BE49-F238E27FC236}">
                  <a16:creationId xmlns:a16="http://schemas.microsoft.com/office/drawing/2014/main" id="{76E97CED-0854-0AEC-C119-BAF90FB37EEF}"/>
                </a:ext>
              </a:extLst>
            </p:cNvPr>
            <p:cNvSpPr/>
            <p:nvPr/>
          </p:nvSpPr>
          <p:spPr>
            <a:xfrm flipH="1">
              <a:off x="3364575" y="3095012"/>
              <a:ext cx="718341" cy="1509275"/>
            </a:xfrm>
            <a:custGeom>
              <a:avLst/>
              <a:gdLst/>
              <a:ahLst/>
              <a:cxnLst/>
              <a:rect l="l" t="t" r="r" b="b"/>
              <a:pathLst>
                <a:path w="25085" h="52705" extrusionOk="0">
                  <a:moveTo>
                    <a:pt x="0" y="0"/>
                  </a:moveTo>
                  <a:lnTo>
                    <a:pt x="0" y="52704"/>
                  </a:lnTo>
                  <a:lnTo>
                    <a:pt x="25085" y="52704"/>
                  </a:lnTo>
                  <a:lnTo>
                    <a:pt x="25085" y="0"/>
                  </a:lnTo>
                  <a:close/>
                </a:path>
              </a:pathLst>
            </a:custGeom>
            <a:solidFill>
              <a:srgbClr val="E6E6E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 name="Google Shape;867;p39">
              <a:extLst>
                <a:ext uri="{FF2B5EF4-FFF2-40B4-BE49-F238E27FC236}">
                  <a16:creationId xmlns:a16="http://schemas.microsoft.com/office/drawing/2014/main" id="{156E4B58-D913-2A88-AB6A-25C9B54178A9}"/>
                </a:ext>
              </a:extLst>
            </p:cNvPr>
            <p:cNvSpPr/>
            <p:nvPr/>
          </p:nvSpPr>
          <p:spPr>
            <a:xfrm flipH="1">
              <a:off x="3934837" y="4398878"/>
              <a:ext cx="148078" cy="205408"/>
            </a:xfrm>
            <a:custGeom>
              <a:avLst/>
              <a:gdLst/>
              <a:ahLst/>
              <a:cxnLst/>
              <a:rect l="l" t="t" r="r" b="b"/>
              <a:pathLst>
                <a:path w="5171" h="7173" extrusionOk="0">
                  <a:moveTo>
                    <a:pt x="0" y="1"/>
                  </a:moveTo>
                  <a:lnTo>
                    <a:pt x="0" y="7172"/>
                  </a:lnTo>
                  <a:lnTo>
                    <a:pt x="2536" y="7172"/>
                  </a:lnTo>
                  <a:lnTo>
                    <a:pt x="5171"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 name="Google Shape;868;p39">
              <a:extLst>
                <a:ext uri="{FF2B5EF4-FFF2-40B4-BE49-F238E27FC236}">
                  <a16:creationId xmlns:a16="http://schemas.microsoft.com/office/drawing/2014/main" id="{F7BC6A3F-1965-267A-3850-81C6E1F90F51}"/>
                </a:ext>
              </a:extLst>
            </p:cNvPr>
            <p:cNvSpPr/>
            <p:nvPr/>
          </p:nvSpPr>
          <p:spPr>
            <a:xfrm flipH="1">
              <a:off x="1465589" y="3095012"/>
              <a:ext cx="718341" cy="1509275"/>
            </a:xfrm>
            <a:custGeom>
              <a:avLst/>
              <a:gdLst/>
              <a:ahLst/>
              <a:cxnLst/>
              <a:rect l="l" t="t" r="r" b="b"/>
              <a:pathLst>
                <a:path w="25085" h="52705" extrusionOk="0">
                  <a:moveTo>
                    <a:pt x="0" y="0"/>
                  </a:moveTo>
                  <a:lnTo>
                    <a:pt x="0" y="52704"/>
                  </a:lnTo>
                  <a:lnTo>
                    <a:pt x="25085" y="52704"/>
                  </a:lnTo>
                  <a:lnTo>
                    <a:pt x="25085" y="0"/>
                  </a:lnTo>
                  <a:close/>
                </a:path>
              </a:pathLst>
            </a:custGeom>
            <a:solidFill>
              <a:srgbClr val="E6E6E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 name="Google Shape;869;p39">
              <a:extLst>
                <a:ext uri="{FF2B5EF4-FFF2-40B4-BE49-F238E27FC236}">
                  <a16:creationId xmlns:a16="http://schemas.microsoft.com/office/drawing/2014/main" id="{9B7FF1FB-CDFD-F1C1-A9E4-B1CE05028278}"/>
                </a:ext>
              </a:extLst>
            </p:cNvPr>
            <p:cNvSpPr/>
            <p:nvPr/>
          </p:nvSpPr>
          <p:spPr>
            <a:xfrm flipH="1">
              <a:off x="2120873" y="3095012"/>
              <a:ext cx="1962043" cy="1383189"/>
            </a:xfrm>
            <a:custGeom>
              <a:avLst/>
              <a:gdLst/>
              <a:ahLst/>
              <a:cxnLst/>
              <a:rect l="l" t="t" r="r" b="b"/>
              <a:pathLst>
                <a:path w="68516" h="48302" extrusionOk="0">
                  <a:moveTo>
                    <a:pt x="0" y="0"/>
                  </a:moveTo>
                  <a:lnTo>
                    <a:pt x="0" y="48301"/>
                  </a:lnTo>
                  <a:lnTo>
                    <a:pt x="68516" y="48301"/>
                  </a:lnTo>
                  <a:lnTo>
                    <a:pt x="68516"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 name="Google Shape;870;p39">
              <a:extLst>
                <a:ext uri="{FF2B5EF4-FFF2-40B4-BE49-F238E27FC236}">
                  <a16:creationId xmlns:a16="http://schemas.microsoft.com/office/drawing/2014/main" id="{5ED78F93-C878-75BC-3EC2-8A3D88462A3C}"/>
                </a:ext>
              </a:extLst>
            </p:cNvPr>
            <p:cNvSpPr/>
            <p:nvPr/>
          </p:nvSpPr>
          <p:spPr>
            <a:xfrm flipH="1">
              <a:off x="2176255" y="3156121"/>
              <a:ext cx="1850304" cy="379259"/>
            </a:xfrm>
            <a:custGeom>
              <a:avLst/>
              <a:gdLst/>
              <a:ahLst/>
              <a:cxnLst/>
              <a:rect l="l" t="t" r="r" b="b"/>
              <a:pathLst>
                <a:path w="64614" h="13244" extrusionOk="0">
                  <a:moveTo>
                    <a:pt x="0" y="1"/>
                  </a:moveTo>
                  <a:lnTo>
                    <a:pt x="0" y="13244"/>
                  </a:lnTo>
                  <a:lnTo>
                    <a:pt x="64613" y="13244"/>
                  </a:lnTo>
                  <a:lnTo>
                    <a:pt x="64613" y="1"/>
                  </a:lnTo>
                  <a:close/>
                </a:path>
              </a:pathLst>
            </a:custGeom>
            <a:solidFill>
              <a:srgbClr val="E6E6E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 name="Google Shape;871;p39">
              <a:extLst>
                <a:ext uri="{FF2B5EF4-FFF2-40B4-BE49-F238E27FC236}">
                  <a16:creationId xmlns:a16="http://schemas.microsoft.com/office/drawing/2014/main" id="{1A04E69C-FF01-5C8A-FBC0-0340D13582A3}"/>
                </a:ext>
              </a:extLst>
            </p:cNvPr>
            <p:cNvSpPr/>
            <p:nvPr/>
          </p:nvSpPr>
          <p:spPr>
            <a:xfrm flipH="1">
              <a:off x="2669172" y="3145641"/>
              <a:ext cx="864500" cy="128978"/>
            </a:xfrm>
            <a:custGeom>
              <a:avLst/>
              <a:gdLst/>
              <a:ahLst/>
              <a:cxnLst/>
              <a:rect l="l" t="t" r="r" b="b"/>
              <a:pathLst>
                <a:path w="30189" h="4504" extrusionOk="0">
                  <a:moveTo>
                    <a:pt x="1" y="0"/>
                  </a:moveTo>
                  <a:cubicBezTo>
                    <a:pt x="2736" y="2869"/>
                    <a:pt x="6539" y="4503"/>
                    <a:pt x="10508" y="4503"/>
                  </a:cubicBezTo>
                  <a:lnTo>
                    <a:pt x="19681" y="4503"/>
                  </a:lnTo>
                  <a:cubicBezTo>
                    <a:pt x="23651" y="4503"/>
                    <a:pt x="27420" y="2869"/>
                    <a:pt x="30189" y="0"/>
                  </a:cubicBez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 name="Google Shape;872;p39">
              <a:extLst>
                <a:ext uri="{FF2B5EF4-FFF2-40B4-BE49-F238E27FC236}">
                  <a16:creationId xmlns:a16="http://schemas.microsoft.com/office/drawing/2014/main" id="{E322ECC3-F8B4-3501-7EE8-09FF374CFF9F}"/>
                </a:ext>
              </a:extLst>
            </p:cNvPr>
            <p:cNvSpPr/>
            <p:nvPr/>
          </p:nvSpPr>
          <p:spPr>
            <a:xfrm flipH="1">
              <a:off x="2120873" y="4398878"/>
              <a:ext cx="148078" cy="205408"/>
            </a:xfrm>
            <a:custGeom>
              <a:avLst/>
              <a:gdLst/>
              <a:ahLst/>
              <a:cxnLst/>
              <a:rect l="l" t="t" r="r" b="b"/>
              <a:pathLst>
                <a:path w="5171" h="7173" extrusionOk="0">
                  <a:moveTo>
                    <a:pt x="1" y="1"/>
                  </a:moveTo>
                  <a:lnTo>
                    <a:pt x="2669" y="7172"/>
                  </a:lnTo>
                  <a:lnTo>
                    <a:pt x="5171" y="7172"/>
                  </a:lnTo>
                  <a:lnTo>
                    <a:pt x="5171"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 name="Google Shape;873;p39">
              <a:extLst>
                <a:ext uri="{FF2B5EF4-FFF2-40B4-BE49-F238E27FC236}">
                  <a16:creationId xmlns:a16="http://schemas.microsoft.com/office/drawing/2014/main" id="{BA76837D-3937-696D-B7D8-49BC1225F598}"/>
                </a:ext>
              </a:extLst>
            </p:cNvPr>
            <p:cNvSpPr/>
            <p:nvPr/>
          </p:nvSpPr>
          <p:spPr>
            <a:xfrm flipH="1">
              <a:off x="2176255" y="3597435"/>
              <a:ext cx="1850304" cy="379259"/>
            </a:xfrm>
            <a:custGeom>
              <a:avLst/>
              <a:gdLst/>
              <a:ahLst/>
              <a:cxnLst/>
              <a:rect l="l" t="t" r="r" b="b"/>
              <a:pathLst>
                <a:path w="64614" h="13244" extrusionOk="0">
                  <a:moveTo>
                    <a:pt x="0" y="1"/>
                  </a:moveTo>
                  <a:lnTo>
                    <a:pt x="0" y="13244"/>
                  </a:lnTo>
                  <a:lnTo>
                    <a:pt x="64613" y="13244"/>
                  </a:lnTo>
                  <a:lnTo>
                    <a:pt x="64613" y="1"/>
                  </a:lnTo>
                  <a:close/>
                </a:path>
              </a:pathLst>
            </a:custGeom>
            <a:solidFill>
              <a:srgbClr val="E6E6E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 name="Google Shape;874;p39">
              <a:extLst>
                <a:ext uri="{FF2B5EF4-FFF2-40B4-BE49-F238E27FC236}">
                  <a16:creationId xmlns:a16="http://schemas.microsoft.com/office/drawing/2014/main" id="{7D72C752-EC44-5FB9-D4E3-AD04B58CE8CF}"/>
                </a:ext>
              </a:extLst>
            </p:cNvPr>
            <p:cNvSpPr/>
            <p:nvPr/>
          </p:nvSpPr>
          <p:spPr>
            <a:xfrm flipH="1">
              <a:off x="2669172" y="3585981"/>
              <a:ext cx="864500" cy="128978"/>
            </a:xfrm>
            <a:custGeom>
              <a:avLst/>
              <a:gdLst/>
              <a:ahLst/>
              <a:cxnLst/>
              <a:rect l="l" t="t" r="r" b="b"/>
              <a:pathLst>
                <a:path w="30189" h="4504" extrusionOk="0">
                  <a:moveTo>
                    <a:pt x="1" y="1"/>
                  </a:moveTo>
                  <a:cubicBezTo>
                    <a:pt x="2736" y="2869"/>
                    <a:pt x="6539" y="4504"/>
                    <a:pt x="10508" y="4504"/>
                  </a:cubicBezTo>
                  <a:lnTo>
                    <a:pt x="19681" y="4504"/>
                  </a:lnTo>
                  <a:cubicBezTo>
                    <a:pt x="23651" y="4504"/>
                    <a:pt x="27454" y="2869"/>
                    <a:pt x="30189" y="1"/>
                  </a:cubicBez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 name="Google Shape;875;p39">
              <a:extLst>
                <a:ext uri="{FF2B5EF4-FFF2-40B4-BE49-F238E27FC236}">
                  <a16:creationId xmlns:a16="http://schemas.microsoft.com/office/drawing/2014/main" id="{40E15FE5-0C29-C82A-9A40-DF6A53C5D947}"/>
                </a:ext>
              </a:extLst>
            </p:cNvPr>
            <p:cNvSpPr/>
            <p:nvPr/>
          </p:nvSpPr>
          <p:spPr>
            <a:xfrm flipH="1">
              <a:off x="2176255" y="4037804"/>
              <a:ext cx="1850304" cy="379259"/>
            </a:xfrm>
            <a:custGeom>
              <a:avLst/>
              <a:gdLst/>
              <a:ahLst/>
              <a:cxnLst/>
              <a:rect l="l" t="t" r="r" b="b"/>
              <a:pathLst>
                <a:path w="64614" h="13244" extrusionOk="0">
                  <a:moveTo>
                    <a:pt x="0" y="1"/>
                  </a:moveTo>
                  <a:lnTo>
                    <a:pt x="0" y="13243"/>
                  </a:lnTo>
                  <a:lnTo>
                    <a:pt x="64613" y="13243"/>
                  </a:lnTo>
                  <a:lnTo>
                    <a:pt x="64613" y="1"/>
                  </a:lnTo>
                  <a:close/>
                </a:path>
              </a:pathLst>
            </a:custGeom>
            <a:solidFill>
              <a:srgbClr val="E6E6E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 name="Google Shape;876;p39">
              <a:extLst>
                <a:ext uri="{FF2B5EF4-FFF2-40B4-BE49-F238E27FC236}">
                  <a16:creationId xmlns:a16="http://schemas.microsoft.com/office/drawing/2014/main" id="{03D4338E-DA6B-6A71-3975-0E4FF6F04D0F}"/>
                </a:ext>
              </a:extLst>
            </p:cNvPr>
            <p:cNvSpPr/>
            <p:nvPr/>
          </p:nvSpPr>
          <p:spPr>
            <a:xfrm flipH="1">
              <a:off x="2669172" y="4026349"/>
              <a:ext cx="864500" cy="128978"/>
            </a:xfrm>
            <a:custGeom>
              <a:avLst/>
              <a:gdLst/>
              <a:ahLst/>
              <a:cxnLst/>
              <a:rect l="l" t="t" r="r" b="b"/>
              <a:pathLst>
                <a:path w="30189" h="4504" extrusionOk="0">
                  <a:moveTo>
                    <a:pt x="1" y="0"/>
                  </a:moveTo>
                  <a:cubicBezTo>
                    <a:pt x="2736" y="2869"/>
                    <a:pt x="6539" y="4504"/>
                    <a:pt x="10508" y="4504"/>
                  </a:cubicBezTo>
                  <a:lnTo>
                    <a:pt x="19681" y="4504"/>
                  </a:lnTo>
                  <a:cubicBezTo>
                    <a:pt x="23651" y="4504"/>
                    <a:pt x="27454" y="2869"/>
                    <a:pt x="30189" y="0"/>
                  </a:cubicBez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8" name="Google Shape;877;p39">
              <a:extLst>
                <a:ext uri="{FF2B5EF4-FFF2-40B4-BE49-F238E27FC236}">
                  <a16:creationId xmlns:a16="http://schemas.microsoft.com/office/drawing/2014/main" id="{A2498C89-D993-3F6C-4B85-01C8DB18C691}"/>
                </a:ext>
              </a:extLst>
            </p:cNvPr>
            <p:cNvSpPr/>
            <p:nvPr/>
          </p:nvSpPr>
          <p:spPr>
            <a:xfrm flipH="1">
              <a:off x="3859595" y="2606633"/>
              <a:ext cx="65007" cy="495830"/>
            </a:xfrm>
            <a:custGeom>
              <a:avLst/>
              <a:gdLst/>
              <a:ahLst/>
              <a:cxnLst/>
              <a:rect l="l" t="t" r="r" b="b"/>
              <a:pathLst>
                <a:path w="2270" h="17314" extrusionOk="0">
                  <a:moveTo>
                    <a:pt x="234" y="1"/>
                  </a:moveTo>
                  <a:cubicBezTo>
                    <a:pt x="101" y="1"/>
                    <a:pt x="1" y="134"/>
                    <a:pt x="1" y="268"/>
                  </a:cubicBezTo>
                  <a:lnTo>
                    <a:pt x="1" y="17080"/>
                  </a:lnTo>
                  <a:cubicBezTo>
                    <a:pt x="1" y="17213"/>
                    <a:pt x="101" y="17313"/>
                    <a:pt x="234" y="17313"/>
                  </a:cubicBezTo>
                  <a:lnTo>
                    <a:pt x="2036" y="17313"/>
                  </a:lnTo>
                  <a:cubicBezTo>
                    <a:pt x="2169" y="17313"/>
                    <a:pt x="2269" y="17213"/>
                    <a:pt x="2269" y="17080"/>
                  </a:cubicBezTo>
                  <a:lnTo>
                    <a:pt x="2269" y="268"/>
                  </a:lnTo>
                  <a:cubicBezTo>
                    <a:pt x="2269" y="134"/>
                    <a:pt x="2169" y="1"/>
                    <a:pt x="2036" y="1"/>
                  </a:cubicBezTo>
                  <a:close/>
                </a:path>
              </a:pathLst>
            </a:custGeom>
            <a:solidFill>
              <a:srgbClr val="EBEBE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 name="Google Shape;878;p39">
              <a:extLst>
                <a:ext uri="{FF2B5EF4-FFF2-40B4-BE49-F238E27FC236}">
                  <a16:creationId xmlns:a16="http://schemas.microsoft.com/office/drawing/2014/main" id="{92F4A819-489D-09A1-866C-C39C8B77480F}"/>
                </a:ext>
              </a:extLst>
            </p:cNvPr>
            <p:cNvSpPr/>
            <p:nvPr/>
          </p:nvSpPr>
          <p:spPr>
            <a:xfrm flipH="1">
              <a:off x="3859595" y="2658207"/>
              <a:ext cx="65007" cy="180588"/>
            </a:xfrm>
            <a:custGeom>
              <a:avLst/>
              <a:gdLst/>
              <a:ahLst/>
              <a:cxnLst/>
              <a:rect l="l" t="t" r="r" b="b"/>
              <a:pathLst>
                <a:path w="2270" h="6306" extrusionOk="0">
                  <a:moveTo>
                    <a:pt x="1" y="1"/>
                  </a:moveTo>
                  <a:lnTo>
                    <a:pt x="1" y="6305"/>
                  </a:lnTo>
                  <a:lnTo>
                    <a:pt x="2269" y="6305"/>
                  </a:lnTo>
                  <a:lnTo>
                    <a:pt x="2269" y="1"/>
                  </a:lnTo>
                  <a:close/>
                </a:path>
              </a:pathLst>
            </a:custGeom>
            <a:solidFill>
              <a:srgbClr val="FAFAF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 name="Google Shape;879;p39">
              <a:extLst>
                <a:ext uri="{FF2B5EF4-FFF2-40B4-BE49-F238E27FC236}">
                  <a16:creationId xmlns:a16="http://schemas.microsoft.com/office/drawing/2014/main" id="{87465E51-C256-6FE8-9903-7D769920F278}"/>
                </a:ext>
              </a:extLst>
            </p:cNvPr>
            <p:cNvSpPr/>
            <p:nvPr/>
          </p:nvSpPr>
          <p:spPr>
            <a:xfrm flipH="1">
              <a:off x="3859595" y="2894169"/>
              <a:ext cx="65007" cy="110827"/>
            </a:xfrm>
            <a:custGeom>
              <a:avLst/>
              <a:gdLst/>
              <a:ahLst/>
              <a:cxnLst/>
              <a:rect l="l" t="t" r="r" b="b"/>
              <a:pathLst>
                <a:path w="2270" h="3870" extrusionOk="0">
                  <a:moveTo>
                    <a:pt x="1" y="0"/>
                  </a:moveTo>
                  <a:lnTo>
                    <a:pt x="1" y="3870"/>
                  </a:lnTo>
                  <a:lnTo>
                    <a:pt x="2269" y="3870"/>
                  </a:lnTo>
                  <a:lnTo>
                    <a:pt x="2269" y="0"/>
                  </a:lnTo>
                  <a:close/>
                </a:path>
              </a:pathLst>
            </a:custGeom>
            <a:solidFill>
              <a:srgbClr val="FAFAF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 name="Google Shape;880;p39">
              <a:extLst>
                <a:ext uri="{FF2B5EF4-FFF2-40B4-BE49-F238E27FC236}">
                  <a16:creationId xmlns:a16="http://schemas.microsoft.com/office/drawing/2014/main" id="{2243166E-029A-5485-8EDD-460E7880C024}"/>
                </a:ext>
              </a:extLst>
            </p:cNvPr>
            <p:cNvSpPr/>
            <p:nvPr/>
          </p:nvSpPr>
          <p:spPr>
            <a:xfrm flipH="1">
              <a:off x="3588069" y="2606633"/>
              <a:ext cx="278958" cy="495830"/>
            </a:xfrm>
            <a:custGeom>
              <a:avLst/>
              <a:gdLst/>
              <a:ahLst/>
              <a:cxnLst/>
              <a:rect l="l" t="t" r="r" b="b"/>
              <a:pathLst>
                <a:path w="9741" h="17314" extrusionOk="0">
                  <a:moveTo>
                    <a:pt x="267" y="1"/>
                  </a:moveTo>
                  <a:cubicBezTo>
                    <a:pt x="100" y="1"/>
                    <a:pt x="0" y="134"/>
                    <a:pt x="0" y="268"/>
                  </a:cubicBezTo>
                  <a:lnTo>
                    <a:pt x="0" y="17080"/>
                  </a:lnTo>
                  <a:cubicBezTo>
                    <a:pt x="0" y="17213"/>
                    <a:pt x="100" y="17313"/>
                    <a:pt x="267" y="17313"/>
                  </a:cubicBezTo>
                  <a:lnTo>
                    <a:pt x="9474" y="17313"/>
                  </a:lnTo>
                  <a:cubicBezTo>
                    <a:pt x="9607" y="17313"/>
                    <a:pt x="9740" y="17213"/>
                    <a:pt x="9740" y="17080"/>
                  </a:cubicBezTo>
                  <a:lnTo>
                    <a:pt x="9740" y="268"/>
                  </a:lnTo>
                  <a:cubicBezTo>
                    <a:pt x="9740" y="134"/>
                    <a:pt x="9607" y="1"/>
                    <a:pt x="9474" y="1"/>
                  </a:cubicBezTo>
                  <a:close/>
                </a:path>
              </a:pathLst>
            </a:custGeom>
            <a:solidFill>
              <a:srgbClr val="E0E0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 name="Google Shape;881;p39">
              <a:extLst>
                <a:ext uri="{FF2B5EF4-FFF2-40B4-BE49-F238E27FC236}">
                  <a16:creationId xmlns:a16="http://schemas.microsoft.com/office/drawing/2014/main" id="{C1A2E975-2301-F7E3-D2E6-1BCDC7E1758B}"/>
                </a:ext>
              </a:extLst>
            </p:cNvPr>
            <p:cNvSpPr/>
            <p:nvPr/>
          </p:nvSpPr>
          <p:spPr>
            <a:xfrm flipH="1">
              <a:off x="3761929" y="2556004"/>
              <a:ext cx="71680" cy="546461"/>
            </a:xfrm>
            <a:custGeom>
              <a:avLst/>
              <a:gdLst/>
              <a:ahLst/>
              <a:cxnLst/>
              <a:rect l="l" t="t" r="r" b="b"/>
              <a:pathLst>
                <a:path w="2503" h="19082" extrusionOk="0">
                  <a:moveTo>
                    <a:pt x="267" y="1"/>
                  </a:moveTo>
                  <a:cubicBezTo>
                    <a:pt x="101" y="1"/>
                    <a:pt x="1" y="101"/>
                    <a:pt x="1" y="268"/>
                  </a:cubicBezTo>
                  <a:lnTo>
                    <a:pt x="1" y="18814"/>
                  </a:lnTo>
                  <a:cubicBezTo>
                    <a:pt x="1" y="18981"/>
                    <a:pt x="101" y="19081"/>
                    <a:pt x="267" y="19081"/>
                  </a:cubicBezTo>
                  <a:lnTo>
                    <a:pt x="2236" y="19081"/>
                  </a:lnTo>
                  <a:cubicBezTo>
                    <a:pt x="2369" y="19081"/>
                    <a:pt x="2502" y="18981"/>
                    <a:pt x="2502" y="18814"/>
                  </a:cubicBezTo>
                  <a:lnTo>
                    <a:pt x="2502" y="268"/>
                  </a:lnTo>
                  <a:cubicBezTo>
                    <a:pt x="2502" y="101"/>
                    <a:pt x="2369" y="1"/>
                    <a:pt x="2236" y="1"/>
                  </a:cubicBezTo>
                  <a:close/>
                </a:path>
              </a:pathLst>
            </a:custGeom>
            <a:solidFill>
              <a:srgbClr val="EBEBE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 name="Google Shape;882;p39">
              <a:extLst>
                <a:ext uri="{FF2B5EF4-FFF2-40B4-BE49-F238E27FC236}">
                  <a16:creationId xmlns:a16="http://schemas.microsoft.com/office/drawing/2014/main" id="{B1FBCB99-45DD-B2CA-6361-A304452FAE7B}"/>
                </a:ext>
              </a:extLst>
            </p:cNvPr>
            <p:cNvSpPr/>
            <p:nvPr/>
          </p:nvSpPr>
          <p:spPr>
            <a:xfrm flipH="1">
              <a:off x="3761928" y="2627652"/>
              <a:ext cx="72625" cy="48741"/>
            </a:xfrm>
            <a:custGeom>
              <a:avLst/>
              <a:gdLst/>
              <a:ahLst/>
              <a:cxnLst/>
              <a:rect l="l" t="t" r="r" b="b"/>
              <a:pathLst>
                <a:path w="2536" h="1702" extrusionOk="0">
                  <a:moveTo>
                    <a:pt x="0" y="1"/>
                  </a:moveTo>
                  <a:lnTo>
                    <a:pt x="0" y="1702"/>
                  </a:lnTo>
                  <a:lnTo>
                    <a:pt x="2535" y="1702"/>
                  </a:lnTo>
                  <a:lnTo>
                    <a:pt x="2535" y="1"/>
                  </a:lnTo>
                  <a:close/>
                </a:path>
              </a:pathLst>
            </a:custGeom>
            <a:solidFill>
              <a:srgbClr val="FAFAF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 name="Google Shape;883;p39">
              <a:extLst>
                <a:ext uri="{FF2B5EF4-FFF2-40B4-BE49-F238E27FC236}">
                  <a16:creationId xmlns:a16="http://schemas.microsoft.com/office/drawing/2014/main" id="{9A86D549-57AA-1F5B-6002-3C0971897900}"/>
                </a:ext>
              </a:extLst>
            </p:cNvPr>
            <p:cNvSpPr/>
            <p:nvPr/>
          </p:nvSpPr>
          <p:spPr>
            <a:xfrm flipH="1">
              <a:off x="3761928" y="2769029"/>
              <a:ext cx="72625" cy="48741"/>
            </a:xfrm>
            <a:custGeom>
              <a:avLst/>
              <a:gdLst/>
              <a:ahLst/>
              <a:cxnLst/>
              <a:rect l="l" t="t" r="r" b="b"/>
              <a:pathLst>
                <a:path w="2536" h="1702" extrusionOk="0">
                  <a:moveTo>
                    <a:pt x="0" y="0"/>
                  </a:moveTo>
                  <a:lnTo>
                    <a:pt x="0" y="1702"/>
                  </a:lnTo>
                  <a:lnTo>
                    <a:pt x="2535" y="1702"/>
                  </a:lnTo>
                  <a:lnTo>
                    <a:pt x="2535" y="0"/>
                  </a:lnTo>
                  <a:close/>
                </a:path>
              </a:pathLst>
            </a:custGeom>
            <a:solidFill>
              <a:srgbClr val="FAFAF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 name="Google Shape;884;p39">
              <a:extLst>
                <a:ext uri="{FF2B5EF4-FFF2-40B4-BE49-F238E27FC236}">
                  <a16:creationId xmlns:a16="http://schemas.microsoft.com/office/drawing/2014/main" id="{4DE1FEDC-36F1-886B-AEFF-AFB79111E821}"/>
                </a:ext>
              </a:extLst>
            </p:cNvPr>
            <p:cNvSpPr/>
            <p:nvPr/>
          </p:nvSpPr>
          <p:spPr>
            <a:xfrm flipH="1">
              <a:off x="3761928" y="2910406"/>
              <a:ext cx="72625" cy="48741"/>
            </a:xfrm>
            <a:custGeom>
              <a:avLst/>
              <a:gdLst/>
              <a:ahLst/>
              <a:cxnLst/>
              <a:rect l="l" t="t" r="r" b="b"/>
              <a:pathLst>
                <a:path w="2536" h="1702" extrusionOk="0">
                  <a:moveTo>
                    <a:pt x="0" y="0"/>
                  </a:moveTo>
                  <a:lnTo>
                    <a:pt x="0" y="1701"/>
                  </a:lnTo>
                  <a:lnTo>
                    <a:pt x="2535" y="1701"/>
                  </a:lnTo>
                  <a:lnTo>
                    <a:pt x="2535" y="0"/>
                  </a:lnTo>
                  <a:close/>
                </a:path>
              </a:pathLst>
            </a:custGeom>
            <a:solidFill>
              <a:srgbClr val="FAFAF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 name="Google Shape;885;p39">
              <a:extLst>
                <a:ext uri="{FF2B5EF4-FFF2-40B4-BE49-F238E27FC236}">
                  <a16:creationId xmlns:a16="http://schemas.microsoft.com/office/drawing/2014/main" id="{1AF33432-0F35-A85E-6470-129E00FB38F7}"/>
                </a:ext>
              </a:extLst>
            </p:cNvPr>
            <p:cNvSpPr/>
            <p:nvPr/>
          </p:nvSpPr>
          <p:spPr>
            <a:xfrm flipH="1">
              <a:off x="3454336" y="2556004"/>
              <a:ext cx="307624" cy="546461"/>
            </a:xfrm>
            <a:custGeom>
              <a:avLst/>
              <a:gdLst/>
              <a:ahLst/>
              <a:cxnLst/>
              <a:rect l="l" t="t" r="r" b="b"/>
              <a:pathLst>
                <a:path w="10742" h="19082" extrusionOk="0">
                  <a:moveTo>
                    <a:pt x="301" y="1"/>
                  </a:moveTo>
                  <a:cubicBezTo>
                    <a:pt x="134" y="1"/>
                    <a:pt x="0" y="101"/>
                    <a:pt x="0" y="268"/>
                  </a:cubicBezTo>
                  <a:lnTo>
                    <a:pt x="0" y="18814"/>
                  </a:lnTo>
                  <a:cubicBezTo>
                    <a:pt x="0" y="18981"/>
                    <a:pt x="134" y="19081"/>
                    <a:pt x="301" y="19081"/>
                  </a:cubicBezTo>
                  <a:lnTo>
                    <a:pt x="10475" y="19081"/>
                  </a:lnTo>
                  <a:cubicBezTo>
                    <a:pt x="10608" y="19081"/>
                    <a:pt x="10741" y="18981"/>
                    <a:pt x="10741" y="18814"/>
                  </a:cubicBezTo>
                  <a:lnTo>
                    <a:pt x="10741" y="268"/>
                  </a:lnTo>
                  <a:cubicBezTo>
                    <a:pt x="10741" y="101"/>
                    <a:pt x="10608" y="1"/>
                    <a:pt x="10475" y="1"/>
                  </a:cubicBezTo>
                  <a:close/>
                </a:path>
              </a:pathLst>
            </a:custGeom>
            <a:solidFill>
              <a:srgbClr val="E0E0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 name="Google Shape;886;p39">
              <a:extLst>
                <a:ext uri="{FF2B5EF4-FFF2-40B4-BE49-F238E27FC236}">
                  <a16:creationId xmlns:a16="http://schemas.microsoft.com/office/drawing/2014/main" id="{4DE96993-44B2-2412-62EE-8EDDB829082C}"/>
                </a:ext>
              </a:extLst>
            </p:cNvPr>
            <p:cNvSpPr/>
            <p:nvPr/>
          </p:nvSpPr>
          <p:spPr>
            <a:xfrm flipH="1">
              <a:off x="3663535" y="2606633"/>
              <a:ext cx="65952" cy="495830"/>
            </a:xfrm>
            <a:custGeom>
              <a:avLst/>
              <a:gdLst/>
              <a:ahLst/>
              <a:cxnLst/>
              <a:rect l="l" t="t" r="r" b="b"/>
              <a:pathLst>
                <a:path w="2303" h="17314" extrusionOk="0">
                  <a:moveTo>
                    <a:pt x="267" y="1"/>
                  </a:moveTo>
                  <a:cubicBezTo>
                    <a:pt x="134" y="1"/>
                    <a:pt x="1" y="134"/>
                    <a:pt x="1" y="268"/>
                  </a:cubicBezTo>
                  <a:lnTo>
                    <a:pt x="1" y="17080"/>
                  </a:lnTo>
                  <a:cubicBezTo>
                    <a:pt x="1" y="17213"/>
                    <a:pt x="134" y="17313"/>
                    <a:pt x="267" y="17313"/>
                  </a:cubicBezTo>
                  <a:lnTo>
                    <a:pt x="2035" y="17313"/>
                  </a:lnTo>
                  <a:cubicBezTo>
                    <a:pt x="2169" y="17313"/>
                    <a:pt x="2302" y="17213"/>
                    <a:pt x="2302" y="17080"/>
                  </a:cubicBezTo>
                  <a:lnTo>
                    <a:pt x="2302" y="268"/>
                  </a:lnTo>
                  <a:cubicBezTo>
                    <a:pt x="2302" y="134"/>
                    <a:pt x="2169" y="1"/>
                    <a:pt x="2035" y="1"/>
                  </a:cubicBezTo>
                  <a:close/>
                </a:path>
              </a:pathLst>
            </a:custGeom>
            <a:solidFill>
              <a:srgbClr val="EBEBE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 name="Google Shape;887;p39">
              <a:extLst>
                <a:ext uri="{FF2B5EF4-FFF2-40B4-BE49-F238E27FC236}">
                  <a16:creationId xmlns:a16="http://schemas.microsoft.com/office/drawing/2014/main" id="{07CACFFD-8393-6515-4BEC-6C007429D46E}"/>
                </a:ext>
              </a:extLst>
            </p:cNvPr>
            <p:cNvSpPr/>
            <p:nvPr/>
          </p:nvSpPr>
          <p:spPr>
            <a:xfrm flipH="1">
              <a:off x="3663535" y="2704082"/>
              <a:ext cx="65952" cy="92671"/>
            </a:xfrm>
            <a:custGeom>
              <a:avLst/>
              <a:gdLst/>
              <a:ahLst/>
              <a:cxnLst/>
              <a:rect l="l" t="t" r="r" b="b"/>
              <a:pathLst>
                <a:path w="2303" h="3236" extrusionOk="0">
                  <a:moveTo>
                    <a:pt x="1" y="0"/>
                  </a:moveTo>
                  <a:lnTo>
                    <a:pt x="1" y="3236"/>
                  </a:lnTo>
                  <a:lnTo>
                    <a:pt x="2302" y="3236"/>
                  </a:lnTo>
                  <a:lnTo>
                    <a:pt x="2302" y="0"/>
                  </a:lnTo>
                  <a:close/>
                </a:path>
              </a:pathLst>
            </a:custGeom>
            <a:solidFill>
              <a:srgbClr val="FAFAF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 name="Google Shape;888;p39">
              <a:extLst>
                <a:ext uri="{FF2B5EF4-FFF2-40B4-BE49-F238E27FC236}">
                  <a16:creationId xmlns:a16="http://schemas.microsoft.com/office/drawing/2014/main" id="{6064945B-0980-26D7-FCA5-1DD11E5768E8}"/>
                </a:ext>
              </a:extLst>
            </p:cNvPr>
            <p:cNvSpPr/>
            <p:nvPr/>
          </p:nvSpPr>
          <p:spPr>
            <a:xfrm flipH="1">
              <a:off x="3663535" y="2825385"/>
              <a:ext cx="65952" cy="57332"/>
            </a:xfrm>
            <a:custGeom>
              <a:avLst/>
              <a:gdLst/>
              <a:ahLst/>
              <a:cxnLst/>
              <a:rect l="l" t="t" r="r" b="b"/>
              <a:pathLst>
                <a:path w="2303" h="2002" extrusionOk="0">
                  <a:moveTo>
                    <a:pt x="1" y="0"/>
                  </a:moveTo>
                  <a:lnTo>
                    <a:pt x="1" y="2002"/>
                  </a:lnTo>
                  <a:lnTo>
                    <a:pt x="2302" y="2002"/>
                  </a:lnTo>
                  <a:lnTo>
                    <a:pt x="2302" y="0"/>
                  </a:lnTo>
                  <a:close/>
                </a:path>
              </a:pathLst>
            </a:custGeom>
            <a:solidFill>
              <a:srgbClr val="FAFAF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 name="Google Shape;889;p39">
              <a:extLst>
                <a:ext uri="{FF2B5EF4-FFF2-40B4-BE49-F238E27FC236}">
                  <a16:creationId xmlns:a16="http://schemas.microsoft.com/office/drawing/2014/main" id="{BF67811A-872B-4BAC-AAC9-35935B5556D5}"/>
                </a:ext>
              </a:extLst>
            </p:cNvPr>
            <p:cNvSpPr/>
            <p:nvPr/>
          </p:nvSpPr>
          <p:spPr>
            <a:xfrm flipH="1">
              <a:off x="3385553" y="2606633"/>
              <a:ext cx="278013" cy="495830"/>
            </a:xfrm>
            <a:custGeom>
              <a:avLst/>
              <a:gdLst/>
              <a:ahLst/>
              <a:cxnLst/>
              <a:rect l="l" t="t" r="r" b="b"/>
              <a:pathLst>
                <a:path w="9708" h="17314" extrusionOk="0">
                  <a:moveTo>
                    <a:pt x="234" y="1"/>
                  </a:moveTo>
                  <a:cubicBezTo>
                    <a:pt x="100" y="1"/>
                    <a:pt x="0" y="134"/>
                    <a:pt x="0" y="268"/>
                  </a:cubicBezTo>
                  <a:lnTo>
                    <a:pt x="0" y="17080"/>
                  </a:lnTo>
                  <a:cubicBezTo>
                    <a:pt x="0" y="17213"/>
                    <a:pt x="100" y="17313"/>
                    <a:pt x="234" y="17313"/>
                  </a:cubicBezTo>
                  <a:lnTo>
                    <a:pt x="9474" y="17313"/>
                  </a:lnTo>
                  <a:cubicBezTo>
                    <a:pt x="9607" y="17313"/>
                    <a:pt x="9707" y="17213"/>
                    <a:pt x="9707" y="17080"/>
                  </a:cubicBezTo>
                  <a:lnTo>
                    <a:pt x="9707" y="268"/>
                  </a:lnTo>
                  <a:cubicBezTo>
                    <a:pt x="9707" y="134"/>
                    <a:pt x="9607" y="1"/>
                    <a:pt x="9474" y="1"/>
                  </a:cubicBezTo>
                  <a:close/>
                </a:path>
              </a:pathLst>
            </a:custGeom>
            <a:solidFill>
              <a:srgbClr val="E0E0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 name="Google Shape;890;p39">
              <a:extLst>
                <a:ext uri="{FF2B5EF4-FFF2-40B4-BE49-F238E27FC236}">
                  <a16:creationId xmlns:a16="http://schemas.microsoft.com/office/drawing/2014/main" id="{D2B0938C-7C57-B70F-8677-3A2D15D6E421}"/>
                </a:ext>
              </a:extLst>
            </p:cNvPr>
            <p:cNvSpPr/>
            <p:nvPr/>
          </p:nvSpPr>
          <p:spPr>
            <a:xfrm flipH="1">
              <a:off x="3567059" y="2676362"/>
              <a:ext cx="71680" cy="426097"/>
            </a:xfrm>
            <a:custGeom>
              <a:avLst/>
              <a:gdLst/>
              <a:ahLst/>
              <a:cxnLst/>
              <a:rect l="l" t="t" r="r" b="b"/>
              <a:pathLst>
                <a:path w="2503" h="14879" extrusionOk="0">
                  <a:moveTo>
                    <a:pt x="267" y="1"/>
                  </a:moveTo>
                  <a:cubicBezTo>
                    <a:pt x="101" y="1"/>
                    <a:pt x="0" y="101"/>
                    <a:pt x="0" y="268"/>
                  </a:cubicBezTo>
                  <a:lnTo>
                    <a:pt x="0" y="14611"/>
                  </a:lnTo>
                  <a:cubicBezTo>
                    <a:pt x="0" y="14778"/>
                    <a:pt x="101" y="14878"/>
                    <a:pt x="267" y="14878"/>
                  </a:cubicBezTo>
                  <a:lnTo>
                    <a:pt x="2235" y="14878"/>
                  </a:lnTo>
                  <a:cubicBezTo>
                    <a:pt x="2369" y="14878"/>
                    <a:pt x="2502" y="14778"/>
                    <a:pt x="2502" y="14611"/>
                  </a:cubicBezTo>
                  <a:lnTo>
                    <a:pt x="2502" y="268"/>
                  </a:lnTo>
                  <a:cubicBezTo>
                    <a:pt x="2502" y="101"/>
                    <a:pt x="2369" y="1"/>
                    <a:pt x="2235" y="1"/>
                  </a:cubicBezTo>
                  <a:close/>
                </a:path>
              </a:pathLst>
            </a:custGeom>
            <a:solidFill>
              <a:srgbClr val="EBEBE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 name="Google Shape;891;p39">
              <a:extLst>
                <a:ext uri="{FF2B5EF4-FFF2-40B4-BE49-F238E27FC236}">
                  <a16:creationId xmlns:a16="http://schemas.microsoft.com/office/drawing/2014/main" id="{39A80CE4-098E-8099-9A7E-5F3E1E6B8EA7}"/>
                </a:ext>
              </a:extLst>
            </p:cNvPr>
            <p:cNvSpPr/>
            <p:nvPr/>
          </p:nvSpPr>
          <p:spPr>
            <a:xfrm flipH="1">
              <a:off x="3567059" y="2771893"/>
              <a:ext cx="72625" cy="79326"/>
            </a:xfrm>
            <a:custGeom>
              <a:avLst/>
              <a:gdLst/>
              <a:ahLst/>
              <a:cxnLst/>
              <a:rect l="l" t="t" r="r" b="b"/>
              <a:pathLst>
                <a:path w="2536" h="2770" extrusionOk="0">
                  <a:moveTo>
                    <a:pt x="0" y="0"/>
                  </a:moveTo>
                  <a:lnTo>
                    <a:pt x="0" y="2769"/>
                  </a:lnTo>
                  <a:lnTo>
                    <a:pt x="2535" y="2769"/>
                  </a:lnTo>
                  <a:lnTo>
                    <a:pt x="2535" y="0"/>
                  </a:lnTo>
                  <a:close/>
                </a:path>
              </a:pathLst>
            </a:custGeom>
            <a:solidFill>
              <a:srgbClr val="FAFAF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 name="Google Shape;892;p39">
              <a:extLst>
                <a:ext uri="{FF2B5EF4-FFF2-40B4-BE49-F238E27FC236}">
                  <a16:creationId xmlns:a16="http://schemas.microsoft.com/office/drawing/2014/main" id="{5D77441A-2F17-6005-47DF-FFBC94871BCC}"/>
                </a:ext>
              </a:extLst>
            </p:cNvPr>
            <p:cNvSpPr/>
            <p:nvPr/>
          </p:nvSpPr>
          <p:spPr>
            <a:xfrm flipH="1">
              <a:off x="3567059" y="3030764"/>
              <a:ext cx="72625" cy="19130"/>
            </a:xfrm>
            <a:custGeom>
              <a:avLst/>
              <a:gdLst/>
              <a:ahLst/>
              <a:cxnLst/>
              <a:rect l="l" t="t" r="r" b="b"/>
              <a:pathLst>
                <a:path w="2536" h="668" extrusionOk="0">
                  <a:moveTo>
                    <a:pt x="0" y="0"/>
                  </a:moveTo>
                  <a:lnTo>
                    <a:pt x="0" y="667"/>
                  </a:lnTo>
                  <a:lnTo>
                    <a:pt x="2535" y="667"/>
                  </a:lnTo>
                  <a:lnTo>
                    <a:pt x="2535" y="0"/>
                  </a:lnTo>
                  <a:close/>
                </a:path>
              </a:pathLst>
            </a:custGeom>
            <a:solidFill>
              <a:srgbClr val="FAFAF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 name="Google Shape;893;p39">
              <a:extLst>
                <a:ext uri="{FF2B5EF4-FFF2-40B4-BE49-F238E27FC236}">
                  <a16:creationId xmlns:a16="http://schemas.microsoft.com/office/drawing/2014/main" id="{2B40561B-4157-4119-9390-ED3380A01D64}"/>
                </a:ext>
              </a:extLst>
            </p:cNvPr>
            <p:cNvSpPr/>
            <p:nvPr/>
          </p:nvSpPr>
          <p:spPr>
            <a:xfrm flipH="1">
              <a:off x="3567059" y="2868368"/>
              <a:ext cx="72625" cy="79326"/>
            </a:xfrm>
            <a:custGeom>
              <a:avLst/>
              <a:gdLst/>
              <a:ahLst/>
              <a:cxnLst/>
              <a:rect l="l" t="t" r="r" b="b"/>
              <a:pathLst>
                <a:path w="2536" h="2770" extrusionOk="0">
                  <a:moveTo>
                    <a:pt x="0" y="1"/>
                  </a:moveTo>
                  <a:lnTo>
                    <a:pt x="0" y="2769"/>
                  </a:lnTo>
                  <a:lnTo>
                    <a:pt x="2535" y="2769"/>
                  </a:lnTo>
                  <a:lnTo>
                    <a:pt x="2535" y="1"/>
                  </a:lnTo>
                  <a:close/>
                </a:path>
              </a:pathLst>
            </a:custGeom>
            <a:solidFill>
              <a:srgbClr val="FAFAF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 name="Google Shape;894;p39">
              <a:extLst>
                <a:ext uri="{FF2B5EF4-FFF2-40B4-BE49-F238E27FC236}">
                  <a16:creationId xmlns:a16="http://schemas.microsoft.com/office/drawing/2014/main" id="{AA2321BA-A2F0-19DE-2A59-CC2AEE886E5C}"/>
                </a:ext>
              </a:extLst>
            </p:cNvPr>
            <p:cNvSpPr/>
            <p:nvPr/>
          </p:nvSpPr>
          <p:spPr>
            <a:xfrm flipH="1">
              <a:off x="3259466" y="2676362"/>
              <a:ext cx="307624" cy="426097"/>
            </a:xfrm>
            <a:custGeom>
              <a:avLst/>
              <a:gdLst/>
              <a:ahLst/>
              <a:cxnLst/>
              <a:rect l="l" t="t" r="r" b="b"/>
              <a:pathLst>
                <a:path w="10742" h="14879" extrusionOk="0">
                  <a:moveTo>
                    <a:pt x="300" y="1"/>
                  </a:moveTo>
                  <a:cubicBezTo>
                    <a:pt x="134" y="1"/>
                    <a:pt x="0" y="101"/>
                    <a:pt x="0" y="268"/>
                  </a:cubicBezTo>
                  <a:lnTo>
                    <a:pt x="0" y="14611"/>
                  </a:lnTo>
                  <a:cubicBezTo>
                    <a:pt x="0" y="14778"/>
                    <a:pt x="134" y="14878"/>
                    <a:pt x="300" y="14878"/>
                  </a:cubicBezTo>
                  <a:lnTo>
                    <a:pt x="10474" y="14878"/>
                  </a:lnTo>
                  <a:cubicBezTo>
                    <a:pt x="10608" y="14878"/>
                    <a:pt x="10741" y="14778"/>
                    <a:pt x="10741" y="14611"/>
                  </a:cubicBezTo>
                  <a:lnTo>
                    <a:pt x="10741" y="268"/>
                  </a:lnTo>
                  <a:cubicBezTo>
                    <a:pt x="10741" y="101"/>
                    <a:pt x="10608" y="1"/>
                    <a:pt x="10474" y="1"/>
                  </a:cubicBezTo>
                  <a:close/>
                </a:path>
              </a:pathLst>
            </a:custGeom>
            <a:solidFill>
              <a:srgbClr val="E0E0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 name="Google Shape;895;p39">
              <a:extLst>
                <a:ext uri="{FF2B5EF4-FFF2-40B4-BE49-F238E27FC236}">
                  <a16:creationId xmlns:a16="http://schemas.microsoft.com/office/drawing/2014/main" id="{A3EE045B-2F31-2EA7-F761-4361066B2A38}"/>
                </a:ext>
              </a:extLst>
            </p:cNvPr>
            <p:cNvSpPr/>
            <p:nvPr/>
          </p:nvSpPr>
          <p:spPr>
            <a:xfrm flipH="1">
              <a:off x="3471557" y="2593260"/>
              <a:ext cx="65924" cy="509203"/>
            </a:xfrm>
            <a:custGeom>
              <a:avLst/>
              <a:gdLst/>
              <a:ahLst/>
              <a:cxnLst/>
              <a:rect l="l" t="t" r="r" b="b"/>
              <a:pathLst>
                <a:path w="2302" h="17781" extrusionOk="0">
                  <a:moveTo>
                    <a:pt x="267" y="1"/>
                  </a:moveTo>
                  <a:cubicBezTo>
                    <a:pt x="100" y="1"/>
                    <a:pt x="0" y="101"/>
                    <a:pt x="0" y="234"/>
                  </a:cubicBezTo>
                  <a:lnTo>
                    <a:pt x="0" y="17547"/>
                  </a:lnTo>
                  <a:cubicBezTo>
                    <a:pt x="0" y="17680"/>
                    <a:pt x="100" y="17780"/>
                    <a:pt x="267" y="17780"/>
                  </a:cubicBezTo>
                  <a:lnTo>
                    <a:pt x="2035" y="17780"/>
                  </a:lnTo>
                  <a:cubicBezTo>
                    <a:pt x="2169" y="17780"/>
                    <a:pt x="2302" y="17680"/>
                    <a:pt x="2302" y="17547"/>
                  </a:cubicBezTo>
                  <a:lnTo>
                    <a:pt x="2302" y="234"/>
                  </a:lnTo>
                  <a:cubicBezTo>
                    <a:pt x="2302" y="101"/>
                    <a:pt x="2169" y="1"/>
                    <a:pt x="2035" y="1"/>
                  </a:cubicBezTo>
                  <a:close/>
                </a:path>
              </a:pathLst>
            </a:custGeom>
            <a:solidFill>
              <a:srgbClr val="EBEBE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 name="Google Shape;896;p39">
              <a:extLst>
                <a:ext uri="{FF2B5EF4-FFF2-40B4-BE49-F238E27FC236}">
                  <a16:creationId xmlns:a16="http://schemas.microsoft.com/office/drawing/2014/main" id="{EAF147F1-FD5A-A11A-15A5-8B057CF511F6}"/>
                </a:ext>
              </a:extLst>
            </p:cNvPr>
            <p:cNvSpPr/>
            <p:nvPr/>
          </p:nvSpPr>
          <p:spPr>
            <a:xfrm flipH="1">
              <a:off x="3471557" y="2645807"/>
              <a:ext cx="65924" cy="185342"/>
            </a:xfrm>
            <a:custGeom>
              <a:avLst/>
              <a:gdLst/>
              <a:ahLst/>
              <a:cxnLst/>
              <a:rect l="l" t="t" r="r" b="b"/>
              <a:pathLst>
                <a:path w="2302" h="6472" extrusionOk="0">
                  <a:moveTo>
                    <a:pt x="0" y="0"/>
                  </a:moveTo>
                  <a:lnTo>
                    <a:pt x="0" y="6472"/>
                  </a:lnTo>
                  <a:lnTo>
                    <a:pt x="2302" y="6472"/>
                  </a:lnTo>
                  <a:lnTo>
                    <a:pt x="2302" y="0"/>
                  </a:lnTo>
                  <a:close/>
                </a:path>
              </a:pathLst>
            </a:custGeom>
            <a:solidFill>
              <a:srgbClr val="FAFAF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 name="Google Shape;897;p39">
              <a:extLst>
                <a:ext uri="{FF2B5EF4-FFF2-40B4-BE49-F238E27FC236}">
                  <a16:creationId xmlns:a16="http://schemas.microsoft.com/office/drawing/2014/main" id="{A6591C2E-98DE-2CDA-962C-461AA8257A3D}"/>
                </a:ext>
              </a:extLst>
            </p:cNvPr>
            <p:cNvSpPr/>
            <p:nvPr/>
          </p:nvSpPr>
          <p:spPr>
            <a:xfrm flipH="1">
              <a:off x="3471557" y="2888442"/>
              <a:ext cx="65924" cy="113691"/>
            </a:xfrm>
            <a:custGeom>
              <a:avLst/>
              <a:gdLst/>
              <a:ahLst/>
              <a:cxnLst/>
              <a:rect l="l" t="t" r="r" b="b"/>
              <a:pathLst>
                <a:path w="2302" h="3970" extrusionOk="0">
                  <a:moveTo>
                    <a:pt x="0" y="0"/>
                  </a:moveTo>
                  <a:lnTo>
                    <a:pt x="0" y="3970"/>
                  </a:lnTo>
                  <a:lnTo>
                    <a:pt x="2302" y="3970"/>
                  </a:lnTo>
                  <a:lnTo>
                    <a:pt x="2302" y="0"/>
                  </a:lnTo>
                  <a:close/>
                </a:path>
              </a:pathLst>
            </a:custGeom>
            <a:solidFill>
              <a:srgbClr val="FAFAF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 name="Google Shape;898;p39">
              <a:extLst>
                <a:ext uri="{FF2B5EF4-FFF2-40B4-BE49-F238E27FC236}">
                  <a16:creationId xmlns:a16="http://schemas.microsoft.com/office/drawing/2014/main" id="{D776185D-07E8-C862-B1B4-82CEDB2BD326}"/>
                </a:ext>
              </a:extLst>
            </p:cNvPr>
            <p:cNvSpPr/>
            <p:nvPr/>
          </p:nvSpPr>
          <p:spPr>
            <a:xfrm flipH="1">
              <a:off x="3193576" y="2593260"/>
              <a:ext cx="278013" cy="509203"/>
            </a:xfrm>
            <a:custGeom>
              <a:avLst/>
              <a:gdLst/>
              <a:ahLst/>
              <a:cxnLst/>
              <a:rect l="l" t="t" r="r" b="b"/>
              <a:pathLst>
                <a:path w="9708" h="17781" extrusionOk="0">
                  <a:moveTo>
                    <a:pt x="234" y="1"/>
                  </a:moveTo>
                  <a:cubicBezTo>
                    <a:pt x="101" y="1"/>
                    <a:pt x="1" y="101"/>
                    <a:pt x="1" y="234"/>
                  </a:cubicBezTo>
                  <a:lnTo>
                    <a:pt x="1" y="17547"/>
                  </a:lnTo>
                  <a:cubicBezTo>
                    <a:pt x="1" y="17680"/>
                    <a:pt x="101" y="17780"/>
                    <a:pt x="234" y="17780"/>
                  </a:cubicBezTo>
                  <a:lnTo>
                    <a:pt x="9441" y="17780"/>
                  </a:lnTo>
                  <a:cubicBezTo>
                    <a:pt x="9608" y="17780"/>
                    <a:pt x="9708" y="17680"/>
                    <a:pt x="9708" y="17547"/>
                  </a:cubicBezTo>
                  <a:lnTo>
                    <a:pt x="9708" y="234"/>
                  </a:lnTo>
                  <a:cubicBezTo>
                    <a:pt x="9708" y="101"/>
                    <a:pt x="9608" y="1"/>
                    <a:pt x="9441" y="1"/>
                  </a:cubicBezTo>
                  <a:close/>
                </a:path>
              </a:pathLst>
            </a:custGeom>
            <a:solidFill>
              <a:srgbClr val="E0E0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 name="Google Shape;899;p39">
              <a:extLst>
                <a:ext uri="{FF2B5EF4-FFF2-40B4-BE49-F238E27FC236}">
                  <a16:creationId xmlns:a16="http://schemas.microsoft.com/office/drawing/2014/main" id="{56EFEBF5-440C-F003-E119-D852D421A254}"/>
                </a:ext>
              </a:extLst>
            </p:cNvPr>
            <p:cNvSpPr/>
            <p:nvPr/>
          </p:nvSpPr>
          <p:spPr>
            <a:xfrm flipH="1">
              <a:off x="3367435" y="2646752"/>
              <a:ext cx="71651" cy="455709"/>
            </a:xfrm>
            <a:custGeom>
              <a:avLst/>
              <a:gdLst/>
              <a:ahLst/>
              <a:cxnLst/>
              <a:rect l="l" t="t" r="r" b="b"/>
              <a:pathLst>
                <a:path w="2502" h="15913" extrusionOk="0">
                  <a:moveTo>
                    <a:pt x="234" y="1"/>
                  </a:moveTo>
                  <a:cubicBezTo>
                    <a:pt x="100" y="1"/>
                    <a:pt x="0" y="101"/>
                    <a:pt x="0" y="268"/>
                  </a:cubicBezTo>
                  <a:lnTo>
                    <a:pt x="0" y="15679"/>
                  </a:lnTo>
                  <a:cubicBezTo>
                    <a:pt x="0" y="15812"/>
                    <a:pt x="100" y="15912"/>
                    <a:pt x="234" y="15912"/>
                  </a:cubicBezTo>
                  <a:lnTo>
                    <a:pt x="2268" y="15912"/>
                  </a:lnTo>
                  <a:cubicBezTo>
                    <a:pt x="2402" y="15912"/>
                    <a:pt x="2502" y="15812"/>
                    <a:pt x="2502" y="15679"/>
                  </a:cubicBezTo>
                  <a:lnTo>
                    <a:pt x="2502" y="268"/>
                  </a:lnTo>
                  <a:cubicBezTo>
                    <a:pt x="2502" y="101"/>
                    <a:pt x="2402" y="1"/>
                    <a:pt x="2268" y="1"/>
                  </a:cubicBezTo>
                  <a:close/>
                </a:path>
              </a:pathLst>
            </a:custGeom>
            <a:solidFill>
              <a:srgbClr val="EBEBE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 name="Google Shape;900;p39">
              <a:extLst>
                <a:ext uri="{FF2B5EF4-FFF2-40B4-BE49-F238E27FC236}">
                  <a16:creationId xmlns:a16="http://schemas.microsoft.com/office/drawing/2014/main" id="{C459B7BE-DA55-3E31-2176-26F9B13942E8}"/>
                </a:ext>
              </a:extLst>
            </p:cNvPr>
            <p:cNvSpPr/>
            <p:nvPr/>
          </p:nvSpPr>
          <p:spPr>
            <a:xfrm flipH="1">
              <a:off x="3367435" y="2705972"/>
              <a:ext cx="71651" cy="41123"/>
            </a:xfrm>
            <a:custGeom>
              <a:avLst/>
              <a:gdLst/>
              <a:ahLst/>
              <a:cxnLst/>
              <a:rect l="l" t="t" r="r" b="b"/>
              <a:pathLst>
                <a:path w="2502" h="1436" extrusionOk="0">
                  <a:moveTo>
                    <a:pt x="0" y="1"/>
                  </a:moveTo>
                  <a:lnTo>
                    <a:pt x="0" y="1435"/>
                  </a:lnTo>
                  <a:lnTo>
                    <a:pt x="2502" y="1435"/>
                  </a:lnTo>
                  <a:lnTo>
                    <a:pt x="2502" y="1"/>
                  </a:lnTo>
                  <a:close/>
                </a:path>
              </a:pathLst>
            </a:custGeom>
            <a:solidFill>
              <a:srgbClr val="FAFAF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 name="Google Shape;901;p39">
              <a:extLst>
                <a:ext uri="{FF2B5EF4-FFF2-40B4-BE49-F238E27FC236}">
                  <a16:creationId xmlns:a16="http://schemas.microsoft.com/office/drawing/2014/main" id="{8062E991-B5A5-8D40-A843-6F5F7B9D7AFE}"/>
                </a:ext>
              </a:extLst>
            </p:cNvPr>
            <p:cNvSpPr/>
            <p:nvPr/>
          </p:nvSpPr>
          <p:spPr>
            <a:xfrm flipH="1">
              <a:off x="3367435" y="2824440"/>
              <a:ext cx="71651" cy="41095"/>
            </a:xfrm>
            <a:custGeom>
              <a:avLst/>
              <a:gdLst/>
              <a:ahLst/>
              <a:cxnLst/>
              <a:rect l="l" t="t" r="r" b="b"/>
              <a:pathLst>
                <a:path w="2502" h="1435" extrusionOk="0">
                  <a:moveTo>
                    <a:pt x="0" y="0"/>
                  </a:moveTo>
                  <a:lnTo>
                    <a:pt x="0" y="1434"/>
                  </a:lnTo>
                  <a:lnTo>
                    <a:pt x="2502" y="1434"/>
                  </a:lnTo>
                  <a:lnTo>
                    <a:pt x="2502" y="0"/>
                  </a:lnTo>
                  <a:close/>
                </a:path>
              </a:pathLst>
            </a:custGeom>
            <a:solidFill>
              <a:srgbClr val="FAFAF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 name="Google Shape;902;p39">
              <a:extLst>
                <a:ext uri="{FF2B5EF4-FFF2-40B4-BE49-F238E27FC236}">
                  <a16:creationId xmlns:a16="http://schemas.microsoft.com/office/drawing/2014/main" id="{BC3394D7-ECAA-8EC3-0F7F-FEC072E5D745}"/>
                </a:ext>
              </a:extLst>
            </p:cNvPr>
            <p:cNvSpPr/>
            <p:nvPr/>
          </p:nvSpPr>
          <p:spPr>
            <a:xfrm flipH="1">
              <a:off x="3367435" y="2942880"/>
              <a:ext cx="71651" cy="40150"/>
            </a:xfrm>
            <a:custGeom>
              <a:avLst/>
              <a:gdLst/>
              <a:ahLst/>
              <a:cxnLst/>
              <a:rect l="l" t="t" r="r" b="b"/>
              <a:pathLst>
                <a:path w="2502" h="1402" extrusionOk="0">
                  <a:moveTo>
                    <a:pt x="0" y="0"/>
                  </a:moveTo>
                  <a:lnTo>
                    <a:pt x="0" y="1401"/>
                  </a:lnTo>
                  <a:lnTo>
                    <a:pt x="2502" y="1401"/>
                  </a:lnTo>
                  <a:lnTo>
                    <a:pt x="2502" y="0"/>
                  </a:lnTo>
                  <a:close/>
                </a:path>
              </a:pathLst>
            </a:custGeom>
            <a:solidFill>
              <a:srgbClr val="FAFAF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 name="Google Shape;903;p39">
              <a:extLst>
                <a:ext uri="{FF2B5EF4-FFF2-40B4-BE49-F238E27FC236}">
                  <a16:creationId xmlns:a16="http://schemas.microsoft.com/office/drawing/2014/main" id="{603B96F3-A23C-B84A-68CC-29CA3340D08F}"/>
                </a:ext>
              </a:extLst>
            </p:cNvPr>
            <p:cNvSpPr/>
            <p:nvPr/>
          </p:nvSpPr>
          <p:spPr>
            <a:xfrm flipH="1">
              <a:off x="3059843" y="2646752"/>
              <a:ext cx="306650" cy="455709"/>
            </a:xfrm>
            <a:custGeom>
              <a:avLst/>
              <a:gdLst/>
              <a:ahLst/>
              <a:cxnLst/>
              <a:rect l="l" t="t" r="r" b="b"/>
              <a:pathLst>
                <a:path w="10708" h="15913" extrusionOk="0">
                  <a:moveTo>
                    <a:pt x="234" y="1"/>
                  </a:moveTo>
                  <a:cubicBezTo>
                    <a:pt x="100" y="1"/>
                    <a:pt x="0" y="101"/>
                    <a:pt x="0" y="268"/>
                  </a:cubicBezTo>
                  <a:lnTo>
                    <a:pt x="0" y="15679"/>
                  </a:lnTo>
                  <a:cubicBezTo>
                    <a:pt x="0" y="15812"/>
                    <a:pt x="100" y="15912"/>
                    <a:pt x="234" y="15912"/>
                  </a:cubicBezTo>
                  <a:lnTo>
                    <a:pt x="10474" y="15912"/>
                  </a:lnTo>
                  <a:cubicBezTo>
                    <a:pt x="10608" y="15912"/>
                    <a:pt x="10708" y="15812"/>
                    <a:pt x="10708" y="15679"/>
                  </a:cubicBezTo>
                  <a:lnTo>
                    <a:pt x="10708" y="268"/>
                  </a:lnTo>
                  <a:cubicBezTo>
                    <a:pt x="10708" y="101"/>
                    <a:pt x="10608" y="1"/>
                    <a:pt x="10474" y="1"/>
                  </a:cubicBezTo>
                  <a:close/>
                </a:path>
              </a:pathLst>
            </a:custGeom>
            <a:solidFill>
              <a:srgbClr val="E0E0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 name="Google Shape;904;p39">
              <a:extLst>
                <a:ext uri="{FF2B5EF4-FFF2-40B4-BE49-F238E27FC236}">
                  <a16:creationId xmlns:a16="http://schemas.microsoft.com/office/drawing/2014/main" id="{6AE8E2D4-95E5-3FA3-5C8D-6C58A1E4AF3A}"/>
                </a:ext>
              </a:extLst>
            </p:cNvPr>
            <p:cNvSpPr/>
            <p:nvPr/>
          </p:nvSpPr>
          <p:spPr>
            <a:xfrm flipH="1">
              <a:off x="3269041" y="2606633"/>
              <a:ext cx="64978" cy="495830"/>
            </a:xfrm>
            <a:custGeom>
              <a:avLst/>
              <a:gdLst/>
              <a:ahLst/>
              <a:cxnLst/>
              <a:rect l="l" t="t" r="r" b="b"/>
              <a:pathLst>
                <a:path w="2269" h="17314" extrusionOk="0">
                  <a:moveTo>
                    <a:pt x="234" y="1"/>
                  </a:moveTo>
                  <a:cubicBezTo>
                    <a:pt x="100" y="1"/>
                    <a:pt x="0" y="134"/>
                    <a:pt x="0" y="268"/>
                  </a:cubicBezTo>
                  <a:lnTo>
                    <a:pt x="0" y="17080"/>
                  </a:lnTo>
                  <a:cubicBezTo>
                    <a:pt x="0" y="17213"/>
                    <a:pt x="100" y="17313"/>
                    <a:pt x="234" y="17313"/>
                  </a:cubicBezTo>
                  <a:lnTo>
                    <a:pt x="2035" y="17313"/>
                  </a:lnTo>
                  <a:cubicBezTo>
                    <a:pt x="2169" y="17313"/>
                    <a:pt x="2269" y="17213"/>
                    <a:pt x="2269" y="17080"/>
                  </a:cubicBezTo>
                  <a:lnTo>
                    <a:pt x="2269" y="268"/>
                  </a:lnTo>
                  <a:cubicBezTo>
                    <a:pt x="2269" y="134"/>
                    <a:pt x="2169" y="1"/>
                    <a:pt x="2035" y="1"/>
                  </a:cubicBezTo>
                  <a:close/>
                </a:path>
              </a:pathLst>
            </a:custGeom>
            <a:solidFill>
              <a:srgbClr val="EBEBE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 name="Google Shape;905;p39">
              <a:extLst>
                <a:ext uri="{FF2B5EF4-FFF2-40B4-BE49-F238E27FC236}">
                  <a16:creationId xmlns:a16="http://schemas.microsoft.com/office/drawing/2014/main" id="{F7F88E9D-0367-3CCE-0718-06007549CE83}"/>
                </a:ext>
              </a:extLst>
            </p:cNvPr>
            <p:cNvSpPr/>
            <p:nvPr/>
          </p:nvSpPr>
          <p:spPr>
            <a:xfrm flipH="1">
              <a:off x="3269041" y="2704082"/>
              <a:ext cx="64978" cy="92671"/>
            </a:xfrm>
            <a:custGeom>
              <a:avLst/>
              <a:gdLst/>
              <a:ahLst/>
              <a:cxnLst/>
              <a:rect l="l" t="t" r="r" b="b"/>
              <a:pathLst>
                <a:path w="2269" h="3236" extrusionOk="0">
                  <a:moveTo>
                    <a:pt x="0" y="0"/>
                  </a:moveTo>
                  <a:lnTo>
                    <a:pt x="0" y="3236"/>
                  </a:lnTo>
                  <a:lnTo>
                    <a:pt x="2269" y="3236"/>
                  </a:lnTo>
                  <a:lnTo>
                    <a:pt x="2269" y="0"/>
                  </a:lnTo>
                  <a:close/>
                </a:path>
              </a:pathLst>
            </a:custGeom>
            <a:solidFill>
              <a:srgbClr val="FAFAF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 name="Google Shape;906;p39">
              <a:extLst>
                <a:ext uri="{FF2B5EF4-FFF2-40B4-BE49-F238E27FC236}">
                  <a16:creationId xmlns:a16="http://schemas.microsoft.com/office/drawing/2014/main" id="{9F3AD2AE-4E74-1A8B-5E68-C7C5B03D37C0}"/>
                </a:ext>
              </a:extLst>
            </p:cNvPr>
            <p:cNvSpPr/>
            <p:nvPr/>
          </p:nvSpPr>
          <p:spPr>
            <a:xfrm flipH="1">
              <a:off x="3269041" y="2825385"/>
              <a:ext cx="64978" cy="57332"/>
            </a:xfrm>
            <a:custGeom>
              <a:avLst/>
              <a:gdLst/>
              <a:ahLst/>
              <a:cxnLst/>
              <a:rect l="l" t="t" r="r" b="b"/>
              <a:pathLst>
                <a:path w="2269" h="2002" extrusionOk="0">
                  <a:moveTo>
                    <a:pt x="0" y="0"/>
                  </a:moveTo>
                  <a:lnTo>
                    <a:pt x="0" y="2002"/>
                  </a:lnTo>
                  <a:lnTo>
                    <a:pt x="2269" y="2002"/>
                  </a:lnTo>
                  <a:lnTo>
                    <a:pt x="2269" y="0"/>
                  </a:lnTo>
                  <a:close/>
                </a:path>
              </a:pathLst>
            </a:custGeom>
            <a:solidFill>
              <a:srgbClr val="FAFAF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 name="Google Shape;907;p39">
              <a:extLst>
                <a:ext uri="{FF2B5EF4-FFF2-40B4-BE49-F238E27FC236}">
                  <a16:creationId xmlns:a16="http://schemas.microsoft.com/office/drawing/2014/main" id="{0390446F-BDA1-428C-E50B-2C697829A44E}"/>
                </a:ext>
              </a:extLst>
            </p:cNvPr>
            <p:cNvSpPr/>
            <p:nvPr/>
          </p:nvSpPr>
          <p:spPr>
            <a:xfrm flipH="1">
              <a:off x="2991060" y="2606633"/>
              <a:ext cx="278013" cy="495830"/>
            </a:xfrm>
            <a:custGeom>
              <a:avLst/>
              <a:gdLst/>
              <a:ahLst/>
              <a:cxnLst/>
              <a:rect l="l" t="t" r="r" b="b"/>
              <a:pathLst>
                <a:path w="9708" h="17314" extrusionOk="0">
                  <a:moveTo>
                    <a:pt x="234" y="1"/>
                  </a:moveTo>
                  <a:cubicBezTo>
                    <a:pt x="101" y="1"/>
                    <a:pt x="1" y="134"/>
                    <a:pt x="1" y="268"/>
                  </a:cubicBezTo>
                  <a:lnTo>
                    <a:pt x="1" y="17080"/>
                  </a:lnTo>
                  <a:cubicBezTo>
                    <a:pt x="1" y="17213"/>
                    <a:pt x="101" y="17313"/>
                    <a:pt x="234" y="17313"/>
                  </a:cubicBezTo>
                  <a:lnTo>
                    <a:pt x="9474" y="17313"/>
                  </a:lnTo>
                  <a:cubicBezTo>
                    <a:pt x="9608" y="17313"/>
                    <a:pt x="9708" y="17213"/>
                    <a:pt x="9708" y="17080"/>
                  </a:cubicBezTo>
                  <a:lnTo>
                    <a:pt x="9708" y="268"/>
                  </a:lnTo>
                  <a:cubicBezTo>
                    <a:pt x="9708" y="134"/>
                    <a:pt x="9608" y="1"/>
                    <a:pt x="9474" y="1"/>
                  </a:cubicBezTo>
                  <a:close/>
                </a:path>
              </a:pathLst>
            </a:custGeom>
            <a:solidFill>
              <a:srgbClr val="E0E0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 name="Google Shape;908;p39">
              <a:extLst>
                <a:ext uri="{FF2B5EF4-FFF2-40B4-BE49-F238E27FC236}">
                  <a16:creationId xmlns:a16="http://schemas.microsoft.com/office/drawing/2014/main" id="{FFDC1B91-E8D5-6AB9-B168-E1C762CCCB5B}"/>
                </a:ext>
              </a:extLst>
            </p:cNvPr>
            <p:cNvSpPr/>
            <p:nvPr/>
          </p:nvSpPr>
          <p:spPr>
            <a:xfrm flipH="1">
              <a:off x="3172565" y="2676362"/>
              <a:ext cx="71680" cy="426097"/>
            </a:xfrm>
            <a:custGeom>
              <a:avLst/>
              <a:gdLst/>
              <a:ahLst/>
              <a:cxnLst/>
              <a:rect l="l" t="t" r="r" b="b"/>
              <a:pathLst>
                <a:path w="2503" h="14879" extrusionOk="0">
                  <a:moveTo>
                    <a:pt x="268" y="1"/>
                  </a:moveTo>
                  <a:cubicBezTo>
                    <a:pt x="101" y="1"/>
                    <a:pt x="1" y="101"/>
                    <a:pt x="1" y="268"/>
                  </a:cubicBezTo>
                  <a:lnTo>
                    <a:pt x="1" y="14611"/>
                  </a:lnTo>
                  <a:cubicBezTo>
                    <a:pt x="1" y="14778"/>
                    <a:pt x="101" y="14878"/>
                    <a:pt x="268" y="14878"/>
                  </a:cubicBezTo>
                  <a:lnTo>
                    <a:pt x="2236" y="14878"/>
                  </a:lnTo>
                  <a:cubicBezTo>
                    <a:pt x="2403" y="14878"/>
                    <a:pt x="2503" y="14778"/>
                    <a:pt x="2503" y="14611"/>
                  </a:cubicBezTo>
                  <a:lnTo>
                    <a:pt x="2503" y="268"/>
                  </a:lnTo>
                  <a:cubicBezTo>
                    <a:pt x="2503" y="101"/>
                    <a:pt x="2403" y="1"/>
                    <a:pt x="2236" y="1"/>
                  </a:cubicBezTo>
                  <a:close/>
                </a:path>
              </a:pathLst>
            </a:custGeom>
            <a:solidFill>
              <a:srgbClr val="EBEBE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 name="Google Shape;909;p39">
              <a:extLst>
                <a:ext uri="{FF2B5EF4-FFF2-40B4-BE49-F238E27FC236}">
                  <a16:creationId xmlns:a16="http://schemas.microsoft.com/office/drawing/2014/main" id="{A89E6884-1932-3489-2AEC-A269433DBEDB}"/>
                </a:ext>
              </a:extLst>
            </p:cNvPr>
            <p:cNvSpPr/>
            <p:nvPr/>
          </p:nvSpPr>
          <p:spPr>
            <a:xfrm flipH="1">
              <a:off x="3172565" y="2771893"/>
              <a:ext cx="71680" cy="79326"/>
            </a:xfrm>
            <a:custGeom>
              <a:avLst/>
              <a:gdLst/>
              <a:ahLst/>
              <a:cxnLst/>
              <a:rect l="l" t="t" r="r" b="b"/>
              <a:pathLst>
                <a:path w="2503" h="2770" extrusionOk="0">
                  <a:moveTo>
                    <a:pt x="1" y="0"/>
                  </a:moveTo>
                  <a:lnTo>
                    <a:pt x="1" y="2769"/>
                  </a:lnTo>
                  <a:lnTo>
                    <a:pt x="2503" y="2769"/>
                  </a:lnTo>
                  <a:lnTo>
                    <a:pt x="2503" y="0"/>
                  </a:lnTo>
                  <a:close/>
                </a:path>
              </a:pathLst>
            </a:custGeom>
            <a:solidFill>
              <a:srgbClr val="FAFAF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 name="Google Shape;910;p39">
              <a:extLst>
                <a:ext uri="{FF2B5EF4-FFF2-40B4-BE49-F238E27FC236}">
                  <a16:creationId xmlns:a16="http://schemas.microsoft.com/office/drawing/2014/main" id="{5632B3E7-DBBF-D766-CFCF-D0BE250A7D0C}"/>
                </a:ext>
              </a:extLst>
            </p:cNvPr>
            <p:cNvSpPr/>
            <p:nvPr/>
          </p:nvSpPr>
          <p:spPr>
            <a:xfrm flipH="1">
              <a:off x="3172565" y="3030764"/>
              <a:ext cx="71680" cy="19130"/>
            </a:xfrm>
            <a:custGeom>
              <a:avLst/>
              <a:gdLst/>
              <a:ahLst/>
              <a:cxnLst/>
              <a:rect l="l" t="t" r="r" b="b"/>
              <a:pathLst>
                <a:path w="2503" h="668" extrusionOk="0">
                  <a:moveTo>
                    <a:pt x="1" y="0"/>
                  </a:moveTo>
                  <a:lnTo>
                    <a:pt x="1" y="667"/>
                  </a:lnTo>
                  <a:lnTo>
                    <a:pt x="2503" y="667"/>
                  </a:lnTo>
                  <a:lnTo>
                    <a:pt x="2503" y="0"/>
                  </a:lnTo>
                  <a:close/>
                </a:path>
              </a:pathLst>
            </a:custGeom>
            <a:solidFill>
              <a:srgbClr val="FAFAF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 name="Google Shape;911;p39">
              <a:extLst>
                <a:ext uri="{FF2B5EF4-FFF2-40B4-BE49-F238E27FC236}">
                  <a16:creationId xmlns:a16="http://schemas.microsoft.com/office/drawing/2014/main" id="{392F6311-A552-6DD6-3566-C7E37D0CB21B}"/>
                </a:ext>
              </a:extLst>
            </p:cNvPr>
            <p:cNvSpPr/>
            <p:nvPr/>
          </p:nvSpPr>
          <p:spPr>
            <a:xfrm flipH="1">
              <a:off x="3172565" y="2868368"/>
              <a:ext cx="71680" cy="79326"/>
            </a:xfrm>
            <a:custGeom>
              <a:avLst/>
              <a:gdLst/>
              <a:ahLst/>
              <a:cxnLst/>
              <a:rect l="l" t="t" r="r" b="b"/>
              <a:pathLst>
                <a:path w="2503" h="2770" extrusionOk="0">
                  <a:moveTo>
                    <a:pt x="1" y="1"/>
                  </a:moveTo>
                  <a:lnTo>
                    <a:pt x="1" y="2769"/>
                  </a:lnTo>
                  <a:lnTo>
                    <a:pt x="2503" y="2769"/>
                  </a:lnTo>
                  <a:lnTo>
                    <a:pt x="2503" y="1"/>
                  </a:lnTo>
                  <a:close/>
                </a:path>
              </a:pathLst>
            </a:custGeom>
            <a:solidFill>
              <a:srgbClr val="FAFAF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 name="Google Shape;912;p39">
              <a:extLst>
                <a:ext uri="{FF2B5EF4-FFF2-40B4-BE49-F238E27FC236}">
                  <a16:creationId xmlns:a16="http://schemas.microsoft.com/office/drawing/2014/main" id="{FC8BED6B-811F-F17C-A3EF-D482FDC3F8EA}"/>
                </a:ext>
              </a:extLst>
            </p:cNvPr>
            <p:cNvSpPr/>
            <p:nvPr/>
          </p:nvSpPr>
          <p:spPr>
            <a:xfrm flipH="1">
              <a:off x="2864973" y="2676362"/>
              <a:ext cx="306650" cy="426097"/>
            </a:xfrm>
            <a:custGeom>
              <a:avLst/>
              <a:gdLst/>
              <a:ahLst/>
              <a:cxnLst/>
              <a:rect l="l" t="t" r="r" b="b"/>
              <a:pathLst>
                <a:path w="10708" h="14879" extrusionOk="0">
                  <a:moveTo>
                    <a:pt x="267" y="1"/>
                  </a:moveTo>
                  <a:cubicBezTo>
                    <a:pt x="100" y="1"/>
                    <a:pt x="0" y="101"/>
                    <a:pt x="0" y="268"/>
                  </a:cubicBezTo>
                  <a:lnTo>
                    <a:pt x="0" y="14611"/>
                  </a:lnTo>
                  <a:cubicBezTo>
                    <a:pt x="0" y="14778"/>
                    <a:pt x="100" y="14878"/>
                    <a:pt x="267" y="14878"/>
                  </a:cubicBezTo>
                  <a:lnTo>
                    <a:pt x="10441" y="14878"/>
                  </a:lnTo>
                  <a:cubicBezTo>
                    <a:pt x="10608" y="14878"/>
                    <a:pt x="10708" y="14778"/>
                    <a:pt x="10708" y="14611"/>
                  </a:cubicBezTo>
                  <a:lnTo>
                    <a:pt x="10708" y="268"/>
                  </a:lnTo>
                  <a:cubicBezTo>
                    <a:pt x="10708" y="101"/>
                    <a:pt x="10608" y="1"/>
                    <a:pt x="10441" y="1"/>
                  </a:cubicBezTo>
                  <a:close/>
                </a:path>
              </a:pathLst>
            </a:custGeom>
            <a:solidFill>
              <a:srgbClr val="E0E0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 name="Google Shape;913;p39">
              <a:extLst>
                <a:ext uri="{FF2B5EF4-FFF2-40B4-BE49-F238E27FC236}">
                  <a16:creationId xmlns:a16="http://schemas.microsoft.com/office/drawing/2014/main" id="{CD8C0FBB-040A-EC7B-E68D-1DFF684F839F}"/>
                </a:ext>
              </a:extLst>
            </p:cNvPr>
            <p:cNvSpPr/>
            <p:nvPr/>
          </p:nvSpPr>
          <p:spPr>
            <a:xfrm flipH="1">
              <a:off x="-46821" y="3851525"/>
              <a:ext cx="628593" cy="752794"/>
            </a:xfrm>
            <a:custGeom>
              <a:avLst/>
              <a:gdLst/>
              <a:ahLst/>
              <a:cxnLst/>
              <a:rect l="l" t="t" r="r" b="b"/>
              <a:pathLst>
                <a:path w="21950" h="26287" extrusionOk="0">
                  <a:moveTo>
                    <a:pt x="0" y="1"/>
                  </a:moveTo>
                  <a:lnTo>
                    <a:pt x="0" y="26286"/>
                  </a:lnTo>
                  <a:lnTo>
                    <a:pt x="21949" y="26286"/>
                  </a:lnTo>
                  <a:lnTo>
                    <a:pt x="21949" y="1"/>
                  </a:lnTo>
                  <a:close/>
                </a:path>
              </a:pathLst>
            </a:custGeom>
            <a:solidFill>
              <a:srgbClr val="E0E0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 name="Google Shape;914;p39">
              <a:extLst>
                <a:ext uri="{FF2B5EF4-FFF2-40B4-BE49-F238E27FC236}">
                  <a16:creationId xmlns:a16="http://schemas.microsoft.com/office/drawing/2014/main" id="{3A20518D-9C97-A338-55F6-5BD3A008935D}"/>
                </a:ext>
              </a:extLst>
            </p:cNvPr>
            <p:cNvSpPr/>
            <p:nvPr/>
          </p:nvSpPr>
          <p:spPr>
            <a:xfrm flipH="1">
              <a:off x="-180313" y="3634474"/>
              <a:ext cx="754684" cy="224489"/>
            </a:xfrm>
            <a:custGeom>
              <a:avLst/>
              <a:gdLst/>
              <a:ahLst/>
              <a:cxnLst/>
              <a:rect l="l" t="t" r="r" b="b"/>
              <a:pathLst>
                <a:path w="26353" h="7839" extrusionOk="0">
                  <a:moveTo>
                    <a:pt x="4403" y="0"/>
                  </a:moveTo>
                  <a:lnTo>
                    <a:pt x="0" y="7839"/>
                  </a:lnTo>
                  <a:lnTo>
                    <a:pt x="21949" y="7839"/>
                  </a:lnTo>
                  <a:lnTo>
                    <a:pt x="26352" y="0"/>
                  </a:lnTo>
                  <a:close/>
                </a:path>
              </a:pathLst>
            </a:custGeom>
            <a:solidFill>
              <a:srgbClr val="E0E0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 name="Google Shape;915;p39">
              <a:extLst>
                <a:ext uri="{FF2B5EF4-FFF2-40B4-BE49-F238E27FC236}">
                  <a16:creationId xmlns:a16="http://schemas.microsoft.com/office/drawing/2014/main" id="{0FDCD72E-35C8-949E-A8AC-2DB27D301FCA}"/>
                </a:ext>
              </a:extLst>
            </p:cNvPr>
            <p:cNvSpPr/>
            <p:nvPr/>
          </p:nvSpPr>
          <p:spPr>
            <a:xfrm flipH="1">
              <a:off x="1059580" y="3634474"/>
              <a:ext cx="754684" cy="224489"/>
            </a:xfrm>
            <a:custGeom>
              <a:avLst/>
              <a:gdLst/>
              <a:ahLst/>
              <a:cxnLst/>
              <a:rect l="l" t="t" r="r" b="b"/>
              <a:pathLst>
                <a:path w="26353" h="7839" extrusionOk="0">
                  <a:moveTo>
                    <a:pt x="1" y="0"/>
                  </a:moveTo>
                  <a:lnTo>
                    <a:pt x="4404" y="7839"/>
                  </a:lnTo>
                  <a:lnTo>
                    <a:pt x="26353" y="7839"/>
                  </a:lnTo>
                  <a:lnTo>
                    <a:pt x="21950" y="0"/>
                  </a:lnTo>
                  <a:close/>
                </a:path>
              </a:pathLst>
            </a:custGeom>
            <a:solidFill>
              <a:srgbClr val="F5F5F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 name="Google Shape;916;p39">
              <a:extLst>
                <a:ext uri="{FF2B5EF4-FFF2-40B4-BE49-F238E27FC236}">
                  <a16:creationId xmlns:a16="http://schemas.microsoft.com/office/drawing/2014/main" id="{4ADCDF04-19C9-F7F6-C4F6-D28C516E0542}"/>
                </a:ext>
              </a:extLst>
            </p:cNvPr>
            <p:cNvSpPr/>
            <p:nvPr/>
          </p:nvSpPr>
          <p:spPr>
            <a:xfrm flipH="1">
              <a:off x="574343" y="3851525"/>
              <a:ext cx="1113836" cy="752762"/>
            </a:xfrm>
            <a:custGeom>
              <a:avLst/>
              <a:gdLst/>
              <a:ahLst/>
              <a:cxnLst/>
              <a:rect l="l" t="t" r="r" b="b"/>
              <a:pathLst>
                <a:path w="38896" h="26287" extrusionOk="0">
                  <a:moveTo>
                    <a:pt x="1" y="1"/>
                  </a:moveTo>
                  <a:lnTo>
                    <a:pt x="1" y="26286"/>
                  </a:lnTo>
                  <a:lnTo>
                    <a:pt x="38895" y="26286"/>
                  </a:lnTo>
                  <a:lnTo>
                    <a:pt x="38895" y="1"/>
                  </a:lnTo>
                  <a:close/>
                </a:path>
              </a:pathLst>
            </a:custGeom>
            <a:solidFill>
              <a:srgbClr val="F5F5F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 name="Google Shape;917;p39">
              <a:extLst>
                <a:ext uri="{FF2B5EF4-FFF2-40B4-BE49-F238E27FC236}">
                  <a16:creationId xmlns:a16="http://schemas.microsoft.com/office/drawing/2014/main" id="{7027F8E8-6085-A77F-21A2-C87EA016E067}"/>
                </a:ext>
              </a:extLst>
            </p:cNvPr>
            <p:cNvSpPr/>
            <p:nvPr/>
          </p:nvSpPr>
          <p:spPr>
            <a:xfrm flipH="1">
              <a:off x="574343" y="4053095"/>
              <a:ext cx="350594" cy="350594"/>
            </a:xfrm>
            <a:custGeom>
              <a:avLst/>
              <a:gdLst/>
              <a:ahLst/>
              <a:cxnLst/>
              <a:rect l="l" t="t" r="r" b="b"/>
              <a:pathLst>
                <a:path w="12243" h="12243" extrusionOk="0">
                  <a:moveTo>
                    <a:pt x="0" y="0"/>
                  </a:moveTo>
                  <a:lnTo>
                    <a:pt x="0" y="12242"/>
                  </a:lnTo>
                  <a:lnTo>
                    <a:pt x="12242" y="12242"/>
                  </a:lnTo>
                  <a:lnTo>
                    <a:pt x="12242"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 name="Google Shape;918;p39">
              <a:extLst>
                <a:ext uri="{FF2B5EF4-FFF2-40B4-BE49-F238E27FC236}">
                  <a16:creationId xmlns:a16="http://schemas.microsoft.com/office/drawing/2014/main" id="{49C6261B-9BC0-8FC1-D08B-BDB89F22E6A0}"/>
                </a:ext>
              </a:extLst>
            </p:cNvPr>
            <p:cNvSpPr/>
            <p:nvPr/>
          </p:nvSpPr>
          <p:spPr>
            <a:xfrm flipH="1">
              <a:off x="1336611" y="4053095"/>
              <a:ext cx="201599" cy="201571"/>
            </a:xfrm>
            <a:custGeom>
              <a:avLst/>
              <a:gdLst/>
              <a:ahLst/>
              <a:cxnLst/>
              <a:rect l="l" t="t" r="r" b="b"/>
              <a:pathLst>
                <a:path w="7040" h="7039" extrusionOk="0">
                  <a:moveTo>
                    <a:pt x="1" y="0"/>
                  </a:moveTo>
                  <a:lnTo>
                    <a:pt x="1" y="7039"/>
                  </a:lnTo>
                  <a:lnTo>
                    <a:pt x="7039" y="7039"/>
                  </a:lnTo>
                  <a:lnTo>
                    <a:pt x="7039" y="0"/>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 name="Google Shape;919;p39">
              <a:extLst>
                <a:ext uri="{FF2B5EF4-FFF2-40B4-BE49-F238E27FC236}">
                  <a16:creationId xmlns:a16="http://schemas.microsoft.com/office/drawing/2014/main" id="{8209612D-024E-E7AA-C766-442EAB010C1D}"/>
                </a:ext>
              </a:extLst>
            </p:cNvPr>
            <p:cNvSpPr/>
            <p:nvPr/>
          </p:nvSpPr>
          <p:spPr>
            <a:xfrm flipH="1">
              <a:off x="1336611" y="4302403"/>
              <a:ext cx="201599" cy="201571"/>
            </a:xfrm>
            <a:custGeom>
              <a:avLst/>
              <a:gdLst/>
              <a:ahLst/>
              <a:cxnLst/>
              <a:rect l="l" t="t" r="r" b="b"/>
              <a:pathLst>
                <a:path w="7040" h="7039" extrusionOk="0">
                  <a:moveTo>
                    <a:pt x="1" y="1"/>
                  </a:moveTo>
                  <a:lnTo>
                    <a:pt x="1" y="7039"/>
                  </a:lnTo>
                  <a:lnTo>
                    <a:pt x="7039" y="7039"/>
                  </a:lnTo>
                  <a:lnTo>
                    <a:pt x="7039"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 name="Google Shape;920;p39">
              <a:extLst>
                <a:ext uri="{FF2B5EF4-FFF2-40B4-BE49-F238E27FC236}">
                  <a16:creationId xmlns:a16="http://schemas.microsoft.com/office/drawing/2014/main" id="{AB64A84D-9164-2308-0055-74419F744BB6}"/>
                </a:ext>
              </a:extLst>
            </p:cNvPr>
            <p:cNvSpPr/>
            <p:nvPr/>
          </p:nvSpPr>
          <p:spPr>
            <a:xfrm flipH="1">
              <a:off x="392846" y="4053095"/>
              <a:ext cx="181525" cy="350594"/>
            </a:xfrm>
            <a:custGeom>
              <a:avLst/>
              <a:gdLst/>
              <a:ahLst/>
              <a:cxnLst/>
              <a:rect l="l" t="t" r="r" b="b"/>
              <a:pathLst>
                <a:path w="6339" h="12243" extrusionOk="0">
                  <a:moveTo>
                    <a:pt x="0" y="0"/>
                  </a:moveTo>
                  <a:lnTo>
                    <a:pt x="0" y="12242"/>
                  </a:lnTo>
                  <a:lnTo>
                    <a:pt x="6338" y="12242"/>
                  </a:lnTo>
                  <a:lnTo>
                    <a:pt x="6338" y="0"/>
                  </a:lnTo>
                  <a:close/>
                </a:path>
              </a:pathLst>
            </a:custGeom>
            <a:solidFill>
              <a:srgbClr val="E6E6E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 name="Google Shape;921;p39">
              <a:extLst>
                <a:ext uri="{FF2B5EF4-FFF2-40B4-BE49-F238E27FC236}">
                  <a16:creationId xmlns:a16="http://schemas.microsoft.com/office/drawing/2014/main" id="{495108F5-50DB-523F-8ADB-511DFC2DF6A4}"/>
                </a:ext>
              </a:extLst>
            </p:cNvPr>
            <p:cNvSpPr/>
            <p:nvPr/>
          </p:nvSpPr>
          <p:spPr>
            <a:xfrm flipH="1">
              <a:off x="-374177" y="4872665"/>
              <a:ext cx="4630943" cy="270355"/>
            </a:xfrm>
            <a:custGeom>
              <a:avLst/>
              <a:gdLst/>
              <a:ahLst/>
              <a:cxnLst/>
              <a:rect l="l" t="t" r="r" b="b"/>
              <a:pathLst>
                <a:path w="161716" h="9441" extrusionOk="0">
                  <a:moveTo>
                    <a:pt x="80858" y="1"/>
                  </a:moveTo>
                  <a:cubicBezTo>
                    <a:pt x="36193" y="1"/>
                    <a:pt x="0" y="2136"/>
                    <a:pt x="0" y="4738"/>
                  </a:cubicBezTo>
                  <a:cubicBezTo>
                    <a:pt x="0" y="7339"/>
                    <a:pt x="36193" y="9441"/>
                    <a:pt x="80858" y="9441"/>
                  </a:cubicBezTo>
                  <a:cubicBezTo>
                    <a:pt x="125523" y="9441"/>
                    <a:pt x="161716" y="7339"/>
                    <a:pt x="161716" y="4738"/>
                  </a:cubicBezTo>
                  <a:cubicBezTo>
                    <a:pt x="161716" y="2136"/>
                    <a:pt x="125523" y="1"/>
                    <a:pt x="80858" y="1"/>
                  </a:cubicBezTo>
                  <a:close/>
                </a:path>
              </a:pathLst>
            </a:custGeom>
            <a:solidFill>
              <a:srgbClr val="F5F5F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 name="Google Shape;922;p39">
              <a:extLst>
                <a:ext uri="{FF2B5EF4-FFF2-40B4-BE49-F238E27FC236}">
                  <a16:creationId xmlns:a16="http://schemas.microsoft.com/office/drawing/2014/main" id="{AEDA9254-8435-9F13-AB0C-FC3540C89E36}"/>
                </a:ext>
              </a:extLst>
            </p:cNvPr>
            <p:cNvSpPr/>
            <p:nvPr/>
          </p:nvSpPr>
          <p:spPr>
            <a:xfrm flipH="1">
              <a:off x="2782829" y="1461169"/>
              <a:ext cx="407924" cy="358727"/>
            </a:xfrm>
            <a:custGeom>
              <a:avLst/>
              <a:gdLst/>
              <a:ahLst/>
              <a:cxnLst/>
              <a:rect l="l" t="t" r="r" b="b"/>
              <a:pathLst>
                <a:path w="14245" h="12527" extrusionOk="0">
                  <a:moveTo>
                    <a:pt x="7101" y="1"/>
                  </a:moveTo>
                  <a:cubicBezTo>
                    <a:pt x="5884" y="1"/>
                    <a:pt x="4654" y="351"/>
                    <a:pt x="3570" y="1082"/>
                  </a:cubicBezTo>
                  <a:cubicBezTo>
                    <a:pt x="735" y="3050"/>
                    <a:pt x="1" y="6953"/>
                    <a:pt x="1969" y="9788"/>
                  </a:cubicBezTo>
                  <a:cubicBezTo>
                    <a:pt x="3170" y="11569"/>
                    <a:pt x="5129" y="12527"/>
                    <a:pt x="7121" y="12527"/>
                  </a:cubicBezTo>
                  <a:cubicBezTo>
                    <a:pt x="8337" y="12527"/>
                    <a:pt x="9566" y="12169"/>
                    <a:pt x="10642" y="11422"/>
                  </a:cubicBezTo>
                  <a:cubicBezTo>
                    <a:pt x="13511" y="9488"/>
                    <a:pt x="14244" y="5585"/>
                    <a:pt x="12276" y="2716"/>
                  </a:cubicBezTo>
                  <a:cubicBezTo>
                    <a:pt x="11072" y="952"/>
                    <a:pt x="9106" y="1"/>
                    <a:pt x="7101" y="1"/>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 name="Google Shape;923;p39">
              <a:extLst>
                <a:ext uri="{FF2B5EF4-FFF2-40B4-BE49-F238E27FC236}">
                  <a16:creationId xmlns:a16="http://schemas.microsoft.com/office/drawing/2014/main" id="{8CB6FE11-9C95-1875-D4BE-D20BBC958B3B}"/>
                </a:ext>
              </a:extLst>
            </p:cNvPr>
            <p:cNvSpPr/>
            <p:nvPr/>
          </p:nvSpPr>
          <p:spPr>
            <a:xfrm flipH="1">
              <a:off x="2867850" y="1580010"/>
              <a:ext cx="235963" cy="48510"/>
            </a:xfrm>
            <a:custGeom>
              <a:avLst/>
              <a:gdLst/>
              <a:ahLst/>
              <a:cxnLst/>
              <a:rect l="l" t="t" r="r" b="b"/>
              <a:pathLst>
                <a:path w="8240" h="1694" extrusionOk="0">
                  <a:moveTo>
                    <a:pt x="234" y="1"/>
                  </a:moveTo>
                  <a:cubicBezTo>
                    <a:pt x="134" y="1"/>
                    <a:pt x="67" y="34"/>
                    <a:pt x="0" y="67"/>
                  </a:cubicBezTo>
                  <a:lnTo>
                    <a:pt x="3503" y="1568"/>
                  </a:lnTo>
                  <a:cubicBezTo>
                    <a:pt x="3686" y="1652"/>
                    <a:pt x="3895" y="1693"/>
                    <a:pt x="4108" y="1693"/>
                  </a:cubicBezTo>
                  <a:cubicBezTo>
                    <a:pt x="4320" y="1693"/>
                    <a:pt x="4537" y="1652"/>
                    <a:pt x="4737" y="1568"/>
                  </a:cubicBezTo>
                  <a:lnTo>
                    <a:pt x="8240" y="67"/>
                  </a:lnTo>
                  <a:cubicBezTo>
                    <a:pt x="8140" y="34"/>
                    <a:pt x="8073" y="1"/>
                    <a:pt x="7973"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 name="Google Shape;924;p39">
              <a:extLst>
                <a:ext uri="{FF2B5EF4-FFF2-40B4-BE49-F238E27FC236}">
                  <a16:creationId xmlns:a16="http://schemas.microsoft.com/office/drawing/2014/main" id="{4F003AED-19FA-A0BA-CEE7-30864F62B3F6}"/>
                </a:ext>
              </a:extLst>
            </p:cNvPr>
            <p:cNvSpPr/>
            <p:nvPr/>
          </p:nvSpPr>
          <p:spPr>
            <a:xfrm flipH="1">
              <a:off x="2861149" y="1596247"/>
              <a:ext cx="251255" cy="113715"/>
            </a:xfrm>
            <a:custGeom>
              <a:avLst/>
              <a:gdLst/>
              <a:ahLst/>
              <a:cxnLst/>
              <a:rect l="l" t="t" r="r" b="b"/>
              <a:pathLst>
                <a:path w="8774" h="3971" extrusionOk="0">
                  <a:moveTo>
                    <a:pt x="0" y="1"/>
                  </a:moveTo>
                  <a:cubicBezTo>
                    <a:pt x="0" y="34"/>
                    <a:pt x="0" y="34"/>
                    <a:pt x="0" y="67"/>
                  </a:cubicBezTo>
                  <a:lnTo>
                    <a:pt x="0" y="3470"/>
                  </a:lnTo>
                  <a:cubicBezTo>
                    <a:pt x="0" y="3737"/>
                    <a:pt x="234" y="3970"/>
                    <a:pt x="501" y="3970"/>
                  </a:cubicBezTo>
                  <a:lnTo>
                    <a:pt x="8273" y="3970"/>
                  </a:lnTo>
                  <a:cubicBezTo>
                    <a:pt x="8540" y="3970"/>
                    <a:pt x="8773" y="3737"/>
                    <a:pt x="8773" y="3470"/>
                  </a:cubicBezTo>
                  <a:lnTo>
                    <a:pt x="8773" y="67"/>
                  </a:lnTo>
                  <a:cubicBezTo>
                    <a:pt x="8773" y="34"/>
                    <a:pt x="8773" y="34"/>
                    <a:pt x="8740" y="1"/>
                  </a:cubicBezTo>
                  <a:lnTo>
                    <a:pt x="5171" y="1535"/>
                  </a:lnTo>
                  <a:cubicBezTo>
                    <a:pt x="4937" y="1635"/>
                    <a:pt x="4637" y="1702"/>
                    <a:pt x="4370" y="1702"/>
                  </a:cubicBezTo>
                  <a:cubicBezTo>
                    <a:pt x="4103" y="1702"/>
                    <a:pt x="3836" y="1635"/>
                    <a:pt x="3603" y="1535"/>
                  </a:cubicBezTo>
                  <a:lnTo>
                    <a:pt x="0"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 name="Google Shape;925;p39">
              <a:extLst>
                <a:ext uri="{FF2B5EF4-FFF2-40B4-BE49-F238E27FC236}">
                  <a16:creationId xmlns:a16="http://schemas.microsoft.com/office/drawing/2014/main" id="{D291DF19-05DB-CF1E-A7E0-98EBDCB2640B}"/>
                </a:ext>
              </a:extLst>
            </p:cNvPr>
            <p:cNvSpPr/>
            <p:nvPr/>
          </p:nvSpPr>
          <p:spPr>
            <a:xfrm flipH="1">
              <a:off x="1922166" y="638163"/>
              <a:ext cx="400278" cy="358755"/>
            </a:xfrm>
            <a:custGeom>
              <a:avLst/>
              <a:gdLst/>
              <a:ahLst/>
              <a:cxnLst/>
              <a:rect l="l" t="t" r="r" b="b"/>
              <a:pathLst>
                <a:path w="13978" h="12528" extrusionOk="0">
                  <a:moveTo>
                    <a:pt x="6966" y="0"/>
                  </a:moveTo>
                  <a:cubicBezTo>
                    <a:pt x="4264" y="0"/>
                    <a:pt x="1788" y="1765"/>
                    <a:pt x="968" y="4470"/>
                  </a:cubicBezTo>
                  <a:cubicBezTo>
                    <a:pt x="1" y="7806"/>
                    <a:pt x="1902" y="11275"/>
                    <a:pt x="5204" y="12276"/>
                  </a:cubicBezTo>
                  <a:cubicBezTo>
                    <a:pt x="5787" y="12447"/>
                    <a:pt x="6377" y="12528"/>
                    <a:pt x="6957" y="12528"/>
                  </a:cubicBezTo>
                  <a:cubicBezTo>
                    <a:pt x="9665" y="12528"/>
                    <a:pt x="12180" y="10759"/>
                    <a:pt x="12977" y="8039"/>
                  </a:cubicBezTo>
                  <a:cubicBezTo>
                    <a:pt x="13977" y="4737"/>
                    <a:pt x="12076" y="1235"/>
                    <a:pt x="8774" y="267"/>
                  </a:cubicBezTo>
                  <a:cubicBezTo>
                    <a:pt x="8170" y="86"/>
                    <a:pt x="7562" y="0"/>
                    <a:pt x="6966"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 name="Google Shape;926;p39">
              <a:extLst>
                <a:ext uri="{FF2B5EF4-FFF2-40B4-BE49-F238E27FC236}">
                  <a16:creationId xmlns:a16="http://schemas.microsoft.com/office/drawing/2014/main" id="{5D60F2F4-1772-2CB4-2002-08D6423D0C17}"/>
                </a:ext>
              </a:extLst>
            </p:cNvPr>
            <p:cNvSpPr/>
            <p:nvPr/>
          </p:nvSpPr>
          <p:spPr>
            <a:xfrm flipH="1">
              <a:off x="2004323" y="735584"/>
              <a:ext cx="235018" cy="184389"/>
            </a:xfrm>
            <a:custGeom>
              <a:avLst/>
              <a:gdLst/>
              <a:ahLst/>
              <a:cxnLst/>
              <a:rect l="l" t="t" r="r" b="b"/>
              <a:pathLst>
                <a:path w="8207" h="6439" extrusionOk="0">
                  <a:moveTo>
                    <a:pt x="2669" y="1001"/>
                  </a:moveTo>
                  <a:cubicBezTo>
                    <a:pt x="2836" y="1001"/>
                    <a:pt x="3003" y="1135"/>
                    <a:pt x="3003" y="1335"/>
                  </a:cubicBezTo>
                  <a:cubicBezTo>
                    <a:pt x="3003" y="1502"/>
                    <a:pt x="2836" y="1635"/>
                    <a:pt x="2669" y="1635"/>
                  </a:cubicBezTo>
                  <a:lnTo>
                    <a:pt x="1302" y="1635"/>
                  </a:lnTo>
                  <a:cubicBezTo>
                    <a:pt x="1135" y="1635"/>
                    <a:pt x="968" y="1502"/>
                    <a:pt x="968" y="1335"/>
                  </a:cubicBezTo>
                  <a:lnTo>
                    <a:pt x="1001" y="1335"/>
                  </a:lnTo>
                  <a:cubicBezTo>
                    <a:pt x="1001" y="1135"/>
                    <a:pt x="1135" y="1001"/>
                    <a:pt x="1302" y="1001"/>
                  </a:cubicBezTo>
                  <a:close/>
                  <a:moveTo>
                    <a:pt x="6739" y="1001"/>
                  </a:moveTo>
                  <a:cubicBezTo>
                    <a:pt x="6906" y="1001"/>
                    <a:pt x="7039" y="1135"/>
                    <a:pt x="7039" y="1335"/>
                  </a:cubicBezTo>
                  <a:cubicBezTo>
                    <a:pt x="7039" y="1502"/>
                    <a:pt x="6906" y="1635"/>
                    <a:pt x="6705" y="1635"/>
                  </a:cubicBezTo>
                  <a:lnTo>
                    <a:pt x="3703" y="1635"/>
                  </a:lnTo>
                  <a:cubicBezTo>
                    <a:pt x="3537" y="1635"/>
                    <a:pt x="3403" y="1502"/>
                    <a:pt x="3403" y="1335"/>
                  </a:cubicBezTo>
                  <a:cubicBezTo>
                    <a:pt x="3403" y="1135"/>
                    <a:pt x="3537" y="1001"/>
                    <a:pt x="3703" y="1001"/>
                  </a:cubicBezTo>
                  <a:close/>
                  <a:moveTo>
                    <a:pt x="6705" y="2336"/>
                  </a:moveTo>
                  <a:cubicBezTo>
                    <a:pt x="6906" y="2336"/>
                    <a:pt x="7039" y="2469"/>
                    <a:pt x="7039" y="2636"/>
                  </a:cubicBezTo>
                  <a:cubicBezTo>
                    <a:pt x="7039" y="2803"/>
                    <a:pt x="6906" y="2970"/>
                    <a:pt x="6705" y="2970"/>
                  </a:cubicBezTo>
                  <a:lnTo>
                    <a:pt x="1602" y="2970"/>
                  </a:lnTo>
                  <a:cubicBezTo>
                    <a:pt x="1435" y="2970"/>
                    <a:pt x="1302" y="2803"/>
                    <a:pt x="1302" y="2636"/>
                  </a:cubicBezTo>
                  <a:cubicBezTo>
                    <a:pt x="1302" y="2469"/>
                    <a:pt x="1435" y="2336"/>
                    <a:pt x="1602" y="2336"/>
                  </a:cubicBezTo>
                  <a:close/>
                  <a:moveTo>
                    <a:pt x="6739" y="3670"/>
                  </a:moveTo>
                  <a:cubicBezTo>
                    <a:pt x="7139" y="3670"/>
                    <a:pt x="7139" y="4304"/>
                    <a:pt x="6739" y="4304"/>
                  </a:cubicBezTo>
                  <a:lnTo>
                    <a:pt x="4370" y="4304"/>
                  </a:lnTo>
                  <a:cubicBezTo>
                    <a:pt x="3937" y="4304"/>
                    <a:pt x="3937" y="3670"/>
                    <a:pt x="4370" y="3670"/>
                  </a:cubicBezTo>
                  <a:close/>
                  <a:moveTo>
                    <a:pt x="1101" y="1"/>
                  </a:moveTo>
                  <a:cubicBezTo>
                    <a:pt x="501" y="34"/>
                    <a:pt x="1" y="534"/>
                    <a:pt x="1" y="1135"/>
                  </a:cubicBezTo>
                  <a:lnTo>
                    <a:pt x="1" y="4204"/>
                  </a:lnTo>
                  <a:cubicBezTo>
                    <a:pt x="1" y="4838"/>
                    <a:pt x="501" y="5338"/>
                    <a:pt x="1135" y="5371"/>
                  </a:cubicBezTo>
                  <a:lnTo>
                    <a:pt x="5505" y="5371"/>
                  </a:lnTo>
                  <a:lnTo>
                    <a:pt x="5438" y="6439"/>
                  </a:lnTo>
                  <a:lnTo>
                    <a:pt x="6572" y="5371"/>
                  </a:lnTo>
                  <a:lnTo>
                    <a:pt x="7072" y="5371"/>
                  </a:lnTo>
                  <a:cubicBezTo>
                    <a:pt x="7706" y="5338"/>
                    <a:pt x="8207" y="4838"/>
                    <a:pt x="8207" y="4204"/>
                  </a:cubicBezTo>
                  <a:lnTo>
                    <a:pt x="8207" y="1135"/>
                  </a:lnTo>
                  <a:cubicBezTo>
                    <a:pt x="8207" y="501"/>
                    <a:pt x="7706" y="1"/>
                    <a:pt x="7072"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 name="Google Shape;927;p39">
              <a:extLst>
                <a:ext uri="{FF2B5EF4-FFF2-40B4-BE49-F238E27FC236}">
                  <a16:creationId xmlns:a16="http://schemas.microsoft.com/office/drawing/2014/main" id="{4874BC77-B250-EA53-F0C6-F1E87B0069DB}"/>
                </a:ext>
              </a:extLst>
            </p:cNvPr>
            <p:cNvSpPr/>
            <p:nvPr/>
          </p:nvSpPr>
          <p:spPr>
            <a:xfrm flipH="1">
              <a:off x="2477165" y="905082"/>
              <a:ext cx="409814" cy="358812"/>
            </a:xfrm>
            <a:custGeom>
              <a:avLst/>
              <a:gdLst/>
              <a:ahLst/>
              <a:cxnLst/>
              <a:rect l="l" t="t" r="r" b="b"/>
              <a:pathLst>
                <a:path w="14311" h="12530" extrusionOk="0">
                  <a:moveTo>
                    <a:pt x="7160" y="1"/>
                  </a:moveTo>
                  <a:cubicBezTo>
                    <a:pt x="4959" y="1"/>
                    <a:pt x="2827" y="1155"/>
                    <a:pt x="1668" y="3222"/>
                  </a:cubicBezTo>
                  <a:cubicBezTo>
                    <a:pt x="1" y="6224"/>
                    <a:pt x="1068" y="10060"/>
                    <a:pt x="4103" y="11728"/>
                  </a:cubicBezTo>
                  <a:cubicBezTo>
                    <a:pt x="5064" y="12272"/>
                    <a:pt x="6110" y="12530"/>
                    <a:pt x="7144" y="12530"/>
                  </a:cubicBezTo>
                  <a:cubicBezTo>
                    <a:pt x="9339" y="12530"/>
                    <a:pt x="11475" y="11367"/>
                    <a:pt x="12610" y="9326"/>
                  </a:cubicBezTo>
                  <a:cubicBezTo>
                    <a:pt x="14311" y="6291"/>
                    <a:pt x="13210" y="2488"/>
                    <a:pt x="10208" y="787"/>
                  </a:cubicBezTo>
                  <a:cubicBezTo>
                    <a:pt x="9239" y="254"/>
                    <a:pt x="8192" y="1"/>
                    <a:pt x="7160" y="1"/>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 name="Google Shape;928;p39">
              <a:extLst>
                <a:ext uri="{FF2B5EF4-FFF2-40B4-BE49-F238E27FC236}">
                  <a16:creationId xmlns:a16="http://schemas.microsoft.com/office/drawing/2014/main" id="{4D49C0DF-90DD-E7D3-CE33-57DA8F7DFFFD}"/>
                </a:ext>
              </a:extLst>
            </p:cNvPr>
            <p:cNvSpPr/>
            <p:nvPr/>
          </p:nvSpPr>
          <p:spPr>
            <a:xfrm flipH="1">
              <a:off x="2576505" y="1008774"/>
              <a:ext cx="212080" cy="151915"/>
            </a:xfrm>
            <a:custGeom>
              <a:avLst/>
              <a:gdLst/>
              <a:ahLst/>
              <a:cxnLst/>
              <a:rect l="l" t="t" r="r" b="b"/>
              <a:pathLst>
                <a:path w="7406" h="5305" extrusionOk="0">
                  <a:moveTo>
                    <a:pt x="2836" y="1269"/>
                  </a:moveTo>
                  <a:lnTo>
                    <a:pt x="5271" y="2636"/>
                  </a:lnTo>
                  <a:lnTo>
                    <a:pt x="2836" y="4071"/>
                  </a:lnTo>
                  <a:lnTo>
                    <a:pt x="2836" y="1269"/>
                  </a:lnTo>
                  <a:close/>
                  <a:moveTo>
                    <a:pt x="1001" y="1"/>
                  </a:moveTo>
                  <a:cubicBezTo>
                    <a:pt x="467" y="1"/>
                    <a:pt x="0" y="435"/>
                    <a:pt x="0" y="968"/>
                  </a:cubicBezTo>
                  <a:lnTo>
                    <a:pt x="0" y="4304"/>
                  </a:lnTo>
                  <a:cubicBezTo>
                    <a:pt x="0" y="4871"/>
                    <a:pt x="467" y="5305"/>
                    <a:pt x="1001" y="5305"/>
                  </a:cubicBezTo>
                  <a:lnTo>
                    <a:pt x="6438" y="5305"/>
                  </a:lnTo>
                  <a:cubicBezTo>
                    <a:pt x="6972" y="5305"/>
                    <a:pt x="7406" y="4871"/>
                    <a:pt x="7406" y="4337"/>
                  </a:cubicBezTo>
                  <a:lnTo>
                    <a:pt x="7406" y="1002"/>
                  </a:lnTo>
                  <a:cubicBezTo>
                    <a:pt x="7406" y="435"/>
                    <a:pt x="6972" y="1"/>
                    <a:pt x="6405"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 name="Google Shape;929;p39">
              <a:extLst>
                <a:ext uri="{FF2B5EF4-FFF2-40B4-BE49-F238E27FC236}">
                  <a16:creationId xmlns:a16="http://schemas.microsoft.com/office/drawing/2014/main" id="{353D2653-4612-3F7E-749C-C43F0E953B90}"/>
                </a:ext>
              </a:extLst>
            </p:cNvPr>
            <p:cNvSpPr/>
            <p:nvPr/>
          </p:nvSpPr>
          <p:spPr>
            <a:xfrm flipH="1">
              <a:off x="1284092" y="756746"/>
              <a:ext cx="408869" cy="358412"/>
            </a:xfrm>
            <a:custGeom>
              <a:avLst/>
              <a:gdLst/>
              <a:ahLst/>
              <a:cxnLst/>
              <a:rect l="l" t="t" r="r" b="b"/>
              <a:pathLst>
                <a:path w="14278" h="12516" extrusionOk="0">
                  <a:moveTo>
                    <a:pt x="7139" y="0"/>
                  </a:moveTo>
                  <a:cubicBezTo>
                    <a:pt x="6244" y="0"/>
                    <a:pt x="5335" y="192"/>
                    <a:pt x="4471" y="596"/>
                  </a:cubicBezTo>
                  <a:cubicBezTo>
                    <a:pt x="1335" y="2064"/>
                    <a:pt x="1" y="5800"/>
                    <a:pt x="1469" y="8935"/>
                  </a:cubicBezTo>
                  <a:cubicBezTo>
                    <a:pt x="2530" y="11179"/>
                    <a:pt x="4778" y="12515"/>
                    <a:pt x="7127" y="12515"/>
                  </a:cubicBezTo>
                  <a:cubicBezTo>
                    <a:pt x="8026" y="12515"/>
                    <a:pt x="8940" y="12320"/>
                    <a:pt x="9808" y="11904"/>
                  </a:cubicBezTo>
                  <a:cubicBezTo>
                    <a:pt x="12944" y="10436"/>
                    <a:pt x="14278" y="6700"/>
                    <a:pt x="12810" y="3598"/>
                  </a:cubicBezTo>
                  <a:cubicBezTo>
                    <a:pt x="11747" y="1326"/>
                    <a:pt x="9492" y="0"/>
                    <a:pt x="7139"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 name="Google Shape;930;p39">
              <a:extLst>
                <a:ext uri="{FF2B5EF4-FFF2-40B4-BE49-F238E27FC236}">
                  <a16:creationId xmlns:a16="http://schemas.microsoft.com/office/drawing/2014/main" id="{A083F1DE-CE3A-C116-9B6A-C2B02762A54A}"/>
                </a:ext>
              </a:extLst>
            </p:cNvPr>
            <p:cNvSpPr/>
            <p:nvPr/>
          </p:nvSpPr>
          <p:spPr>
            <a:xfrm flipH="1">
              <a:off x="1366221" y="836698"/>
              <a:ext cx="218781" cy="195987"/>
            </a:xfrm>
            <a:custGeom>
              <a:avLst/>
              <a:gdLst/>
              <a:ahLst/>
              <a:cxnLst/>
              <a:rect l="l" t="t" r="r" b="b"/>
              <a:pathLst>
                <a:path w="7640" h="6844" extrusionOk="0">
                  <a:moveTo>
                    <a:pt x="4370" y="506"/>
                  </a:moveTo>
                  <a:cubicBezTo>
                    <a:pt x="6138" y="506"/>
                    <a:pt x="7005" y="2641"/>
                    <a:pt x="5771" y="3875"/>
                  </a:cubicBezTo>
                  <a:cubicBezTo>
                    <a:pt x="5371" y="4275"/>
                    <a:pt x="4862" y="4475"/>
                    <a:pt x="4358" y="4475"/>
                  </a:cubicBezTo>
                  <a:cubicBezTo>
                    <a:pt x="3853" y="4475"/>
                    <a:pt x="3353" y="4275"/>
                    <a:pt x="2969" y="3875"/>
                  </a:cubicBezTo>
                  <a:cubicBezTo>
                    <a:pt x="1702" y="2641"/>
                    <a:pt x="2569" y="506"/>
                    <a:pt x="4370" y="506"/>
                  </a:cubicBezTo>
                  <a:close/>
                  <a:moveTo>
                    <a:pt x="4338" y="0"/>
                  </a:moveTo>
                  <a:cubicBezTo>
                    <a:pt x="2303" y="0"/>
                    <a:pt x="1103" y="2385"/>
                    <a:pt x="2402" y="4042"/>
                  </a:cubicBezTo>
                  <a:cubicBezTo>
                    <a:pt x="2202" y="4175"/>
                    <a:pt x="2068" y="4309"/>
                    <a:pt x="1902" y="4475"/>
                  </a:cubicBezTo>
                  <a:cubicBezTo>
                    <a:pt x="1668" y="4676"/>
                    <a:pt x="1435" y="4876"/>
                    <a:pt x="1201" y="5076"/>
                  </a:cubicBezTo>
                  <a:cubicBezTo>
                    <a:pt x="968" y="5276"/>
                    <a:pt x="734" y="5476"/>
                    <a:pt x="534" y="5710"/>
                  </a:cubicBezTo>
                  <a:lnTo>
                    <a:pt x="200" y="6043"/>
                  </a:lnTo>
                  <a:cubicBezTo>
                    <a:pt x="134" y="6077"/>
                    <a:pt x="100" y="6143"/>
                    <a:pt x="67" y="6210"/>
                  </a:cubicBezTo>
                  <a:cubicBezTo>
                    <a:pt x="34" y="6243"/>
                    <a:pt x="34" y="6310"/>
                    <a:pt x="0" y="6344"/>
                  </a:cubicBezTo>
                  <a:cubicBezTo>
                    <a:pt x="0" y="6377"/>
                    <a:pt x="0" y="6444"/>
                    <a:pt x="0" y="6477"/>
                  </a:cubicBezTo>
                  <a:cubicBezTo>
                    <a:pt x="34" y="6677"/>
                    <a:pt x="167" y="6844"/>
                    <a:pt x="367" y="6844"/>
                  </a:cubicBezTo>
                  <a:lnTo>
                    <a:pt x="534" y="6844"/>
                  </a:lnTo>
                  <a:lnTo>
                    <a:pt x="634" y="6811"/>
                  </a:lnTo>
                  <a:cubicBezTo>
                    <a:pt x="701" y="6777"/>
                    <a:pt x="768" y="6710"/>
                    <a:pt x="834" y="6677"/>
                  </a:cubicBezTo>
                  <a:cubicBezTo>
                    <a:pt x="934" y="6544"/>
                    <a:pt x="1034" y="6444"/>
                    <a:pt x="1168" y="6344"/>
                  </a:cubicBezTo>
                  <a:cubicBezTo>
                    <a:pt x="1368" y="6110"/>
                    <a:pt x="1568" y="5876"/>
                    <a:pt x="1802" y="5676"/>
                  </a:cubicBezTo>
                  <a:cubicBezTo>
                    <a:pt x="2002" y="5443"/>
                    <a:pt x="2202" y="5209"/>
                    <a:pt x="2402" y="4976"/>
                  </a:cubicBezTo>
                  <a:cubicBezTo>
                    <a:pt x="2535" y="4809"/>
                    <a:pt x="2669" y="4642"/>
                    <a:pt x="2802" y="4475"/>
                  </a:cubicBezTo>
                  <a:cubicBezTo>
                    <a:pt x="3259" y="4841"/>
                    <a:pt x="3805" y="5018"/>
                    <a:pt x="4350" y="5018"/>
                  </a:cubicBezTo>
                  <a:cubicBezTo>
                    <a:pt x="5000" y="5018"/>
                    <a:pt x="5648" y="4765"/>
                    <a:pt x="6138" y="4275"/>
                  </a:cubicBezTo>
                  <a:cubicBezTo>
                    <a:pt x="7639" y="2741"/>
                    <a:pt x="6638" y="139"/>
                    <a:pt x="4504" y="6"/>
                  </a:cubicBezTo>
                  <a:cubicBezTo>
                    <a:pt x="4448" y="2"/>
                    <a:pt x="4393" y="0"/>
                    <a:pt x="4338"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 name="Google Shape;931;p39">
              <a:extLst>
                <a:ext uri="{FF2B5EF4-FFF2-40B4-BE49-F238E27FC236}">
                  <a16:creationId xmlns:a16="http://schemas.microsoft.com/office/drawing/2014/main" id="{F38A19D5-BFBC-A46B-A226-77C3925183FE}"/>
                </a:ext>
              </a:extLst>
            </p:cNvPr>
            <p:cNvSpPr/>
            <p:nvPr/>
          </p:nvSpPr>
          <p:spPr>
            <a:xfrm flipH="1">
              <a:off x="859961" y="1208741"/>
              <a:ext cx="407924" cy="358297"/>
            </a:xfrm>
            <a:custGeom>
              <a:avLst/>
              <a:gdLst/>
              <a:ahLst/>
              <a:cxnLst/>
              <a:rect l="l" t="t" r="r" b="b"/>
              <a:pathLst>
                <a:path w="14245" h="12512" extrusionOk="0">
                  <a:moveTo>
                    <a:pt x="7132" y="1"/>
                  </a:moveTo>
                  <a:cubicBezTo>
                    <a:pt x="5912" y="1"/>
                    <a:pt x="4681" y="355"/>
                    <a:pt x="3603" y="1090"/>
                  </a:cubicBezTo>
                  <a:cubicBezTo>
                    <a:pt x="735" y="3058"/>
                    <a:pt x="1" y="6928"/>
                    <a:pt x="1969" y="9797"/>
                  </a:cubicBezTo>
                  <a:cubicBezTo>
                    <a:pt x="3194" y="11561"/>
                    <a:pt x="5155" y="12512"/>
                    <a:pt x="7153" y="12512"/>
                  </a:cubicBezTo>
                  <a:cubicBezTo>
                    <a:pt x="8366" y="12512"/>
                    <a:pt x="9592" y="12162"/>
                    <a:pt x="10675" y="11431"/>
                  </a:cubicBezTo>
                  <a:cubicBezTo>
                    <a:pt x="13511" y="9463"/>
                    <a:pt x="14244" y="5560"/>
                    <a:pt x="12310" y="2725"/>
                  </a:cubicBezTo>
                  <a:cubicBezTo>
                    <a:pt x="11089" y="946"/>
                    <a:pt x="9125" y="1"/>
                    <a:pt x="7132" y="1"/>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 name="Google Shape;932;p39">
              <a:extLst>
                <a:ext uri="{FF2B5EF4-FFF2-40B4-BE49-F238E27FC236}">
                  <a16:creationId xmlns:a16="http://schemas.microsoft.com/office/drawing/2014/main" id="{4963276F-58F4-CBFB-FA15-DFC71C0E6281}"/>
                </a:ext>
              </a:extLst>
            </p:cNvPr>
            <p:cNvSpPr/>
            <p:nvPr/>
          </p:nvSpPr>
          <p:spPr>
            <a:xfrm flipH="1">
              <a:off x="948790" y="1272428"/>
              <a:ext cx="229291" cy="230236"/>
            </a:xfrm>
            <a:custGeom>
              <a:avLst/>
              <a:gdLst/>
              <a:ahLst/>
              <a:cxnLst/>
              <a:rect l="l" t="t" r="r" b="b"/>
              <a:pathLst>
                <a:path w="8007" h="8040" extrusionOk="0">
                  <a:moveTo>
                    <a:pt x="2244" y="1184"/>
                  </a:moveTo>
                  <a:lnTo>
                    <a:pt x="2244" y="1184"/>
                  </a:lnTo>
                  <a:cubicBezTo>
                    <a:pt x="2148" y="1372"/>
                    <a:pt x="2030" y="1587"/>
                    <a:pt x="1969" y="1802"/>
                  </a:cubicBezTo>
                  <a:lnTo>
                    <a:pt x="1502" y="1802"/>
                  </a:lnTo>
                  <a:cubicBezTo>
                    <a:pt x="1728" y="1543"/>
                    <a:pt x="1985" y="1347"/>
                    <a:pt x="2244" y="1184"/>
                  </a:cubicBezTo>
                  <a:close/>
                  <a:moveTo>
                    <a:pt x="3670" y="734"/>
                  </a:moveTo>
                  <a:lnTo>
                    <a:pt x="3670" y="1802"/>
                  </a:lnTo>
                  <a:lnTo>
                    <a:pt x="2669" y="1802"/>
                  </a:lnTo>
                  <a:cubicBezTo>
                    <a:pt x="2869" y="1335"/>
                    <a:pt x="3203" y="935"/>
                    <a:pt x="3670" y="734"/>
                  </a:cubicBezTo>
                  <a:close/>
                  <a:moveTo>
                    <a:pt x="4337" y="734"/>
                  </a:moveTo>
                  <a:cubicBezTo>
                    <a:pt x="4404" y="768"/>
                    <a:pt x="4504" y="801"/>
                    <a:pt x="4604" y="868"/>
                  </a:cubicBezTo>
                  <a:cubicBezTo>
                    <a:pt x="4904" y="1101"/>
                    <a:pt x="5171" y="1435"/>
                    <a:pt x="5338" y="1802"/>
                  </a:cubicBezTo>
                  <a:lnTo>
                    <a:pt x="4337" y="1802"/>
                  </a:lnTo>
                  <a:lnTo>
                    <a:pt x="4337" y="734"/>
                  </a:lnTo>
                  <a:close/>
                  <a:moveTo>
                    <a:pt x="5705" y="1135"/>
                  </a:moveTo>
                  <a:lnTo>
                    <a:pt x="5705" y="1135"/>
                  </a:lnTo>
                  <a:cubicBezTo>
                    <a:pt x="5805" y="1201"/>
                    <a:pt x="5871" y="1235"/>
                    <a:pt x="5971" y="1301"/>
                  </a:cubicBezTo>
                  <a:cubicBezTo>
                    <a:pt x="6172" y="1435"/>
                    <a:pt x="6338" y="1602"/>
                    <a:pt x="6505" y="1802"/>
                  </a:cubicBezTo>
                  <a:lnTo>
                    <a:pt x="6038" y="1802"/>
                  </a:lnTo>
                  <a:cubicBezTo>
                    <a:pt x="5938" y="1568"/>
                    <a:pt x="5838" y="1335"/>
                    <a:pt x="5705" y="1135"/>
                  </a:cubicBezTo>
                  <a:close/>
                  <a:moveTo>
                    <a:pt x="1735" y="2436"/>
                  </a:moveTo>
                  <a:cubicBezTo>
                    <a:pt x="1635" y="2836"/>
                    <a:pt x="1568" y="3270"/>
                    <a:pt x="1568" y="3703"/>
                  </a:cubicBezTo>
                  <a:lnTo>
                    <a:pt x="668" y="3703"/>
                  </a:lnTo>
                  <a:cubicBezTo>
                    <a:pt x="701" y="3270"/>
                    <a:pt x="834" y="2836"/>
                    <a:pt x="1035" y="2469"/>
                  </a:cubicBezTo>
                  <a:lnTo>
                    <a:pt x="1035" y="2436"/>
                  </a:lnTo>
                  <a:close/>
                  <a:moveTo>
                    <a:pt x="3670" y="2436"/>
                  </a:moveTo>
                  <a:lnTo>
                    <a:pt x="3670" y="3703"/>
                  </a:lnTo>
                  <a:lnTo>
                    <a:pt x="2202" y="3703"/>
                  </a:lnTo>
                  <a:cubicBezTo>
                    <a:pt x="2235" y="3270"/>
                    <a:pt x="2302" y="2836"/>
                    <a:pt x="2436" y="2436"/>
                  </a:cubicBezTo>
                  <a:close/>
                  <a:moveTo>
                    <a:pt x="5571" y="2436"/>
                  </a:moveTo>
                  <a:cubicBezTo>
                    <a:pt x="5671" y="2769"/>
                    <a:pt x="5738" y="3136"/>
                    <a:pt x="5771" y="3470"/>
                  </a:cubicBezTo>
                  <a:lnTo>
                    <a:pt x="5771" y="3703"/>
                  </a:lnTo>
                  <a:lnTo>
                    <a:pt x="4304" y="3703"/>
                  </a:lnTo>
                  <a:lnTo>
                    <a:pt x="4304" y="2436"/>
                  </a:lnTo>
                  <a:close/>
                  <a:moveTo>
                    <a:pt x="6972" y="2436"/>
                  </a:moveTo>
                  <a:cubicBezTo>
                    <a:pt x="7139" y="2769"/>
                    <a:pt x="7272" y="3136"/>
                    <a:pt x="7339" y="3503"/>
                  </a:cubicBezTo>
                  <a:cubicBezTo>
                    <a:pt x="7339" y="3570"/>
                    <a:pt x="7339" y="3636"/>
                    <a:pt x="7372" y="3703"/>
                  </a:cubicBezTo>
                  <a:lnTo>
                    <a:pt x="6438" y="3703"/>
                  </a:lnTo>
                  <a:lnTo>
                    <a:pt x="6438" y="3403"/>
                  </a:lnTo>
                  <a:cubicBezTo>
                    <a:pt x="6405" y="3069"/>
                    <a:pt x="6338" y="2769"/>
                    <a:pt x="6272" y="2436"/>
                  </a:cubicBezTo>
                  <a:close/>
                  <a:moveTo>
                    <a:pt x="1568" y="4337"/>
                  </a:moveTo>
                  <a:lnTo>
                    <a:pt x="1568" y="4637"/>
                  </a:lnTo>
                  <a:cubicBezTo>
                    <a:pt x="1602" y="4971"/>
                    <a:pt x="1635" y="5304"/>
                    <a:pt x="1735" y="5605"/>
                  </a:cubicBezTo>
                  <a:lnTo>
                    <a:pt x="1035" y="5605"/>
                  </a:lnTo>
                  <a:cubicBezTo>
                    <a:pt x="868" y="5304"/>
                    <a:pt x="734" y="4937"/>
                    <a:pt x="701" y="4570"/>
                  </a:cubicBezTo>
                  <a:lnTo>
                    <a:pt x="668" y="4570"/>
                  </a:lnTo>
                  <a:cubicBezTo>
                    <a:pt x="668" y="4504"/>
                    <a:pt x="668" y="4437"/>
                    <a:pt x="668" y="4337"/>
                  </a:cubicBezTo>
                  <a:close/>
                  <a:moveTo>
                    <a:pt x="3703" y="4370"/>
                  </a:moveTo>
                  <a:lnTo>
                    <a:pt x="3703" y="5605"/>
                  </a:lnTo>
                  <a:lnTo>
                    <a:pt x="2436" y="5605"/>
                  </a:lnTo>
                  <a:cubicBezTo>
                    <a:pt x="2335" y="5271"/>
                    <a:pt x="2269" y="4937"/>
                    <a:pt x="2235" y="4604"/>
                  </a:cubicBezTo>
                  <a:lnTo>
                    <a:pt x="2235" y="4370"/>
                  </a:lnTo>
                  <a:close/>
                  <a:moveTo>
                    <a:pt x="5771" y="4370"/>
                  </a:moveTo>
                  <a:cubicBezTo>
                    <a:pt x="5771" y="4771"/>
                    <a:pt x="5705" y="5204"/>
                    <a:pt x="5571" y="5605"/>
                  </a:cubicBezTo>
                  <a:lnTo>
                    <a:pt x="4337" y="5605"/>
                  </a:lnTo>
                  <a:lnTo>
                    <a:pt x="4337" y="4370"/>
                  </a:lnTo>
                  <a:close/>
                  <a:moveTo>
                    <a:pt x="7339" y="4370"/>
                  </a:moveTo>
                  <a:cubicBezTo>
                    <a:pt x="7306" y="4804"/>
                    <a:pt x="7172" y="5238"/>
                    <a:pt x="6972" y="5638"/>
                  </a:cubicBezTo>
                  <a:lnTo>
                    <a:pt x="6972" y="5605"/>
                  </a:lnTo>
                  <a:lnTo>
                    <a:pt x="6272" y="5605"/>
                  </a:lnTo>
                  <a:cubicBezTo>
                    <a:pt x="6372" y="5204"/>
                    <a:pt x="6438" y="4771"/>
                    <a:pt x="6438" y="4370"/>
                  </a:cubicBezTo>
                  <a:close/>
                  <a:moveTo>
                    <a:pt x="1969" y="6272"/>
                  </a:moveTo>
                  <a:cubicBezTo>
                    <a:pt x="2069" y="6472"/>
                    <a:pt x="2169" y="6705"/>
                    <a:pt x="2302" y="6905"/>
                  </a:cubicBezTo>
                  <a:cubicBezTo>
                    <a:pt x="2002" y="6739"/>
                    <a:pt x="1735" y="6539"/>
                    <a:pt x="1502" y="6272"/>
                  </a:cubicBezTo>
                  <a:close/>
                  <a:moveTo>
                    <a:pt x="6505" y="6272"/>
                  </a:moveTo>
                  <a:cubicBezTo>
                    <a:pt x="6272" y="6539"/>
                    <a:pt x="6005" y="6772"/>
                    <a:pt x="5705" y="6939"/>
                  </a:cubicBezTo>
                  <a:cubicBezTo>
                    <a:pt x="5838" y="6739"/>
                    <a:pt x="5938" y="6505"/>
                    <a:pt x="6038" y="6272"/>
                  </a:cubicBezTo>
                  <a:close/>
                  <a:moveTo>
                    <a:pt x="3670" y="6272"/>
                  </a:moveTo>
                  <a:lnTo>
                    <a:pt x="3670" y="7372"/>
                  </a:lnTo>
                  <a:cubicBezTo>
                    <a:pt x="3570" y="7306"/>
                    <a:pt x="3503" y="7272"/>
                    <a:pt x="3403" y="7206"/>
                  </a:cubicBezTo>
                  <a:cubicBezTo>
                    <a:pt x="3069" y="6972"/>
                    <a:pt x="2836" y="6672"/>
                    <a:pt x="2669" y="6305"/>
                  </a:cubicBezTo>
                  <a:lnTo>
                    <a:pt x="3670" y="6272"/>
                  </a:lnTo>
                  <a:close/>
                  <a:moveTo>
                    <a:pt x="5338" y="6272"/>
                  </a:moveTo>
                  <a:cubicBezTo>
                    <a:pt x="5137" y="6739"/>
                    <a:pt x="4771" y="7139"/>
                    <a:pt x="4337" y="7372"/>
                  </a:cubicBezTo>
                  <a:lnTo>
                    <a:pt x="4337" y="7306"/>
                  </a:lnTo>
                  <a:lnTo>
                    <a:pt x="4337" y="6272"/>
                  </a:lnTo>
                  <a:close/>
                  <a:moveTo>
                    <a:pt x="3903" y="1"/>
                  </a:moveTo>
                  <a:cubicBezTo>
                    <a:pt x="3703" y="1"/>
                    <a:pt x="3536" y="34"/>
                    <a:pt x="3370" y="67"/>
                  </a:cubicBezTo>
                  <a:cubicBezTo>
                    <a:pt x="1435" y="367"/>
                    <a:pt x="0" y="2069"/>
                    <a:pt x="0" y="4037"/>
                  </a:cubicBezTo>
                  <a:lnTo>
                    <a:pt x="0" y="4070"/>
                  </a:lnTo>
                  <a:cubicBezTo>
                    <a:pt x="0" y="4270"/>
                    <a:pt x="0" y="4470"/>
                    <a:pt x="34" y="4671"/>
                  </a:cubicBezTo>
                  <a:cubicBezTo>
                    <a:pt x="367" y="6605"/>
                    <a:pt x="2035" y="8040"/>
                    <a:pt x="4003" y="8040"/>
                  </a:cubicBezTo>
                  <a:cubicBezTo>
                    <a:pt x="4203" y="8040"/>
                    <a:pt x="4404" y="8040"/>
                    <a:pt x="4637" y="8006"/>
                  </a:cubicBezTo>
                  <a:cubicBezTo>
                    <a:pt x="6538" y="7673"/>
                    <a:pt x="7973" y="6038"/>
                    <a:pt x="7973" y="4070"/>
                  </a:cubicBezTo>
                  <a:cubicBezTo>
                    <a:pt x="7973" y="4070"/>
                    <a:pt x="8006" y="4037"/>
                    <a:pt x="8006" y="4037"/>
                  </a:cubicBezTo>
                  <a:lnTo>
                    <a:pt x="8006" y="4003"/>
                  </a:lnTo>
                  <a:cubicBezTo>
                    <a:pt x="8006" y="3803"/>
                    <a:pt x="8006" y="3570"/>
                    <a:pt x="7973" y="3370"/>
                  </a:cubicBezTo>
                  <a:cubicBezTo>
                    <a:pt x="7639" y="1468"/>
                    <a:pt x="6038" y="67"/>
                    <a:pt x="4103"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 name="Google Shape;933;p39">
              <a:extLst>
                <a:ext uri="{FF2B5EF4-FFF2-40B4-BE49-F238E27FC236}">
                  <a16:creationId xmlns:a16="http://schemas.microsoft.com/office/drawing/2014/main" id="{2CF3C288-F84D-B752-C2DC-88E87D37D115}"/>
                </a:ext>
              </a:extLst>
            </p:cNvPr>
            <p:cNvSpPr/>
            <p:nvPr/>
          </p:nvSpPr>
          <p:spPr>
            <a:xfrm flipH="1">
              <a:off x="777803" y="1837278"/>
              <a:ext cx="406979" cy="358297"/>
            </a:xfrm>
            <a:custGeom>
              <a:avLst/>
              <a:gdLst/>
              <a:ahLst/>
              <a:cxnLst/>
              <a:rect l="l" t="t" r="r" b="b"/>
              <a:pathLst>
                <a:path w="14212" h="12512" extrusionOk="0">
                  <a:moveTo>
                    <a:pt x="7114" y="1"/>
                  </a:moveTo>
                  <a:cubicBezTo>
                    <a:pt x="5894" y="1"/>
                    <a:pt x="4660" y="355"/>
                    <a:pt x="3570" y="1090"/>
                  </a:cubicBezTo>
                  <a:cubicBezTo>
                    <a:pt x="735" y="3058"/>
                    <a:pt x="1" y="6928"/>
                    <a:pt x="1936" y="9797"/>
                  </a:cubicBezTo>
                  <a:cubicBezTo>
                    <a:pt x="3161" y="11561"/>
                    <a:pt x="5135" y="12512"/>
                    <a:pt x="7135" y="12512"/>
                  </a:cubicBezTo>
                  <a:cubicBezTo>
                    <a:pt x="8348" y="12512"/>
                    <a:pt x="9571" y="12162"/>
                    <a:pt x="10642" y="11431"/>
                  </a:cubicBezTo>
                  <a:cubicBezTo>
                    <a:pt x="13511" y="9463"/>
                    <a:pt x="14211" y="5560"/>
                    <a:pt x="12276" y="2725"/>
                  </a:cubicBezTo>
                  <a:cubicBezTo>
                    <a:pt x="11056" y="946"/>
                    <a:pt x="9104" y="1"/>
                    <a:pt x="7114" y="1"/>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 name="Google Shape;934;p39">
              <a:extLst>
                <a:ext uri="{FF2B5EF4-FFF2-40B4-BE49-F238E27FC236}">
                  <a16:creationId xmlns:a16="http://schemas.microsoft.com/office/drawing/2014/main" id="{94A79348-FE5D-710E-E4FD-3A7B390059DB}"/>
                </a:ext>
              </a:extLst>
            </p:cNvPr>
            <p:cNvSpPr/>
            <p:nvPr/>
          </p:nvSpPr>
          <p:spPr>
            <a:xfrm flipH="1">
              <a:off x="883843" y="1908611"/>
              <a:ext cx="225453" cy="215917"/>
            </a:xfrm>
            <a:custGeom>
              <a:avLst/>
              <a:gdLst/>
              <a:ahLst/>
              <a:cxnLst/>
              <a:rect l="l" t="t" r="r" b="b"/>
              <a:pathLst>
                <a:path w="7873" h="7540" extrusionOk="0">
                  <a:moveTo>
                    <a:pt x="4459" y="1934"/>
                  </a:moveTo>
                  <a:cubicBezTo>
                    <a:pt x="5176" y="1934"/>
                    <a:pt x="5871" y="2496"/>
                    <a:pt x="5871" y="3336"/>
                  </a:cubicBezTo>
                  <a:cubicBezTo>
                    <a:pt x="5871" y="4103"/>
                    <a:pt x="5237" y="4737"/>
                    <a:pt x="4470" y="4737"/>
                  </a:cubicBezTo>
                  <a:lnTo>
                    <a:pt x="4470" y="4704"/>
                  </a:lnTo>
                  <a:cubicBezTo>
                    <a:pt x="3236" y="4704"/>
                    <a:pt x="2635" y="3236"/>
                    <a:pt x="3503" y="2335"/>
                  </a:cubicBezTo>
                  <a:cubicBezTo>
                    <a:pt x="3780" y="2058"/>
                    <a:pt x="4122" y="1934"/>
                    <a:pt x="4459" y="1934"/>
                  </a:cubicBezTo>
                  <a:close/>
                  <a:moveTo>
                    <a:pt x="4470" y="0"/>
                  </a:moveTo>
                  <a:cubicBezTo>
                    <a:pt x="634" y="134"/>
                    <a:pt x="0" y="5571"/>
                    <a:pt x="3703" y="6572"/>
                  </a:cubicBezTo>
                  <a:lnTo>
                    <a:pt x="4470" y="7539"/>
                  </a:lnTo>
                  <a:lnTo>
                    <a:pt x="5237" y="6572"/>
                  </a:lnTo>
                  <a:cubicBezTo>
                    <a:pt x="6838" y="6138"/>
                    <a:pt x="7872" y="4604"/>
                    <a:pt x="7706" y="2969"/>
                  </a:cubicBezTo>
                  <a:cubicBezTo>
                    <a:pt x="7506" y="1301"/>
                    <a:pt x="6138" y="67"/>
                    <a:pt x="4470"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 name="Google Shape;935;p39">
              <a:extLst>
                <a:ext uri="{FF2B5EF4-FFF2-40B4-BE49-F238E27FC236}">
                  <a16:creationId xmlns:a16="http://schemas.microsoft.com/office/drawing/2014/main" id="{CCC9E327-EC93-C86D-358A-64FAE1621581}"/>
                </a:ext>
              </a:extLst>
            </p:cNvPr>
            <p:cNvSpPr/>
            <p:nvPr/>
          </p:nvSpPr>
          <p:spPr>
            <a:xfrm flipH="1">
              <a:off x="2048251" y="4692142"/>
              <a:ext cx="96504" cy="213025"/>
            </a:xfrm>
            <a:custGeom>
              <a:avLst/>
              <a:gdLst/>
              <a:ahLst/>
              <a:cxnLst/>
              <a:rect l="l" t="t" r="r" b="b"/>
              <a:pathLst>
                <a:path w="3370" h="7439" extrusionOk="0">
                  <a:moveTo>
                    <a:pt x="0" y="0"/>
                  </a:moveTo>
                  <a:lnTo>
                    <a:pt x="167" y="7439"/>
                  </a:lnTo>
                  <a:lnTo>
                    <a:pt x="3369" y="7439"/>
                  </a:lnTo>
                  <a:lnTo>
                    <a:pt x="3236" y="0"/>
                  </a:lnTo>
                  <a:close/>
                </a:path>
              </a:pathLst>
            </a:custGeom>
            <a:solidFill>
              <a:srgbClr val="B55B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 name="Google Shape;936;p39">
              <a:extLst>
                <a:ext uri="{FF2B5EF4-FFF2-40B4-BE49-F238E27FC236}">
                  <a16:creationId xmlns:a16="http://schemas.microsoft.com/office/drawing/2014/main" id="{E958ED35-7605-9161-CC64-79BFD202C455}"/>
                </a:ext>
              </a:extLst>
            </p:cNvPr>
            <p:cNvSpPr/>
            <p:nvPr/>
          </p:nvSpPr>
          <p:spPr>
            <a:xfrm flipH="1">
              <a:off x="1495199" y="4692142"/>
              <a:ext cx="133760" cy="213025"/>
            </a:xfrm>
            <a:custGeom>
              <a:avLst/>
              <a:gdLst/>
              <a:ahLst/>
              <a:cxnLst/>
              <a:rect l="l" t="t" r="r" b="b"/>
              <a:pathLst>
                <a:path w="4671" h="7439" extrusionOk="0">
                  <a:moveTo>
                    <a:pt x="1" y="0"/>
                  </a:moveTo>
                  <a:lnTo>
                    <a:pt x="1435" y="7439"/>
                  </a:lnTo>
                  <a:lnTo>
                    <a:pt x="4671" y="7439"/>
                  </a:lnTo>
                  <a:lnTo>
                    <a:pt x="3237" y="0"/>
                  </a:lnTo>
                  <a:close/>
                </a:path>
              </a:pathLst>
            </a:custGeom>
            <a:solidFill>
              <a:srgbClr val="B55B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 name="Google Shape;937;p39">
              <a:extLst>
                <a:ext uri="{FF2B5EF4-FFF2-40B4-BE49-F238E27FC236}">
                  <a16:creationId xmlns:a16="http://schemas.microsoft.com/office/drawing/2014/main" id="{AC24109D-3413-303C-9641-C786A3F4A4E7}"/>
                </a:ext>
              </a:extLst>
            </p:cNvPr>
            <p:cNvSpPr/>
            <p:nvPr/>
          </p:nvSpPr>
          <p:spPr>
            <a:xfrm flipH="1">
              <a:off x="1464615" y="4894658"/>
              <a:ext cx="281838" cy="105095"/>
            </a:xfrm>
            <a:custGeom>
              <a:avLst/>
              <a:gdLst/>
              <a:ahLst/>
              <a:cxnLst/>
              <a:rect l="l" t="t" r="r" b="b"/>
              <a:pathLst>
                <a:path w="9842" h="3670" extrusionOk="0">
                  <a:moveTo>
                    <a:pt x="5338" y="0"/>
                  </a:moveTo>
                  <a:cubicBezTo>
                    <a:pt x="5138" y="0"/>
                    <a:pt x="4938" y="67"/>
                    <a:pt x="4804" y="200"/>
                  </a:cubicBezTo>
                  <a:cubicBezTo>
                    <a:pt x="4004" y="934"/>
                    <a:pt x="3070" y="1668"/>
                    <a:pt x="568" y="2202"/>
                  </a:cubicBezTo>
                  <a:cubicBezTo>
                    <a:pt x="1" y="2335"/>
                    <a:pt x="134" y="3669"/>
                    <a:pt x="1502" y="3669"/>
                  </a:cubicBezTo>
                  <a:cubicBezTo>
                    <a:pt x="2836" y="3669"/>
                    <a:pt x="4838" y="3569"/>
                    <a:pt x="5838" y="3569"/>
                  </a:cubicBezTo>
                  <a:cubicBezTo>
                    <a:pt x="7440" y="3569"/>
                    <a:pt x="8040" y="3636"/>
                    <a:pt x="9308" y="3669"/>
                  </a:cubicBezTo>
                  <a:cubicBezTo>
                    <a:pt x="9608" y="3669"/>
                    <a:pt x="9841" y="3369"/>
                    <a:pt x="9775" y="3069"/>
                  </a:cubicBezTo>
                  <a:lnTo>
                    <a:pt x="9208" y="234"/>
                  </a:lnTo>
                  <a:cubicBezTo>
                    <a:pt x="9174" y="100"/>
                    <a:pt x="9074" y="0"/>
                    <a:pt x="8941"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 name="Google Shape;938;p39">
              <a:extLst>
                <a:ext uri="{FF2B5EF4-FFF2-40B4-BE49-F238E27FC236}">
                  <a16:creationId xmlns:a16="http://schemas.microsoft.com/office/drawing/2014/main" id="{76F0A0CB-0B95-9527-F70C-F27A71D8861E}"/>
                </a:ext>
              </a:extLst>
            </p:cNvPr>
            <p:cNvSpPr/>
            <p:nvPr/>
          </p:nvSpPr>
          <p:spPr>
            <a:xfrm flipH="1">
              <a:off x="2013888" y="4894658"/>
              <a:ext cx="359185" cy="105095"/>
            </a:xfrm>
            <a:custGeom>
              <a:avLst/>
              <a:gdLst/>
              <a:ahLst/>
              <a:cxnLst/>
              <a:rect l="l" t="t" r="r" b="b"/>
              <a:pathLst>
                <a:path w="12543" h="3670" extrusionOk="0">
                  <a:moveTo>
                    <a:pt x="8140" y="0"/>
                  </a:moveTo>
                  <a:cubicBezTo>
                    <a:pt x="7873" y="0"/>
                    <a:pt x="7606" y="100"/>
                    <a:pt x="7373" y="267"/>
                  </a:cubicBezTo>
                  <a:cubicBezTo>
                    <a:pt x="5171" y="1601"/>
                    <a:pt x="3103" y="1668"/>
                    <a:pt x="568" y="2202"/>
                  </a:cubicBezTo>
                  <a:cubicBezTo>
                    <a:pt x="1" y="2335"/>
                    <a:pt x="368" y="3669"/>
                    <a:pt x="1669" y="3669"/>
                  </a:cubicBezTo>
                  <a:cubicBezTo>
                    <a:pt x="3870" y="3669"/>
                    <a:pt x="5471" y="3569"/>
                    <a:pt x="7339" y="3569"/>
                  </a:cubicBezTo>
                  <a:cubicBezTo>
                    <a:pt x="8940" y="3569"/>
                    <a:pt x="10775" y="3636"/>
                    <a:pt x="12009" y="3669"/>
                  </a:cubicBezTo>
                  <a:cubicBezTo>
                    <a:pt x="12343" y="3669"/>
                    <a:pt x="12543" y="3369"/>
                    <a:pt x="12510" y="3069"/>
                  </a:cubicBezTo>
                  <a:lnTo>
                    <a:pt x="11943" y="234"/>
                  </a:lnTo>
                  <a:cubicBezTo>
                    <a:pt x="11909" y="100"/>
                    <a:pt x="11809" y="0"/>
                    <a:pt x="11676"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 name="Google Shape;939;p39">
              <a:extLst>
                <a:ext uri="{FF2B5EF4-FFF2-40B4-BE49-F238E27FC236}">
                  <a16:creationId xmlns:a16="http://schemas.microsoft.com/office/drawing/2014/main" id="{8E6F3CF4-0C0E-1E3D-57BA-915DB7793F71}"/>
                </a:ext>
              </a:extLst>
            </p:cNvPr>
            <p:cNvSpPr/>
            <p:nvPr/>
          </p:nvSpPr>
          <p:spPr>
            <a:xfrm flipH="1">
              <a:off x="2141863" y="1926766"/>
              <a:ext cx="704051" cy="351596"/>
            </a:xfrm>
            <a:custGeom>
              <a:avLst/>
              <a:gdLst/>
              <a:ahLst/>
              <a:cxnLst/>
              <a:rect l="l" t="t" r="r" b="b"/>
              <a:pathLst>
                <a:path w="24586" h="12278" extrusionOk="0">
                  <a:moveTo>
                    <a:pt x="21149" y="0"/>
                  </a:moveTo>
                  <a:cubicBezTo>
                    <a:pt x="21149" y="0"/>
                    <a:pt x="12746" y="7706"/>
                    <a:pt x="11086" y="7706"/>
                  </a:cubicBezTo>
                  <a:cubicBezTo>
                    <a:pt x="11083" y="7706"/>
                    <a:pt x="11079" y="7706"/>
                    <a:pt x="11075" y="7706"/>
                  </a:cubicBezTo>
                  <a:cubicBezTo>
                    <a:pt x="8807" y="7672"/>
                    <a:pt x="4137" y="7439"/>
                    <a:pt x="1535" y="6872"/>
                  </a:cubicBezTo>
                  <a:cubicBezTo>
                    <a:pt x="1068" y="7172"/>
                    <a:pt x="101" y="8239"/>
                    <a:pt x="1" y="8740"/>
                  </a:cubicBezTo>
                  <a:cubicBezTo>
                    <a:pt x="2539" y="10765"/>
                    <a:pt x="8613" y="12278"/>
                    <a:pt x="11552" y="12278"/>
                  </a:cubicBezTo>
                  <a:cubicBezTo>
                    <a:pt x="12050" y="12278"/>
                    <a:pt x="12458" y="12234"/>
                    <a:pt x="12743" y="12142"/>
                  </a:cubicBezTo>
                  <a:cubicBezTo>
                    <a:pt x="17180" y="10641"/>
                    <a:pt x="24585" y="3069"/>
                    <a:pt x="24585" y="3069"/>
                  </a:cubicBezTo>
                  <a:lnTo>
                    <a:pt x="21149" y="0"/>
                  </a:lnTo>
                  <a:close/>
                </a:path>
              </a:pathLst>
            </a:custGeom>
            <a:solidFill>
              <a:srgbClr val="B55B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1" name="Google Shape;940;p39">
              <a:extLst>
                <a:ext uri="{FF2B5EF4-FFF2-40B4-BE49-F238E27FC236}">
                  <a16:creationId xmlns:a16="http://schemas.microsoft.com/office/drawing/2014/main" id="{F86B5ECF-9C80-068A-1DC1-F8411E92578A}"/>
                </a:ext>
              </a:extLst>
            </p:cNvPr>
            <p:cNvSpPr/>
            <p:nvPr/>
          </p:nvSpPr>
          <p:spPr>
            <a:xfrm flipH="1">
              <a:off x="2086824" y="1867174"/>
              <a:ext cx="371269" cy="360502"/>
            </a:xfrm>
            <a:custGeom>
              <a:avLst/>
              <a:gdLst/>
              <a:ahLst/>
              <a:cxnLst/>
              <a:rect l="l" t="t" r="r" b="b"/>
              <a:pathLst>
                <a:path w="12965" h="12589" extrusionOk="0">
                  <a:moveTo>
                    <a:pt x="9707" y="1"/>
                  </a:moveTo>
                  <a:cubicBezTo>
                    <a:pt x="8633" y="1"/>
                    <a:pt x="7398" y="406"/>
                    <a:pt x="6172" y="1281"/>
                  </a:cubicBezTo>
                  <a:cubicBezTo>
                    <a:pt x="3937" y="3015"/>
                    <a:pt x="1869" y="4983"/>
                    <a:pt x="1" y="7118"/>
                  </a:cubicBezTo>
                  <a:lnTo>
                    <a:pt x="4771" y="12589"/>
                  </a:lnTo>
                  <a:cubicBezTo>
                    <a:pt x="4771" y="12589"/>
                    <a:pt x="12943" y="6451"/>
                    <a:pt x="12943" y="3382"/>
                  </a:cubicBezTo>
                  <a:cubicBezTo>
                    <a:pt x="12965" y="1239"/>
                    <a:pt x="11583" y="1"/>
                    <a:pt x="9707"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 name="Google Shape;941;p39">
              <a:extLst>
                <a:ext uri="{FF2B5EF4-FFF2-40B4-BE49-F238E27FC236}">
                  <a16:creationId xmlns:a16="http://schemas.microsoft.com/office/drawing/2014/main" id="{229A3C0D-8D53-9970-E0B2-D752A5D5B66B}"/>
                </a:ext>
              </a:extLst>
            </p:cNvPr>
            <p:cNvSpPr/>
            <p:nvPr/>
          </p:nvSpPr>
          <p:spPr>
            <a:xfrm flipH="1">
              <a:off x="2088371" y="1969205"/>
              <a:ext cx="233128" cy="258471"/>
            </a:xfrm>
            <a:custGeom>
              <a:avLst/>
              <a:gdLst/>
              <a:ahLst/>
              <a:cxnLst/>
              <a:rect l="l" t="t" r="r" b="b"/>
              <a:pathLst>
                <a:path w="8141" h="9026" extrusionOk="0">
                  <a:moveTo>
                    <a:pt x="7582" y="1"/>
                  </a:moveTo>
                  <a:cubicBezTo>
                    <a:pt x="5914" y="1"/>
                    <a:pt x="1777" y="2913"/>
                    <a:pt x="1" y="9026"/>
                  </a:cubicBezTo>
                  <a:cubicBezTo>
                    <a:pt x="1" y="9026"/>
                    <a:pt x="7540" y="3355"/>
                    <a:pt x="8140" y="186"/>
                  </a:cubicBezTo>
                  <a:cubicBezTo>
                    <a:pt x="8017" y="63"/>
                    <a:pt x="7826" y="1"/>
                    <a:pt x="7582" y="1"/>
                  </a:cubicBezTo>
                  <a:close/>
                </a:path>
              </a:pathLst>
            </a:custGeom>
            <a:solidFill>
              <a:srgbClr val="1C242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 name="Google Shape;942;p39">
              <a:extLst>
                <a:ext uri="{FF2B5EF4-FFF2-40B4-BE49-F238E27FC236}">
                  <a16:creationId xmlns:a16="http://schemas.microsoft.com/office/drawing/2014/main" id="{1831647F-E91F-C6B1-A1CB-2EAE4F308E2D}"/>
                </a:ext>
              </a:extLst>
            </p:cNvPr>
            <p:cNvSpPr/>
            <p:nvPr/>
          </p:nvSpPr>
          <p:spPr>
            <a:xfrm flipH="1">
              <a:off x="2787611" y="2053797"/>
              <a:ext cx="154779" cy="135679"/>
            </a:xfrm>
            <a:custGeom>
              <a:avLst/>
              <a:gdLst/>
              <a:ahLst/>
              <a:cxnLst/>
              <a:rect l="l" t="t" r="r" b="b"/>
              <a:pathLst>
                <a:path w="5405" h="4738" extrusionOk="0">
                  <a:moveTo>
                    <a:pt x="2569" y="1"/>
                  </a:moveTo>
                  <a:lnTo>
                    <a:pt x="1" y="3270"/>
                  </a:lnTo>
                  <a:cubicBezTo>
                    <a:pt x="1268" y="3970"/>
                    <a:pt x="2669" y="4471"/>
                    <a:pt x="4070" y="4737"/>
                  </a:cubicBezTo>
                  <a:lnTo>
                    <a:pt x="5405" y="2603"/>
                  </a:lnTo>
                  <a:lnTo>
                    <a:pt x="2569" y="1"/>
                  </a:lnTo>
                  <a:close/>
                </a:path>
              </a:pathLst>
            </a:custGeom>
            <a:solidFill>
              <a:srgbClr val="B55B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 name="Google Shape;943;p39">
              <a:extLst>
                <a:ext uri="{FF2B5EF4-FFF2-40B4-BE49-F238E27FC236}">
                  <a16:creationId xmlns:a16="http://schemas.microsoft.com/office/drawing/2014/main" id="{AAAE193E-F5E9-6D55-B50E-17CFE27D11C6}"/>
                </a:ext>
              </a:extLst>
            </p:cNvPr>
            <p:cNvSpPr/>
            <p:nvPr/>
          </p:nvSpPr>
          <p:spPr>
            <a:xfrm flipH="1">
              <a:off x="2868795" y="2009869"/>
              <a:ext cx="123251" cy="137569"/>
            </a:xfrm>
            <a:custGeom>
              <a:avLst/>
              <a:gdLst/>
              <a:ahLst/>
              <a:cxnLst/>
              <a:rect l="l" t="t" r="r" b="b"/>
              <a:pathLst>
                <a:path w="4304" h="4804" extrusionOk="0">
                  <a:moveTo>
                    <a:pt x="901" y="0"/>
                  </a:moveTo>
                  <a:lnTo>
                    <a:pt x="0" y="2469"/>
                  </a:lnTo>
                  <a:lnTo>
                    <a:pt x="1735" y="4804"/>
                  </a:lnTo>
                  <a:lnTo>
                    <a:pt x="4303" y="1535"/>
                  </a:lnTo>
                  <a:lnTo>
                    <a:pt x="901" y="0"/>
                  </a:lnTo>
                  <a:close/>
                </a:path>
              </a:pathLst>
            </a:custGeom>
            <a:solidFill>
              <a:srgbClr val="B55B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 name="Google Shape;944;p39">
              <a:extLst>
                <a:ext uri="{FF2B5EF4-FFF2-40B4-BE49-F238E27FC236}">
                  <a16:creationId xmlns:a16="http://schemas.microsoft.com/office/drawing/2014/main" id="{029527E2-07E2-9C08-3987-CE8937E3B32B}"/>
                </a:ext>
              </a:extLst>
            </p:cNvPr>
            <p:cNvSpPr/>
            <p:nvPr/>
          </p:nvSpPr>
          <p:spPr>
            <a:xfrm flipH="1">
              <a:off x="2050170" y="4692142"/>
              <a:ext cx="94586" cy="109877"/>
            </a:xfrm>
            <a:custGeom>
              <a:avLst/>
              <a:gdLst/>
              <a:ahLst/>
              <a:cxnLst/>
              <a:rect l="l" t="t" r="r" b="b"/>
              <a:pathLst>
                <a:path w="3303" h="3837" extrusionOk="0">
                  <a:moveTo>
                    <a:pt x="0" y="0"/>
                  </a:moveTo>
                  <a:lnTo>
                    <a:pt x="100" y="3836"/>
                  </a:lnTo>
                  <a:lnTo>
                    <a:pt x="3302" y="3836"/>
                  </a:lnTo>
                  <a:lnTo>
                    <a:pt x="3236" y="0"/>
                  </a:lnTo>
                  <a:close/>
                </a:path>
              </a:pathLst>
            </a:custGeom>
            <a:solidFill>
              <a:srgbClr val="994E4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 name="Google Shape;945;p39">
              <a:extLst>
                <a:ext uri="{FF2B5EF4-FFF2-40B4-BE49-F238E27FC236}">
                  <a16:creationId xmlns:a16="http://schemas.microsoft.com/office/drawing/2014/main" id="{D43A9A41-3FA2-1481-4679-9748E32DB27D}"/>
                </a:ext>
              </a:extLst>
            </p:cNvPr>
            <p:cNvSpPr/>
            <p:nvPr/>
          </p:nvSpPr>
          <p:spPr>
            <a:xfrm flipH="1">
              <a:off x="1515244" y="4692142"/>
              <a:ext cx="113715" cy="109877"/>
            </a:xfrm>
            <a:custGeom>
              <a:avLst/>
              <a:gdLst/>
              <a:ahLst/>
              <a:cxnLst/>
              <a:rect l="l" t="t" r="r" b="b"/>
              <a:pathLst>
                <a:path w="3971" h="3837" extrusionOk="0">
                  <a:moveTo>
                    <a:pt x="1" y="0"/>
                  </a:moveTo>
                  <a:lnTo>
                    <a:pt x="768" y="3836"/>
                  </a:lnTo>
                  <a:lnTo>
                    <a:pt x="3970" y="3836"/>
                  </a:lnTo>
                  <a:lnTo>
                    <a:pt x="3237" y="0"/>
                  </a:lnTo>
                  <a:close/>
                </a:path>
              </a:pathLst>
            </a:custGeom>
            <a:solidFill>
              <a:srgbClr val="994E4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 name="Google Shape;946;p39">
              <a:extLst>
                <a:ext uri="{FF2B5EF4-FFF2-40B4-BE49-F238E27FC236}">
                  <a16:creationId xmlns:a16="http://schemas.microsoft.com/office/drawing/2014/main" id="{38695B92-5079-8B40-1E86-40C30EFC1654}"/>
                </a:ext>
              </a:extLst>
            </p:cNvPr>
            <p:cNvSpPr/>
            <p:nvPr/>
          </p:nvSpPr>
          <p:spPr>
            <a:xfrm flipH="1">
              <a:off x="1690040" y="1842690"/>
              <a:ext cx="632403" cy="824410"/>
            </a:xfrm>
            <a:custGeom>
              <a:avLst/>
              <a:gdLst/>
              <a:ahLst/>
              <a:cxnLst/>
              <a:rect l="l" t="t" r="r" b="b"/>
              <a:pathLst>
                <a:path w="22084" h="28789" extrusionOk="0">
                  <a:moveTo>
                    <a:pt x="12660" y="1"/>
                  </a:moveTo>
                  <a:cubicBezTo>
                    <a:pt x="11442" y="1"/>
                    <a:pt x="10225" y="34"/>
                    <a:pt x="9007" y="101"/>
                  </a:cubicBezTo>
                  <a:cubicBezTo>
                    <a:pt x="7339" y="268"/>
                    <a:pt x="5671" y="568"/>
                    <a:pt x="4037" y="1001"/>
                  </a:cubicBezTo>
                  <a:cubicBezTo>
                    <a:pt x="4037" y="1001"/>
                    <a:pt x="1" y="10708"/>
                    <a:pt x="3170" y="28788"/>
                  </a:cubicBezTo>
                  <a:lnTo>
                    <a:pt x="20382" y="28788"/>
                  </a:lnTo>
                  <a:cubicBezTo>
                    <a:pt x="20549" y="26153"/>
                    <a:pt x="19214" y="13277"/>
                    <a:pt x="22083" y="835"/>
                  </a:cubicBezTo>
                  <a:cubicBezTo>
                    <a:pt x="20182" y="468"/>
                    <a:pt x="18247" y="201"/>
                    <a:pt x="16312" y="101"/>
                  </a:cubicBezTo>
                  <a:cubicBezTo>
                    <a:pt x="15095" y="34"/>
                    <a:pt x="13877" y="1"/>
                    <a:pt x="12660"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 name="Google Shape;947;p39">
              <a:extLst>
                <a:ext uri="{FF2B5EF4-FFF2-40B4-BE49-F238E27FC236}">
                  <a16:creationId xmlns:a16="http://schemas.microsoft.com/office/drawing/2014/main" id="{680D678E-60FB-ACBC-990B-FAC9634AF4A8}"/>
                </a:ext>
              </a:extLst>
            </p:cNvPr>
            <p:cNvSpPr/>
            <p:nvPr/>
          </p:nvSpPr>
          <p:spPr>
            <a:xfrm flipH="1">
              <a:off x="1698660" y="1900077"/>
              <a:ext cx="110822" cy="415484"/>
            </a:xfrm>
            <a:custGeom>
              <a:avLst/>
              <a:gdLst/>
              <a:ahLst/>
              <a:cxnLst/>
              <a:rect l="l" t="t" r="r" b="b"/>
              <a:pathLst>
                <a:path w="3870" h="14509" extrusionOk="0">
                  <a:moveTo>
                    <a:pt x="3218" y="1"/>
                  </a:moveTo>
                  <a:cubicBezTo>
                    <a:pt x="2091" y="1"/>
                    <a:pt x="609" y="302"/>
                    <a:pt x="334" y="1900"/>
                  </a:cubicBezTo>
                  <a:cubicBezTo>
                    <a:pt x="0" y="3934"/>
                    <a:pt x="534" y="8838"/>
                    <a:pt x="2335" y="14509"/>
                  </a:cubicBezTo>
                  <a:cubicBezTo>
                    <a:pt x="2435" y="9638"/>
                    <a:pt x="2936" y="4835"/>
                    <a:pt x="3870" y="65"/>
                  </a:cubicBezTo>
                  <a:lnTo>
                    <a:pt x="3870" y="32"/>
                  </a:lnTo>
                  <a:cubicBezTo>
                    <a:pt x="3678" y="14"/>
                    <a:pt x="3456" y="1"/>
                    <a:pt x="3218" y="1"/>
                  </a:cubicBezTo>
                  <a:close/>
                </a:path>
              </a:pathLst>
            </a:custGeom>
            <a:solidFill>
              <a:srgbClr val="1C242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 name="Google Shape;948;p39">
              <a:extLst>
                <a:ext uri="{FF2B5EF4-FFF2-40B4-BE49-F238E27FC236}">
                  <a16:creationId xmlns:a16="http://schemas.microsoft.com/office/drawing/2014/main" id="{BB7B4750-C145-E86F-00EB-70628FA14AA7}"/>
                </a:ext>
              </a:extLst>
            </p:cNvPr>
            <p:cNvSpPr/>
            <p:nvPr/>
          </p:nvSpPr>
          <p:spPr>
            <a:xfrm flipH="1">
              <a:off x="1855300" y="1650684"/>
              <a:ext cx="267491" cy="263683"/>
            </a:xfrm>
            <a:custGeom>
              <a:avLst/>
              <a:gdLst/>
              <a:ahLst/>
              <a:cxnLst/>
              <a:rect l="l" t="t" r="r" b="b"/>
              <a:pathLst>
                <a:path w="9341" h="9208" extrusionOk="0">
                  <a:moveTo>
                    <a:pt x="8573" y="1"/>
                  </a:moveTo>
                  <a:lnTo>
                    <a:pt x="4203" y="1135"/>
                  </a:lnTo>
                  <a:cubicBezTo>
                    <a:pt x="4637" y="2970"/>
                    <a:pt x="4670" y="6205"/>
                    <a:pt x="2035" y="6839"/>
                  </a:cubicBezTo>
                  <a:cubicBezTo>
                    <a:pt x="2035" y="6839"/>
                    <a:pt x="0" y="9208"/>
                    <a:pt x="3970" y="9208"/>
                  </a:cubicBezTo>
                  <a:cubicBezTo>
                    <a:pt x="8340" y="9208"/>
                    <a:pt x="9340" y="6839"/>
                    <a:pt x="9340" y="6839"/>
                  </a:cubicBezTo>
                  <a:cubicBezTo>
                    <a:pt x="7739" y="5238"/>
                    <a:pt x="8039" y="2336"/>
                    <a:pt x="8573" y="1"/>
                  </a:cubicBezTo>
                  <a:close/>
                </a:path>
              </a:pathLst>
            </a:custGeom>
            <a:solidFill>
              <a:srgbClr val="B55B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 name="Google Shape;949;p39">
              <a:extLst>
                <a:ext uri="{FF2B5EF4-FFF2-40B4-BE49-F238E27FC236}">
                  <a16:creationId xmlns:a16="http://schemas.microsoft.com/office/drawing/2014/main" id="{406E9529-C5F0-D852-CBA1-1F67E61B6271}"/>
                </a:ext>
              </a:extLst>
            </p:cNvPr>
            <p:cNvSpPr/>
            <p:nvPr/>
          </p:nvSpPr>
          <p:spPr>
            <a:xfrm flipH="1">
              <a:off x="1971850" y="1905747"/>
              <a:ext cx="72622" cy="73567"/>
            </a:xfrm>
            <a:custGeom>
              <a:avLst/>
              <a:gdLst/>
              <a:ahLst/>
              <a:cxnLst/>
              <a:rect l="l" t="t" r="r" b="b"/>
              <a:pathLst>
                <a:path w="2536" h="2569" extrusionOk="0">
                  <a:moveTo>
                    <a:pt x="1251" y="0"/>
                  </a:moveTo>
                  <a:cubicBezTo>
                    <a:pt x="1168" y="0"/>
                    <a:pt x="1085" y="34"/>
                    <a:pt x="1035" y="100"/>
                  </a:cubicBezTo>
                  <a:lnTo>
                    <a:pt x="101" y="1134"/>
                  </a:lnTo>
                  <a:cubicBezTo>
                    <a:pt x="34" y="1201"/>
                    <a:pt x="1" y="1335"/>
                    <a:pt x="34" y="1401"/>
                  </a:cubicBezTo>
                  <a:lnTo>
                    <a:pt x="334" y="2335"/>
                  </a:lnTo>
                  <a:cubicBezTo>
                    <a:pt x="367" y="2435"/>
                    <a:pt x="468" y="2502"/>
                    <a:pt x="568" y="2535"/>
                  </a:cubicBezTo>
                  <a:lnTo>
                    <a:pt x="1602" y="2569"/>
                  </a:lnTo>
                  <a:cubicBezTo>
                    <a:pt x="1702" y="2569"/>
                    <a:pt x="1802" y="2535"/>
                    <a:pt x="1835" y="2435"/>
                  </a:cubicBezTo>
                  <a:lnTo>
                    <a:pt x="2469" y="1568"/>
                  </a:lnTo>
                  <a:cubicBezTo>
                    <a:pt x="2536" y="1468"/>
                    <a:pt x="2536" y="1301"/>
                    <a:pt x="2469" y="1201"/>
                  </a:cubicBezTo>
                  <a:lnTo>
                    <a:pt x="1468" y="100"/>
                  </a:lnTo>
                  <a:cubicBezTo>
                    <a:pt x="1418" y="34"/>
                    <a:pt x="1335" y="0"/>
                    <a:pt x="1251"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 name="Google Shape;950;p39">
              <a:extLst>
                <a:ext uri="{FF2B5EF4-FFF2-40B4-BE49-F238E27FC236}">
                  <a16:creationId xmlns:a16="http://schemas.microsoft.com/office/drawing/2014/main" id="{4A9951DF-60DC-40A4-12A5-9A1C5CEC00F6}"/>
                </a:ext>
              </a:extLst>
            </p:cNvPr>
            <p:cNvSpPr/>
            <p:nvPr/>
          </p:nvSpPr>
          <p:spPr>
            <a:xfrm flipH="1">
              <a:off x="1828554" y="1818808"/>
              <a:ext cx="180580" cy="159561"/>
            </a:xfrm>
            <a:custGeom>
              <a:avLst/>
              <a:gdLst/>
              <a:ahLst/>
              <a:cxnLst/>
              <a:rect l="l" t="t" r="r" b="b"/>
              <a:pathLst>
                <a:path w="6306" h="5572" extrusionOk="0">
                  <a:moveTo>
                    <a:pt x="4871" y="0"/>
                  </a:moveTo>
                  <a:cubicBezTo>
                    <a:pt x="4866" y="0"/>
                    <a:pt x="4595" y="1779"/>
                    <a:pt x="1" y="2903"/>
                  </a:cubicBezTo>
                  <a:cubicBezTo>
                    <a:pt x="501" y="3703"/>
                    <a:pt x="768" y="4637"/>
                    <a:pt x="801" y="5571"/>
                  </a:cubicBezTo>
                  <a:cubicBezTo>
                    <a:pt x="801" y="5571"/>
                    <a:pt x="6305" y="3637"/>
                    <a:pt x="6138" y="835"/>
                  </a:cubicBezTo>
                  <a:cubicBezTo>
                    <a:pt x="6138" y="835"/>
                    <a:pt x="5371" y="368"/>
                    <a:pt x="4871" y="1"/>
                  </a:cubicBezTo>
                  <a:cubicBezTo>
                    <a:pt x="4871" y="1"/>
                    <a:pt x="4871" y="0"/>
                    <a:pt x="4871"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 name="Google Shape;951;p39">
              <a:extLst>
                <a:ext uri="{FF2B5EF4-FFF2-40B4-BE49-F238E27FC236}">
                  <a16:creationId xmlns:a16="http://schemas.microsoft.com/office/drawing/2014/main" id="{E75FAEC8-5D1E-C177-B161-A15275BA6459}"/>
                </a:ext>
              </a:extLst>
            </p:cNvPr>
            <p:cNvSpPr/>
            <p:nvPr/>
          </p:nvSpPr>
          <p:spPr>
            <a:xfrm flipH="1">
              <a:off x="2009106" y="1832181"/>
              <a:ext cx="102231" cy="141406"/>
            </a:xfrm>
            <a:custGeom>
              <a:avLst/>
              <a:gdLst/>
              <a:ahLst/>
              <a:cxnLst/>
              <a:rect l="l" t="t" r="r" b="b"/>
              <a:pathLst>
                <a:path w="3570" h="4938" extrusionOk="0">
                  <a:moveTo>
                    <a:pt x="2235" y="1"/>
                  </a:moveTo>
                  <a:lnTo>
                    <a:pt x="2235" y="1"/>
                  </a:lnTo>
                  <a:cubicBezTo>
                    <a:pt x="1768" y="134"/>
                    <a:pt x="1301" y="268"/>
                    <a:pt x="834" y="468"/>
                  </a:cubicBezTo>
                  <a:cubicBezTo>
                    <a:pt x="1" y="3270"/>
                    <a:pt x="2469" y="4938"/>
                    <a:pt x="2469" y="4938"/>
                  </a:cubicBezTo>
                  <a:cubicBezTo>
                    <a:pt x="2669" y="4037"/>
                    <a:pt x="3069" y="3203"/>
                    <a:pt x="3570" y="2436"/>
                  </a:cubicBezTo>
                  <a:cubicBezTo>
                    <a:pt x="1869" y="1836"/>
                    <a:pt x="2235" y="1"/>
                    <a:pt x="2235"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 name="Google Shape;952;p39">
              <a:extLst>
                <a:ext uri="{FF2B5EF4-FFF2-40B4-BE49-F238E27FC236}">
                  <a16:creationId xmlns:a16="http://schemas.microsoft.com/office/drawing/2014/main" id="{FEC8E1E0-0B7A-A995-64C3-D07469693CEB}"/>
                </a:ext>
              </a:extLst>
            </p:cNvPr>
            <p:cNvSpPr/>
            <p:nvPr/>
          </p:nvSpPr>
          <p:spPr>
            <a:xfrm flipH="1">
              <a:off x="2001460" y="1973558"/>
              <a:ext cx="65949" cy="547382"/>
            </a:xfrm>
            <a:custGeom>
              <a:avLst/>
              <a:gdLst/>
              <a:ahLst/>
              <a:cxnLst/>
              <a:rect l="l" t="t" r="r" b="b"/>
              <a:pathLst>
                <a:path w="2303" h="19115" extrusionOk="0">
                  <a:moveTo>
                    <a:pt x="1602" y="1"/>
                  </a:moveTo>
                  <a:cubicBezTo>
                    <a:pt x="1602" y="1"/>
                    <a:pt x="34" y="11509"/>
                    <a:pt x="1" y="13510"/>
                  </a:cubicBezTo>
                  <a:cubicBezTo>
                    <a:pt x="34" y="15412"/>
                    <a:pt x="335" y="17313"/>
                    <a:pt x="902" y="19114"/>
                  </a:cubicBezTo>
                  <a:cubicBezTo>
                    <a:pt x="902" y="19114"/>
                    <a:pt x="1969" y="17080"/>
                    <a:pt x="2136" y="13444"/>
                  </a:cubicBezTo>
                  <a:cubicBezTo>
                    <a:pt x="2303" y="9808"/>
                    <a:pt x="2102" y="2036"/>
                    <a:pt x="2169" y="1"/>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 name="Google Shape;953;p39">
              <a:extLst>
                <a:ext uri="{FF2B5EF4-FFF2-40B4-BE49-F238E27FC236}">
                  <a16:creationId xmlns:a16="http://schemas.microsoft.com/office/drawing/2014/main" id="{A22D1CB0-0EC5-EFDA-44F5-D51EB55C449B}"/>
                </a:ext>
              </a:extLst>
            </p:cNvPr>
            <p:cNvSpPr/>
            <p:nvPr/>
          </p:nvSpPr>
          <p:spPr>
            <a:xfrm flipH="1">
              <a:off x="1877264" y="1649739"/>
              <a:ext cx="128033" cy="143325"/>
            </a:xfrm>
            <a:custGeom>
              <a:avLst/>
              <a:gdLst/>
              <a:ahLst/>
              <a:cxnLst/>
              <a:rect l="l" t="t" r="r" b="b"/>
              <a:pathLst>
                <a:path w="4471" h="5005" extrusionOk="0">
                  <a:moveTo>
                    <a:pt x="4470" y="1"/>
                  </a:moveTo>
                  <a:lnTo>
                    <a:pt x="100" y="1135"/>
                  </a:lnTo>
                  <a:cubicBezTo>
                    <a:pt x="367" y="2202"/>
                    <a:pt x="467" y="3770"/>
                    <a:pt x="0" y="5004"/>
                  </a:cubicBezTo>
                  <a:cubicBezTo>
                    <a:pt x="400" y="4937"/>
                    <a:pt x="801" y="4804"/>
                    <a:pt x="1168" y="4637"/>
                  </a:cubicBezTo>
                  <a:cubicBezTo>
                    <a:pt x="2669" y="3937"/>
                    <a:pt x="3436" y="2836"/>
                    <a:pt x="4237" y="1201"/>
                  </a:cubicBezTo>
                  <a:cubicBezTo>
                    <a:pt x="4303" y="801"/>
                    <a:pt x="4370" y="368"/>
                    <a:pt x="4470" y="1"/>
                  </a:cubicBezTo>
                  <a:close/>
                </a:path>
              </a:pathLst>
            </a:custGeom>
            <a:solidFill>
              <a:srgbClr val="994E4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 name="Google Shape;954;p39">
              <a:extLst>
                <a:ext uri="{FF2B5EF4-FFF2-40B4-BE49-F238E27FC236}">
                  <a16:creationId xmlns:a16="http://schemas.microsoft.com/office/drawing/2014/main" id="{58216710-34A8-B8F8-0979-BB0A93E1F5DC}"/>
                </a:ext>
              </a:extLst>
            </p:cNvPr>
            <p:cNvSpPr/>
            <p:nvPr/>
          </p:nvSpPr>
          <p:spPr>
            <a:xfrm flipH="1">
              <a:off x="2018641" y="1544300"/>
              <a:ext cx="91292" cy="109763"/>
            </a:xfrm>
            <a:custGeom>
              <a:avLst/>
              <a:gdLst/>
              <a:ahLst/>
              <a:cxnLst/>
              <a:rect l="l" t="t" r="r" b="b"/>
              <a:pathLst>
                <a:path w="3188" h="3833" extrusionOk="0">
                  <a:moveTo>
                    <a:pt x="1562" y="0"/>
                  </a:moveTo>
                  <a:cubicBezTo>
                    <a:pt x="683" y="0"/>
                    <a:pt x="0" y="843"/>
                    <a:pt x="218" y="1715"/>
                  </a:cubicBezTo>
                  <a:cubicBezTo>
                    <a:pt x="352" y="2515"/>
                    <a:pt x="819" y="3182"/>
                    <a:pt x="1486" y="3616"/>
                  </a:cubicBezTo>
                  <a:cubicBezTo>
                    <a:pt x="1703" y="3766"/>
                    <a:pt x="1915" y="3833"/>
                    <a:pt x="2113" y="3833"/>
                  </a:cubicBezTo>
                  <a:cubicBezTo>
                    <a:pt x="2706" y="3833"/>
                    <a:pt x="3162" y="3232"/>
                    <a:pt x="3187" y="2482"/>
                  </a:cubicBezTo>
                  <a:cubicBezTo>
                    <a:pt x="3187" y="1548"/>
                    <a:pt x="2787" y="180"/>
                    <a:pt x="1753" y="13"/>
                  </a:cubicBezTo>
                  <a:cubicBezTo>
                    <a:pt x="1688" y="4"/>
                    <a:pt x="1625" y="0"/>
                    <a:pt x="1562" y="0"/>
                  </a:cubicBezTo>
                  <a:close/>
                </a:path>
              </a:pathLst>
            </a:custGeom>
            <a:solidFill>
              <a:srgbClr val="B55B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 name="Google Shape;955;p39">
              <a:extLst>
                <a:ext uri="{FF2B5EF4-FFF2-40B4-BE49-F238E27FC236}">
                  <a16:creationId xmlns:a16="http://schemas.microsoft.com/office/drawing/2014/main" id="{9C579319-10AC-268A-62BD-7A3C22FABEB5}"/>
                </a:ext>
              </a:extLst>
            </p:cNvPr>
            <p:cNvSpPr/>
            <p:nvPr/>
          </p:nvSpPr>
          <p:spPr>
            <a:xfrm flipH="1">
              <a:off x="2018641" y="1544300"/>
              <a:ext cx="91292" cy="109763"/>
            </a:xfrm>
            <a:custGeom>
              <a:avLst/>
              <a:gdLst/>
              <a:ahLst/>
              <a:cxnLst/>
              <a:rect l="l" t="t" r="r" b="b"/>
              <a:pathLst>
                <a:path w="3188" h="3833" extrusionOk="0">
                  <a:moveTo>
                    <a:pt x="1562" y="0"/>
                  </a:moveTo>
                  <a:cubicBezTo>
                    <a:pt x="683" y="0"/>
                    <a:pt x="0" y="843"/>
                    <a:pt x="218" y="1715"/>
                  </a:cubicBezTo>
                  <a:cubicBezTo>
                    <a:pt x="352" y="2515"/>
                    <a:pt x="819" y="3182"/>
                    <a:pt x="1486" y="3616"/>
                  </a:cubicBezTo>
                  <a:cubicBezTo>
                    <a:pt x="1703" y="3766"/>
                    <a:pt x="1915" y="3833"/>
                    <a:pt x="2113" y="3833"/>
                  </a:cubicBezTo>
                  <a:cubicBezTo>
                    <a:pt x="2706" y="3833"/>
                    <a:pt x="3162" y="3232"/>
                    <a:pt x="3187" y="2482"/>
                  </a:cubicBezTo>
                  <a:cubicBezTo>
                    <a:pt x="3187" y="1548"/>
                    <a:pt x="2787" y="180"/>
                    <a:pt x="1753" y="13"/>
                  </a:cubicBezTo>
                  <a:cubicBezTo>
                    <a:pt x="1688" y="4"/>
                    <a:pt x="1625" y="0"/>
                    <a:pt x="1562" y="0"/>
                  </a:cubicBez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 name="Google Shape;956;p39">
              <a:extLst>
                <a:ext uri="{FF2B5EF4-FFF2-40B4-BE49-F238E27FC236}">
                  <a16:creationId xmlns:a16="http://schemas.microsoft.com/office/drawing/2014/main" id="{3A72105B-F9A6-FBEC-619C-0FBAA39108E1}"/>
                </a:ext>
              </a:extLst>
            </p:cNvPr>
            <p:cNvSpPr/>
            <p:nvPr/>
          </p:nvSpPr>
          <p:spPr>
            <a:xfrm flipH="1">
              <a:off x="1898455" y="1417556"/>
              <a:ext cx="201428" cy="167322"/>
            </a:xfrm>
            <a:custGeom>
              <a:avLst/>
              <a:gdLst/>
              <a:ahLst/>
              <a:cxnLst/>
              <a:rect l="l" t="t" r="r" b="b"/>
              <a:pathLst>
                <a:path w="7034" h="5843" extrusionOk="0">
                  <a:moveTo>
                    <a:pt x="4277" y="0"/>
                  </a:moveTo>
                  <a:cubicBezTo>
                    <a:pt x="4242" y="0"/>
                    <a:pt x="4207" y="1"/>
                    <a:pt x="4170" y="3"/>
                  </a:cubicBezTo>
                  <a:cubicBezTo>
                    <a:pt x="2469" y="70"/>
                    <a:pt x="1" y="3939"/>
                    <a:pt x="1535" y="5607"/>
                  </a:cubicBezTo>
                  <a:cubicBezTo>
                    <a:pt x="1685" y="5769"/>
                    <a:pt x="1863" y="5843"/>
                    <a:pt x="2059" y="5843"/>
                  </a:cubicBezTo>
                  <a:cubicBezTo>
                    <a:pt x="3815" y="5843"/>
                    <a:pt x="7033" y="0"/>
                    <a:pt x="4277"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 name="Google Shape;957;p39">
              <a:extLst>
                <a:ext uri="{FF2B5EF4-FFF2-40B4-BE49-F238E27FC236}">
                  <a16:creationId xmlns:a16="http://schemas.microsoft.com/office/drawing/2014/main" id="{A181F5F6-689C-6B1C-3A3C-394BFCF5850A}"/>
                </a:ext>
              </a:extLst>
            </p:cNvPr>
            <p:cNvSpPr/>
            <p:nvPr/>
          </p:nvSpPr>
          <p:spPr>
            <a:xfrm flipH="1">
              <a:off x="1772026" y="1417499"/>
              <a:ext cx="335016" cy="350050"/>
            </a:xfrm>
            <a:custGeom>
              <a:avLst/>
              <a:gdLst/>
              <a:ahLst/>
              <a:cxnLst/>
              <a:rect l="l" t="t" r="r" b="b"/>
              <a:pathLst>
                <a:path w="11699" h="12224" extrusionOk="0">
                  <a:moveTo>
                    <a:pt x="6474" y="1"/>
                  </a:moveTo>
                  <a:cubicBezTo>
                    <a:pt x="6413" y="1"/>
                    <a:pt x="6351" y="2"/>
                    <a:pt x="6288" y="5"/>
                  </a:cubicBezTo>
                  <a:cubicBezTo>
                    <a:pt x="2919" y="105"/>
                    <a:pt x="785" y="4408"/>
                    <a:pt x="351" y="7310"/>
                  </a:cubicBezTo>
                  <a:cubicBezTo>
                    <a:pt x="0" y="9952"/>
                    <a:pt x="1959" y="12223"/>
                    <a:pt x="4396" y="12223"/>
                  </a:cubicBezTo>
                  <a:cubicBezTo>
                    <a:pt x="4975" y="12223"/>
                    <a:pt x="5580" y="12095"/>
                    <a:pt x="6188" y="11813"/>
                  </a:cubicBezTo>
                  <a:cubicBezTo>
                    <a:pt x="8257" y="10846"/>
                    <a:pt x="8924" y="9078"/>
                    <a:pt x="10291" y="6143"/>
                  </a:cubicBezTo>
                  <a:cubicBezTo>
                    <a:pt x="11698" y="3296"/>
                    <a:pt x="9608" y="1"/>
                    <a:pt x="6474" y="1"/>
                  </a:cubicBezTo>
                  <a:close/>
                </a:path>
              </a:pathLst>
            </a:custGeom>
            <a:solidFill>
              <a:srgbClr val="B55B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 name="Google Shape;958;p39">
              <a:extLst>
                <a:ext uri="{FF2B5EF4-FFF2-40B4-BE49-F238E27FC236}">
                  <a16:creationId xmlns:a16="http://schemas.microsoft.com/office/drawing/2014/main" id="{F0696256-70D3-BE61-EE1D-0F219C1CCB1B}"/>
                </a:ext>
              </a:extLst>
            </p:cNvPr>
            <p:cNvSpPr/>
            <p:nvPr/>
          </p:nvSpPr>
          <p:spPr>
            <a:xfrm flipH="1">
              <a:off x="1700263" y="1298229"/>
              <a:ext cx="335617" cy="351625"/>
            </a:xfrm>
            <a:custGeom>
              <a:avLst/>
              <a:gdLst/>
              <a:ahLst/>
              <a:cxnLst/>
              <a:rect l="l" t="t" r="r" b="b"/>
              <a:pathLst>
                <a:path w="11720" h="12279" extrusionOk="0">
                  <a:moveTo>
                    <a:pt x="3236" y="0"/>
                  </a:moveTo>
                  <a:lnTo>
                    <a:pt x="3236" y="0"/>
                  </a:lnTo>
                  <a:cubicBezTo>
                    <a:pt x="3470" y="734"/>
                    <a:pt x="3103" y="1535"/>
                    <a:pt x="2402" y="1835"/>
                  </a:cubicBezTo>
                  <a:cubicBezTo>
                    <a:pt x="1135" y="2502"/>
                    <a:pt x="234" y="3036"/>
                    <a:pt x="168" y="3903"/>
                  </a:cubicBezTo>
                  <a:cubicBezTo>
                    <a:pt x="1" y="6572"/>
                    <a:pt x="5671" y="7839"/>
                    <a:pt x="7406" y="7906"/>
                  </a:cubicBezTo>
                  <a:cubicBezTo>
                    <a:pt x="6472" y="9907"/>
                    <a:pt x="6272" y="12209"/>
                    <a:pt x="7239" y="12276"/>
                  </a:cubicBezTo>
                  <a:cubicBezTo>
                    <a:pt x="7269" y="12277"/>
                    <a:pt x="7298" y="12278"/>
                    <a:pt x="7328" y="12278"/>
                  </a:cubicBezTo>
                  <a:cubicBezTo>
                    <a:pt x="9439" y="12278"/>
                    <a:pt x="11720" y="7624"/>
                    <a:pt x="10075" y="6572"/>
                  </a:cubicBezTo>
                  <a:cubicBezTo>
                    <a:pt x="11650" y="4930"/>
                    <a:pt x="10190" y="2934"/>
                    <a:pt x="7537" y="2934"/>
                  </a:cubicBezTo>
                  <a:cubicBezTo>
                    <a:pt x="7493" y="2934"/>
                    <a:pt x="7450" y="2935"/>
                    <a:pt x="7406" y="2936"/>
                  </a:cubicBezTo>
                  <a:cubicBezTo>
                    <a:pt x="6710" y="2951"/>
                    <a:pt x="5788" y="3069"/>
                    <a:pt x="5034" y="3069"/>
                  </a:cubicBezTo>
                  <a:cubicBezTo>
                    <a:pt x="4126" y="3069"/>
                    <a:pt x="3463" y="2897"/>
                    <a:pt x="3737" y="2168"/>
                  </a:cubicBezTo>
                  <a:cubicBezTo>
                    <a:pt x="4004" y="1435"/>
                    <a:pt x="3837" y="567"/>
                    <a:pt x="3236"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 name="Google Shape;959;p39">
              <a:extLst>
                <a:ext uri="{FF2B5EF4-FFF2-40B4-BE49-F238E27FC236}">
                  <a16:creationId xmlns:a16="http://schemas.microsoft.com/office/drawing/2014/main" id="{EAEED3A5-18D8-CD2C-F5D0-017F5A27AA48}"/>
                </a:ext>
              </a:extLst>
            </p:cNvPr>
            <p:cNvSpPr/>
            <p:nvPr/>
          </p:nvSpPr>
          <p:spPr>
            <a:xfrm flipH="1">
              <a:off x="1707251" y="1483334"/>
              <a:ext cx="50658" cy="22193"/>
            </a:xfrm>
            <a:custGeom>
              <a:avLst/>
              <a:gdLst/>
              <a:ahLst/>
              <a:cxnLst/>
              <a:rect l="l" t="t" r="r" b="b"/>
              <a:pathLst>
                <a:path w="1769" h="775" extrusionOk="0">
                  <a:moveTo>
                    <a:pt x="634" y="1"/>
                  </a:moveTo>
                  <a:cubicBezTo>
                    <a:pt x="285" y="1"/>
                    <a:pt x="1" y="108"/>
                    <a:pt x="1" y="108"/>
                  </a:cubicBezTo>
                  <a:cubicBezTo>
                    <a:pt x="634" y="174"/>
                    <a:pt x="1235" y="408"/>
                    <a:pt x="1769" y="775"/>
                  </a:cubicBezTo>
                  <a:cubicBezTo>
                    <a:pt x="1535" y="146"/>
                    <a:pt x="1040" y="1"/>
                    <a:pt x="634"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 name="Google Shape;960;p39">
              <a:extLst>
                <a:ext uri="{FF2B5EF4-FFF2-40B4-BE49-F238E27FC236}">
                  <a16:creationId xmlns:a16="http://schemas.microsoft.com/office/drawing/2014/main" id="{9D23963B-9C8B-56E5-69D6-FD1245C00F39}"/>
                </a:ext>
              </a:extLst>
            </p:cNvPr>
            <p:cNvSpPr/>
            <p:nvPr/>
          </p:nvSpPr>
          <p:spPr>
            <a:xfrm flipH="1">
              <a:off x="1785571" y="1631670"/>
              <a:ext cx="123251" cy="88543"/>
            </a:xfrm>
            <a:custGeom>
              <a:avLst/>
              <a:gdLst/>
              <a:ahLst/>
              <a:cxnLst/>
              <a:rect l="l" t="t" r="r" b="b"/>
              <a:pathLst>
                <a:path w="4304" h="3092" extrusionOk="0">
                  <a:moveTo>
                    <a:pt x="2727" y="1"/>
                  </a:moveTo>
                  <a:cubicBezTo>
                    <a:pt x="1957" y="1"/>
                    <a:pt x="1122" y="569"/>
                    <a:pt x="667" y="1099"/>
                  </a:cubicBezTo>
                  <a:cubicBezTo>
                    <a:pt x="0" y="1866"/>
                    <a:pt x="100" y="2933"/>
                    <a:pt x="1134" y="3067"/>
                  </a:cubicBezTo>
                  <a:cubicBezTo>
                    <a:pt x="1268" y="3083"/>
                    <a:pt x="1401" y="3092"/>
                    <a:pt x="1534" y="3092"/>
                  </a:cubicBezTo>
                  <a:cubicBezTo>
                    <a:pt x="2198" y="3092"/>
                    <a:pt x="2847" y="2883"/>
                    <a:pt x="3403" y="2466"/>
                  </a:cubicBezTo>
                  <a:cubicBezTo>
                    <a:pt x="4203" y="1866"/>
                    <a:pt x="4303" y="732"/>
                    <a:pt x="3436" y="198"/>
                  </a:cubicBezTo>
                  <a:cubicBezTo>
                    <a:pt x="3217" y="60"/>
                    <a:pt x="2975" y="1"/>
                    <a:pt x="2727" y="1"/>
                  </a:cubicBezTo>
                  <a:close/>
                </a:path>
              </a:pathLst>
            </a:custGeom>
            <a:solidFill>
              <a:srgbClr val="B55B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 name="Google Shape;961;p39">
              <a:extLst>
                <a:ext uri="{FF2B5EF4-FFF2-40B4-BE49-F238E27FC236}">
                  <a16:creationId xmlns:a16="http://schemas.microsoft.com/office/drawing/2014/main" id="{AF154175-23BF-CD69-FF06-8E31A17568EE}"/>
                </a:ext>
              </a:extLst>
            </p:cNvPr>
            <p:cNvSpPr/>
            <p:nvPr/>
          </p:nvSpPr>
          <p:spPr>
            <a:xfrm flipH="1">
              <a:off x="1907848" y="2667071"/>
              <a:ext cx="353457" cy="2113929"/>
            </a:xfrm>
            <a:custGeom>
              <a:avLst/>
              <a:gdLst/>
              <a:ahLst/>
              <a:cxnLst/>
              <a:rect l="l" t="t" r="r" b="b"/>
              <a:pathLst>
                <a:path w="12343" h="73820" extrusionOk="0">
                  <a:moveTo>
                    <a:pt x="1035" y="0"/>
                  </a:moveTo>
                  <a:cubicBezTo>
                    <a:pt x="1035" y="0"/>
                    <a:pt x="0" y="24051"/>
                    <a:pt x="101" y="33858"/>
                  </a:cubicBezTo>
                  <a:cubicBezTo>
                    <a:pt x="234" y="44065"/>
                    <a:pt x="2969" y="73820"/>
                    <a:pt x="2969" y="73820"/>
                  </a:cubicBezTo>
                  <a:lnTo>
                    <a:pt x="8440" y="73820"/>
                  </a:lnTo>
                  <a:cubicBezTo>
                    <a:pt x="8440" y="73820"/>
                    <a:pt x="9441" y="44665"/>
                    <a:pt x="9908" y="34625"/>
                  </a:cubicBezTo>
                  <a:cubicBezTo>
                    <a:pt x="10441" y="23717"/>
                    <a:pt x="12343" y="0"/>
                    <a:pt x="12343"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 name="Google Shape;962;p39">
              <a:extLst>
                <a:ext uri="{FF2B5EF4-FFF2-40B4-BE49-F238E27FC236}">
                  <a16:creationId xmlns:a16="http://schemas.microsoft.com/office/drawing/2014/main" id="{2EC3173D-5937-BE49-9064-17E3B304B362}"/>
                </a:ext>
              </a:extLst>
            </p:cNvPr>
            <p:cNvSpPr/>
            <p:nvPr/>
          </p:nvSpPr>
          <p:spPr>
            <a:xfrm flipH="1">
              <a:off x="2008132" y="4726535"/>
              <a:ext cx="188226" cy="57330"/>
            </a:xfrm>
            <a:custGeom>
              <a:avLst/>
              <a:gdLst/>
              <a:ahLst/>
              <a:cxnLst/>
              <a:rect l="l" t="t" r="r" b="b"/>
              <a:pathLst>
                <a:path w="6573" h="2002" extrusionOk="0">
                  <a:moveTo>
                    <a:pt x="1" y="0"/>
                  </a:moveTo>
                  <a:lnTo>
                    <a:pt x="234" y="2002"/>
                  </a:lnTo>
                  <a:lnTo>
                    <a:pt x="6505" y="2002"/>
                  </a:lnTo>
                  <a:cubicBezTo>
                    <a:pt x="6505" y="2002"/>
                    <a:pt x="6572" y="234"/>
                    <a:pt x="6572" y="234"/>
                  </a:cubicBezTo>
                  <a:lnTo>
                    <a:pt x="1" y="0"/>
                  </a:lnTo>
                  <a:close/>
                </a:path>
              </a:pathLst>
            </a:custGeom>
            <a:solidFill>
              <a:srgbClr val="263238"/>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 name="Google Shape;963;p39">
              <a:extLst>
                <a:ext uri="{FF2B5EF4-FFF2-40B4-BE49-F238E27FC236}">
                  <a16:creationId xmlns:a16="http://schemas.microsoft.com/office/drawing/2014/main" id="{0C41A26C-A664-7AD3-3AC7-0AF8CF15109C}"/>
                </a:ext>
              </a:extLst>
            </p:cNvPr>
            <p:cNvSpPr/>
            <p:nvPr/>
          </p:nvSpPr>
          <p:spPr>
            <a:xfrm flipH="1">
              <a:off x="1934594" y="2849513"/>
              <a:ext cx="91722" cy="716451"/>
            </a:xfrm>
            <a:custGeom>
              <a:avLst/>
              <a:gdLst/>
              <a:ahLst/>
              <a:cxnLst/>
              <a:rect l="l" t="t" r="r" b="b"/>
              <a:pathLst>
                <a:path w="3203" h="25019" extrusionOk="0">
                  <a:moveTo>
                    <a:pt x="200" y="0"/>
                  </a:moveTo>
                  <a:cubicBezTo>
                    <a:pt x="0" y="11942"/>
                    <a:pt x="567" y="19181"/>
                    <a:pt x="1868" y="25018"/>
                  </a:cubicBezTo>
                  <a:cubicBezTo>
                    <a:pt x="2202" y="19314"/>
                    <a:pt x="2736" y="11809"/>
                    <a:pt x="3203" y="5538"/>
                  </a:cubicBezTo>
                  <a:lnTo>
                    <a:pt x="200" y="0"/>
                  </a:lnTo>
                  <a:close/>
                </a:path>
              </a:pathLst>
            </a:custGeom>
            <a:solidFill>
              <a:srgbClr val="2F9C8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 name="Google Shape;964;p39">
              <a:extLst>
                <a:ext uri="{FF2B5EF4-FFF2-40B4-BE49-F238E27FC236}">
                  <a16:creationId xmlns:a16="http://schemas.microsoft.com/office/drawing/2014/main" id="{FAA714CD-6D81-1335-DCAE-7C07EC675F0D}"/>
                </a:ext>
              </a:extLst>
            </p:cNvPr>
            <p:cNvSpPr/>
            <p:nvPr/>
          </p:nvSpPr>
          <p:spPr>
            <a:xfrm flipH="1">
              <a:off x="1480852" y="2667071"/>
              <a:ext cx="576047" cy="2113929"/>
            </a:xfrm>
            <a:custGeom>
              <a:avLst/>
              <a:gdLst/>
              <a:ahLst/>
              <a:cxnLst/>
              <a:rect l="l" t="t" r="r" b="b"/>
              <a:pathLst>
                <a:path w="20116" h="73820" extrusionOk="0">
                  <a:moveTo>
                    <a:pt x="1" y="0"/>
                  </a:moveTo>
                  <a:cubicBezTo>
                    <a:pt x="1" y="0"/>
                    <a:pt x="3036" y="24584"/>
                    <a:pt x="4838" y="33758"/>
                  </a:cubicBezTo>
                  <a:cubicBezTo>
                    <a:pt x="6772" y="43865"/>
                    <a:pt x="14211" y="73820"/>
                    <a:pt x="14211" y="73820"/>
                  </a:cubicBezTo>
                  <a:lnTo>
                    <a:pt x="20115" y="73820"/>
                  </a:lnTo>
                  <a:cubicBezTo>
                    <a:pt x="20115" y="73820"/>
                    <a:pt x="15445" y="44699"/>
                    <a:pt x="14478" y="34692"/>
                  </a:cubicBezTo>
                  <a:cubicBezTo>
                    <a:pt x="13377" y="23850"/>
                    <a:pt x="11142" y="0"/>
                    <a:pt x="11142"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 name="Google Shape;965;p39">
              <a:extLst>
                <a:ext uri="{FF2B5EF4-FFF2-40B4-BE49-F238E27FC236}">
                  <a16:creationId xmlns:a16="http://schemas.microsoft.com/office/drawing/2014/main" id="{79050C22-A88B-3F52-345D-7094B3835321}"/>
                </a:ext>
              </a:extLst>
            </p:cNvPr>
            <p:cNvSpPr/>
            <p:nvPr/>
          </p:nvSpPr>
          <p:spPr>
            <a:xfrm flipH="1">
              <a:off x="1472261" y="4729398"/>
              <a:ext cx="200626" cy="54466"/>
            </a:xfrm>
            <a:custGeom>
              <a:avLst/>
              <a:gdLst/>
              <a:ahLst/>
              <a:cxnLst/>
              <a:rect l="l" t="t" r="r" b="b"/>
              <a:pathLst>
                <a:path w="7006" h="1902" extrusionOk="0">
                  <a:moveTo>
                    <a:pt x="0" y="0"/>
                  </a:moveTo>
                  <a:lnTo>
                    <a:pt x="501" y="1902"/>
                  </a:lnTo>
                  <a:lnTo>
                    <a:pt x="7005" y="1902"/>
                  </a:lnTo>
                  <a:cubicBezTo>
                    <a:pt x="7005" y="1902"/>
                    <a:pt x="6772" y="267"/>
                    <a:pt x="6739" y="267"/>
                  </a:cubicBezTo>
                  <a:lnTo>
                    <a:pt x="0" y="0"/>
                  </a:ln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 name="Google Shape;966;p39">
              <a:extLst>
                <a:ext uri="{FF2B5EF4-FFF2-40B4-BE49-F238E27FC236}">
                  <a16:creationId xmlns:a16="http://schemas.microsoft.com/office/drawing/2014/main" id="{3F5D338C-FA00-DE29-CB47-408FC8A058D9}"/>
                </a:ext>
              </a:extLst>
            </p:cNvPr>
            <p:cNvSpPr/>
            <p:nvPr/>
          </p:nvSpPr>
          <p:spPr>
            <a:xfrm flipH="1">
              <a:off x="1544854" y="2766410"/>
              <a:ext cx="237881" cy="1915251"/>
            </a:xfrm>
            <a:custGeom>
              <a:avLst/>
              <a:gdLst/>
              <a:ahLst/>
              <a:cxnLst/>
              <a:rect l="l" t="t" r="r" b="b"/>
              <a:pathLst>
                <a:path w="8307" h="66882" extrusionOk="0">
                  <a:moveTo>
                    <a:pt x="67" y="0"/>
                  </a:moveTo>
                  <a:cubicBezTo>
                    <a:pt x="34" y="0"/>
                    <a:pt x="0" y="34"/>
                    <a:pt x="0" y="67"/>
                  </a:cubicBezTo>
                  <a:cubicBezTo>
                    <a:pt x="34" y="300"/>
                    <a:pt x="2069" y="21883"/>
                    <a:pt x="3069" y="31589"/>
                  </a:cubicBezTo>
                  <a:cubicBezTo>
                    <a:pt x="3970" y="40563"/>
                    <a:pt x="8140" y="66514"/>
                    <a:pt x="8206" y="66815"/>
                  </a:cubicBezTo>
                  <a:cubicBezTo>
                    <a:pt x="8206" y="66848"/>
                    <a:pt x="8206" y="66881"/>
                    <a:pt x="8240" y="66881"/>
                  </a:cubicBezTo>
                  <a:lnTo>
                    <a:pt x="8273" y="66881"/>
                  </a:lnTo>
                  <a:cubicBezTo>
                    <a:pt x="8273" y="66848"/>
                    <a:pt x="8306" y="66848"/>
                    <a:pt x="8306" y="66815"/>
                  </a:cubicBezTo>
                  <a:cubicBezTo>
                    <a:pt x="8273" y="66514"/>
                    <a:pt x="4070" y="40563"/>
                    <a:pt x="3169" y="31589"/>
                  </a:cubicBezTo>
                  <a:cubicBezTo>
                    <a:pt x="2169" y="21849"/>
                    <a:pt x="134" y="267"/>
                    <a:pt x="134" y="67"/>
                  </a:cubicBezTo>
                  <a:cubicBezTo>
                    <a:pt x="100" y="34"/>
                    <a:pt x="100" y="0"/>
                    <a:pt x="67" y="0"/>
                  </a:cubicBez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 name="Google Shape;967;p39">
              <a:extLst>
                <a:ext uri="{FF2B5EF4-FFF2-40B4-BE49-F238E27FC236}">
                  <a16:creationId xmlns:a16="http://schemas.microsoft.com/office/drawing/2014/main" id="{5374A330-F153-2DEC-A108-A9A13D138E9C}"/>
                </a:ext>
              </a:extLst>
            </p:cNvPr>
            <p:cNvSpPr/>
            <p:nvPr/>
          </p:nvSpPr>
          <p:spPr>
            <a:xfrm flipH="1">
              <a:off x="1947967" y="1553722"/>
              <a:ext cx="21993" cy="25859"/>
            </a:xfrm>
            <a:custGeom>
              <a:avLst/>
              <a:gdLst/>
              <a:ahLst/>
              <a:cxnLst/>
              <a:rect l="l" t="t" r="r" b="b"/>
              <a:pathLst>
                <a:path w="768" h="903" extrusionOk="0">
                  <a:moveTo>
                    <a:pt x="479" y="1"/>
                  </a:moveTo>
                  <a:cubicBezTo>
                    <a:pt x="335" y="1"/>
                    <a:pt x="183" y="130"/>
                    <a:pt x="100" y="351"/>
                  </a:cubicBezTo>
                  <a:cubicBezTo>
                    <a:pt x="0" y="585"/>
                    <a:pt x="67" y="818"/>
                    <a:pt x="201" y="885"/>
                  </a:cubicBezTo>
                  <a:cubicBezTo>
                    <a:pt x="229" y="897"/>
                    <a:pt x="259" y="902"/>
                    <a:pt x="289" y="902"/>
                  </a:cubicBezTo>
                  <a:cubicBezTo>
                    <a:pt x="433" y="902"/>
                    <a:pt x="585" y="773"/>
                    <a:pt x="668" y="552"/>
                  </a:cubicBezTo>
                  <a:cubicBezTo>
                    <a:pt x="768" y="318"/>
                    <a:pt x="734" y="85"/>
                    <a:pt x="567" y="18"/>
                  </a:cubicBezTo>
                  <a:cubicBezTo>
                    <a:pt x="539" y="6"/>
                    <a:pt x="509" y="1"/>
                    <a:pt x="479"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 name="Google Shape;968;p39">
              <a:extLst>
                <a:ext uri="{FF2B5EF4-FFF2-40B4-BE49-F238E27FC236}">
                  <a16:creationId xmlns:a16="http://schemas.microsoft.com/office/drawing/2014/main" id="{EF5BB90C-5B5C-254D-B12F-352446AE85F7}"/>
                </a:ext>
              </a:extLst>
            </p:cNvPr>
            <p:cNvSpPr/>
            <p:nvPr/>
          </p:nvSpPr>
          <p:spPr>
            <a:xfrm flipH="1">
              <a:off x="2026287" y="1524169"/>
              <a:ext cx="21993" cy="26689"/>
            </a:xfrm>
            <a:custGeom>
              <a:avLst/>
              <a:gdLst/>
              <a:ahLst/>
              <a:cxnLst/>
              <a:rect l="l" t="t" r="r" b="b"/>
              <a:pathLst>
                <a:path w="768" h="932" extrusionOk="0">
                  <a:moveTo>
                    <a:pt x="490" y="1"/>
                  </a:moveTo>
                  <a:cubicBezTo>
                    <a:pt x="342" y="1"/>
                    <a:pt x="185" y="151"/>
                    <a:pt x="100" y="349"/>
                  </a:cubicBezTo>
                  <a:cubicBezTo>
                    <a:pt x="0" y="616"/>
                    <a:pt x="67" y="850"/>
                    <a:pt x="234" y="916"/>
                  </a:cubicBezTo>
                  <a:cubicBezTo>
                    <a:pt x="254" y="927"/>
                    <a:pt x="276" y="931"/>
                    <a:pt x="300" y="931"/>
                  </a:cubicBezTo>
                  <a:cubicBezTo>
                    <a:pt x="434" y="931"/>
                    <a:pt x="611" y="781"/>
                    <a:pt x="667" y="583"/>
                  </a:cubicBezTo>
                  <a:cubicBezTo>
                    <a:pt x="767" y="316"/>
                    <a:pt x="734" y="116"/>
                    <a:pt x="567" y="16"/>
                  </a:cubicBezTo>
                  <a:cubicBezTo>
                    <a:pt x="542" y="6"/>
                    <a:pt x="516" y="1"/>
                    <a:pt x="490"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 name="Google Shape;969;p39">
              <a:extLst>
                <a:ext uri="{FF2B5EF4-FFF2-40B4-BE49-F238E27FC236}">
                  <a16:creationId xmlns:a16="http://schemas.microsoft.com/office/drawing/2014/main" id="{7D7E5AB8-7D28-0B64-EDE9-CF2B2A96DD73}"/>
                </a:ext>
              </a:extLst>
            </p:cNvPr>
            <p:cNvSpPr/>
            <p:nvPr/>
          </p:nvSpPr>
          <p:spPr>
            <a:xfrm flipH="1">
              <a:off x="2005268" y="1553264"/>
              <a:ext cx="56385" cy="66894"/>
            </a:xfrm>
            <a:custGeom>
              <a:avLst/>
              <a:gdLst/>
              <a:ahLst/>
              <a:cxnLst/>
              <a:rect l="l" t="t" r="r" b="b"/>
              <a:pathLst>
                <a:path w="1969" h="2336" extrusionOk="0">
                  <a:moveTo>
                    <a:pt x="1968" y="1"/>
                  </a:moveTo>
                  <a:lnTo>
                    <a:pt x="1968" y="1"/>
                  </a:lnTo>
                  <a:cubicBezTo>
                    <a:pt x="1401" y="634"/>
                    <a:pt x="734" y="1201"/>
                    <a:pt x="0" y="1668"/>
                  </a:cubicBezTo>
                  <a:cubicBezTo>
                    <a:pt x="234" y="2035"/>
                    <a:pt x="634" y="2269"/>
                    <a:pt x="1068" y="2336"/>
                  </a:cubicBezTo>
                  <a:lnTo>
                    <a:pt x="1968" y="1"/>
                  </a:lnTo>
                  <a:close/>
                </a:path>
              </a:pathLst>
            </a:custGeom>
            <a:solidFill>
              <a:srgbClr val="A0272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 name="Google Shape;970;p39">
              <a:extLst>
                <a:ext uri="{FF2B5EF4-FFF2-40B4-BE49-F238E27FC236}">
                  <a16:creationId xmlns:a16="http://schemas.microsoft.com/office/drawing/2014/main" id="{8329A0BD-A7A9-7772-1CA6-E318A63E8BB5}"/>
                </a:ext>
              </a:extLst>
            </p:cNvPr>
            <p:cNvSpPr/>
            <p:nvPr/>
          </p:nvSpPr>
          <p:spPr>
            <a:xfrm flipH="1">
              <a:off x="1960395" y="1636595"/>
              <a:ext cx="60193" cy="13946"/>
            </a:xfrm>
            <a:custGeom>
              <a:avLst/>
              <a:gdLst/>
              <a:ahLst/>
              <a:cxnLst/>
              <a:rect l="l" t="t" r="r" b="b"/>
              <a:pathLst>
                <a:path w="2102" h="487" extrusionOk="0">
                  <a:moveTo>
                    <a:pt x="2019" y="1"/>
                  </a:moveTo>
                  <a:cubicBezTo>
                    <a:pt x="2002" y="1"/>
                    <a:pt x="1985" y="9"/>
                    <a:pt x="1969" y="26"/>
                  </a:cubicBezTo>
                  <a:cubicBezTo>
                    <a:pt x="1627" y="227"/>
                    <a:pt x="1249" y="331"/>
                    <a:pt x="871" y="331"/>
                  </a:cubicBezTo>
                  <a:cubicBezTo>
                    <a:pt x="622" y="331"/>
                    <a:pt x="373" y="286"/>
                    <a:pt x="134" y="193"/>
                  </a:cubicBezTo>
                  <a:cubicBezTo>
                    <a:pt x="114" y="183"/>
                    <a:pt x="98" y="179"/>
                    <a:pt x="84" y="179"/>
                  </a:cubicBezTo>
                  <a:cubicBezTo>
                    <a:pt x="51" y="179"/>
                    <a:pt x="34" y="203"/>
                    <a:pt x="34" y="226"/>
                  </a:cubicBezTo>
                  <a:cubicBezTo>
                    <a:pt x="0" y="259"/>
                    <a:pt x="34" y="293"/>
                    <a:pt x="67" y="326"/>
                  </a:cubicBezTo>
                  <a:cubicBezTo>
                    <a:pt x="334" y="433"/>
                    <a:pt x="612" y="486"/>
                    <a:pt x="887" y="486"/>
                  </a:cubicBezTo>
                  <a:cubicBezTo>
                    <a:pt x="1300" y="486"/>
                    <a:pt x="1708" y="366"/>
                    <a:pt x="2069" y="126"/>
                  </a:cubicBezTo>
                  <a:cubicBezTo>
                    <a:pt x="2102" y="93"/>
                    <a:pt x="2102" y="26"/>
                    <a:pt x="2069" y="26"/>
                  </a:cubicBezTo>
                  <a:cubicBezTo>
                    <a:pt x="2052" y="9"/>
                    <a:pt x="2035" y="1"/>
                    <a:pt x="2019"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 name="Google Shape;971;p39">
              <a:extLst>
                <a:ext uri="{FF2B5EF4-FFF2-40B4-BE49-F238E27FC236}">
                  <a16:creationId xmlns:a16="http://schemas.microsoft.com/office/drawing/2014/main" id="{39C733FF-9486-3A85-7143-9D805A124893}"/>
                </a:ext>
              </a:extLst>
            </p:cNvPr>
            <p:cNvSpPr/>
            <p:nvPr/>
          </p:nvSpPr>
          <p:spPr>
            <a:xfrm flipH="1">
              <a:off x="1910711" y="1517669"/>
              <a:ext cx="33447" cy="35624"/>
            </a:xfrm>
            <a:custGeom>
              <a:avLst/>
              <a:gdLst/>
              <a:ahLst/>
              <a:cxnLst/>
              <a:rect l="l" t="t" r="r" b="b"/>
              <a:pathLst>
                <a:path w="1168" h="1244" extrusionOk="0">
                  <a:moveTo>
                    <a:pt x="182" y="0"/>
                  </a:moveTo>
                  <a:cubicBezTo>
                    <a:pt x="110" y="0"/>
                    <a:pt x="61" y="55"/>
                    <a:pt x="33" y="109"/>
                  </a:cubicBezTo>
                  <a:cubicBezTo>
                    <a:pt x="0" y="176"/>
                    <a:pt x="33" y="276"/>
                    <a:pt x="133" y="310"/>
                  </a:cubicBezTo>
                  <a:cubicBezTo>
                    <a:pt x="500" y="443"/>
                    <a:pt x="767" y="743"/>
                    <a:pt x="834" y="1143"/>
                  </a:cubicBezTo>
                  <a:cubicBezTo>
                    <a:pt x="867" y="1177"/>
                    <a:pt x="901" y="1210"/>
                    <a:pt x="934" y="1244"/>
                  </a:cubicBezTo>
                  <a:cubicBezTo>
                    <a:pt x="967" y="1244"/>
                    <a:pt x="1001" y="1244"/>
                    <a:pt x="1034" y="1210"/>
                  </a:cubicBezTo>
                  <a:cubicBezTo>
                    <a:pt x="1101" y="1177"/>
                    <a:pt x="1168" y="1110"/>
                    <a:pt x="1134" y="1043"/>
                  </a:cubicBezTo>
                  <a:cubicBezTo>
                    <a:pt x="1034" y="543"/>
                    <a:pt x="667" y="176"/>
                    <a:pt x="234" y="9"/>
                  </a:cubicBezTo>
                  <a:cubicBezTo>
                    <a:pt x="215" y="3"/>
                    <a:pt x="198" y="0"/>
                    <a:pt x="182"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 name="Google Shape;972;p39">
              <a:extLst>
                <a:ext uri="{FF2B5EF4-FFF2-40B4-BE49-F238E27FC236}">
                  <a16:creationId xmlns:a16="http://schemas.microsoft.com/office/drawing/2014/main" id="{440FB192-01F7-6249-F97B-3A0F809AB19D}"/>
                </a:ext>
              </a:extLst>
            </p:cNvPr>
            <p:cNvSpPr/>
            <p:nvPr/>
          </p:nvSpPr>
          <p:spPr>
            <a:xfrm flipH="1">
              <a:off x="2010996" y="1481530"/>
              <a:ext cx="45904" cy="18270"/>
            </a:xfrm>
            <a:custGeom>
              <a:avLst/>
              <a:gdLst/>
              <a:ahLst/>
              <a:cxnLst/>
              <a:rect l="l" t="t" r="r" b="b"/>
              <a:pathLst>
                <a:path w="1603" h="638" extrusionOk="0">
                  <a:moveTo>
                    <a:pt x="1103" y="0"/>
                  </a:moveTo>
                  <a:cubicBezTo>
                    <a:pt x="731" y="0"/>
                    <a:pt x="378" y="119"/>
                    <a:pt x="101" y="371"/>
                  </a:cubicBezTo>
                  <a:cubicBezTo>
                    <a:pt x="1" y="437"/>
                    <a:pt x="34" y="571"/>
                    <a:pt x="134" y="638"/>
                  </a:cubicBezTo>
                  <a:cubicBezTo>
                    <a:pt x="201" y="638"/>
                    <a:pt x="268" y="638"/>
                    <a:pt x="301" y="604"/>
                  </a:cubicBezTo>
                  <a:cubicBezTo>
                    <a:pt x="525" y="405"/>
                    <a:pt x="804" y="299"/>
                    <a:pt x="1083" y="299"/>
                  </a:cubicBezTo>
                  <a:cubicBezTo>
                    <a:pt x="1179" y="299"/>
                    <a:pt x="1275" y="312"/>
                    <a:pt x="1369" y="337"/>
                  </a:cubicBezTo>
                  <a:cubicBezTo>
                    <a:pt x="1469" y="337"/>
                    <a:pt x="1535" y="304"/>
                    <a:pt x="1569" y="237"/>
                  </a:cubicBezTo>
                  <a:cubicBezTo>
                    <a:pt x="1602" y="137"/>
                    <a:pt x="1535" y="70"/>
                    <a:pt x="1469" y="37"/>
                  </a:cubicBezTo>
                  <a:cubicBezTo>
                    <a:pt x="1346" y="13"/>
                    <a:pt x="1223" y="0"/>
                    <a:pt x="1103"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 name="Google Shape;973;p39">
              <a:extLst>
                <a:ext uri="{FF2B5EF4-FFF2-40B4-BE49-F238E27FC236}">
                  <a16:creationId xmlns:a16="http://schemas.microsoft.com/office/drawing/2014/main" id="{AE4C7FD6-CE6E-88EF-BE1D-996D963AB804}"/>
                </a:ext>
              </a:extLst>
            </p:cNvPr>
            <p:cNvSpPr/>
            <p:nvPr/>
          </p:nvSpPr>
          <p:spPr>
            <a:xfrm flipH="1">
              <a:off x="1206717" y="1976422"/>
              <a:ext cx="564564" cy="491914"/>
            </a:xfrm>
            <a:custGeom>
              <a:avLst/>
              <a:gdLst/>
              <a:ahLst/>
              <a:cxnLst/>
              <a:rect l="l" t="t" r="r" b="b"/>
              <a:pathLst>
                <a:path w="19715" h="17178" extrusionOk="0">
                  <a:moveTo>
                    <a:pt x="4504" y="1"/>
                  </a:moveTo>
                  <a:lnTo>
                    <a:pt x="1" y="1435"/>
                  </a:lnTo>
                  <a:cubicBezTo>
                    <a:pt x="1" y="1435"/>
                    <a:pt x="3270" y="11409"/>
                    <a:pt x="6705" y="14478"/>
                  </a:cubicBezTo>
                  <a:cubicBezTo>
                    <a:pt x="7931" y="15594"/>
                    <a:pt x="13245" y="17177"/>
                    <a:pt x="17206" y="17177"/>
                  </a:cubicBezTo>
                  <a:cubicBezTo>
                    <a:pt x="18098" y="17177"/>
                    <a:pt x="18922" y="17097"/>
                    <a:pt x="19615" y="16913"/>
                  </a:cubicBezTo>
                  <a:cubicBezTo>
                    <a:pt x="19715" y="16446"/>
                    <a:pt x="19314" y="15078"/>
                    <a:pt x="19014" y="14645"/>
                  </a:cubicBezTo>
                  <a:cubicBezTo>
                    <a:pt x="16412" y="14111"/>
                    <a:pt x="12209" y="11909"/>
                    <a:pt x="10141" y="11075"/>
                  </a:cubicBezTo>
                  <a:cubicBezTo>
                    <a:pt x="8607" y="10475"/>
                    <a:pt x="4504" y="1"/>
                    <a:pt x="4504" y="1"/>
                  </a:cubicBezTo>
                  <a:close/>
                </a:path>
              </a:pathLst>
            </a:custGeom>
            <a:solidFill>
              <a:srgbClr val="B55B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 name="Google Shape;974;p39">
              <a:extLst>
                <a:ext uri="{FF2B5EF4-FFF2-40B4-BE49-F238E27FC236}">
                  <a16:creationId xmlns:a16="http://schemas.microsoft.com/office/drawing/2014/main" id="{AAA53DFC-7B28-987C-C6AD-D6C19BF9F506}"/>
                </a:ext>
              </a:extLst>
            </p:cNvPr>
            <p:cNvSpPr/>
            <p:nvPr/>
          </p:nvSpPr>
          <p:spPr>
            <a:xfrm flipH="1">
              <a:off x="1511436" y="1864912"/>
              <a:ext cx="334987" cy="419120"/>
            </a:xfrm>
            <a:custGeom>
              <a:avLst/>
              <a:gdLst/>
              <a:ahLst/>
              <a:cxnLst/>
              <a:rect l="l" t="t" r="r" b="b"/>
              <a:pathLst>
                <a:path w="11698" h="14636" extrusionOk="0">
                  <a:moveTo>
                    <a:pt x="4667" y="1"/>
                  </a:moveTo>
                  <a:cubicBezTo>
                    <a:pt x="1834" y="1"/>
                    <a:pt x="0" y="2318"/>
                    <a:pt x="1224" y="5896"/>
                  </a:cubicBezTo>
                  <a:cubicBezTo>
                    <a:pt x="2525" y="9632"/>
                    <a:pt x="5227" y="14636"/>
                    <a:pt x="5227" y="14636"/>
                  </a:cubicBezTo>
                  <a:lnTo>
                    <a:pt x="11698" y="11033"/>
                  </a:lnTo>
                  <a:cubicBezTo>
                    <a:pt x="11698" y="11033"/>
                    <a:pt x="8462" y="492"/>
                    <a:pt x="5460" y="59"/>
                  </a:cubicBezTo>
                  <a:cubicBezTo>
                    <a:pt x="5189" y="20"/>
                    <a:pt x="4924" y="1"/>
                    <a:pt x="4667"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 name="Google Shape;975;p39">
              <a:extLst>
                <a:ext uri="{FF2B5EF4-FFF2-40B4-BE49-F238E27FC236}">
                  <a16:creationId xmlns:a16="http://schemas.microsoft.com/office/drawing/2014/main" id="{BBC43686-0798-E3BE-7328-5BBBEFEEF0A6}"/>
                </a:ext>
              </a:extLst>
            </p:cNvPr>
            <p:cNvSpPr/>
            <p:nvPr/>
          </p:nvSpPr>
          <p:spPr>
            <a:xfrm flipH="1">
              <a:off x="1598347" y="4887155"/>
              <a:ext cx="48739" cy="23997"/>
            </a:xfrm>
            <a:custGeom>
              <a:avLst/>
              <a:gdLst/>
              <a:ahLst/>
              <a:cxnLst/>
              <a:rect l="l" t="t" r="r" b="b"/>
              <a:pathLst>
                <a:path w="1702" h="838" extrusionOk="0">
                  <a:moveTo>
                    <a:pt x="334" y="162"/>
                  </a:moveTo>
                  <a:cubicBezTo>
                    <a:pt x="701" y="229"/>
                    <a:pt x="1068" y="362"/>
                    <a:pt x="1401" y="596"/>
                  </a:cubicBezTo>
                  <a:cubicBezTo>
                    <a:pt x="1241" y="639"/>
                    <a:pt x="1074" y="664"/>
                    <a:pt x="907" y="664"/>
                  </a:cubicBezTo>
                  <a:cubicBezTo>
                    <a:pt x="691" y="664"/>
                    <a:pt x="474" y="623"/>
                    <a:pt x="267" y="529"/>
                  </a:cubicBezTo>
                  <a:cubicBezTo>
                    <a:pt x="200" y="462"/>
                    <a:pt x="167" y="362"/>
                    <a:pt x="167" y="262"/>
                  </a:cubicBezTo>
                  <a:cubicBezTo>
                    <a:pt x="167" y="195"/>
                    <a:pt x="200" y="162"/>
                    <a:pt x="234" y="162"/>
                  </a:cubicBezTo>
                  <a:close/>
                  <a:moveTo>
                    <a:pt x="308" y="1"/>
                  </a:moveTo>
                  <a:cubicBezTo>
                    <a:pt x="253" y="1"/>
                    <a:pt x="205" y="9"/>
                    <a:pt x="167" y="29"/>
                  </a:cubicBezTo>
                  <a:cubicBezTo>
                    <a:pt x="67" y="62"/>
                    <a:pt x="33" y="162"/>
                    <a:pt x="33" y="262"/>
                  </a:cubicBezTo>
                  <a:cubicBezTo>
                    <a:pt x="0" y="395"/>
                    <a:pt x="33" y="562"/>
                    <a:pt x="167" y="662"/>
                  </a:cubicBezTo>
                  <a:cubicBezTo>
                    <a:pt x="333" y="773"/>
                    <a:pt x="499" y="838"/>
                    <a:pt x="683" y="838"/>
                  </a:cubicBezTo>
                  <a:cubicBezTo>
                    <a:pt x="722" y="838"/>
                    <a:pt x="761" y="835"/>
                    <a:pt x="801" y="829"/>
                  </a:cubicBezTo>
                  <a:cubicBezTo>
                    <a:pt x="1068" y="829"/>
                    <a:pt x="1368" y="762"/>
                    <a:pt x="1635" y="696"/>
                  </a:cubicBezTo>
                  <a:cubicBezTo>
                    <a:pt x="1668" y="696"/>
                    <a:pt x="1668" y="662"/>
                    <a:pt x="1701" y="629"/>
                  </a:cubicBezTo>
                  <a:cubicBezTo>
                    <a:pt x="1701" y="596"/>
                    <a:pt x="1668" y="562"/>
                    <a:pt x="1668" y="562"/>
                  </a:cubicBezTo>
                  <a:cubicBezTo>
                    <a:pt x="1550" y="503"/>
                    <a:pt x="727" y="1"/>
                    <a:pt x="308" y="1"/>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 name="Google Shape;976;p39">
              <a:extLst>
                <a:ext uri="{FF2B5EF4-FFF2-40B4-BE49-F238E27FC236}">
                  <a16:creationId xmlns:a16="http://schemas.microsoft.com/office/drawing/2014/main" id="{FFA1753E-090C-1C54-72C2-8EB6A299C9C7}"/>
                </a:ext>
              </a:extLst>
            </p:cNvPr>
            <p:cNvSpPr/>
            <p:nvPr/>
          </p:nvSpPr>
          <p:spPr>
            <a:xfrm flipH="1">
              <a:off x="1598347" y="4865993"/>
              <a:ext cx="30612" cy="42067"/>
            </a:xfrm>
            <a:custGeom>
              <a:avLst/>
              <a:gdLst/>
              <a:ahLst/>
              <a:cxnLst/>
              <a:rect l="l" t="t" r="r" b="b"/>
              <a:pathLst>
                <a:path w="1069" h="1469" extrusionOk="0">
                  <a:moveTo>
                    <a:pt x="405" y="153"/>
                  </a:moveTo>
                  <a:cubicBezTo>
                    <a:pt x="440" y="153"/>
                    <a:pt x="487" y="177"/>
                    <a:pt x="535" y="200"/>
                  </a:cubicBezTo>
                  <a:cubicBezTo>
                    <a:pt x="735" y="501"/>
                    <a:pt x="868" y="868"/>
                    <a:pt x="868" y="1235"/>
                  </a:cubicBezTo>
                  <a:cubicBezTo>
                    <a:pt x="568" y="968"/>
                    <a:pt x="168" y="434"/>
                    <a:pt x="201" y="234"/>
                  </a:cubicBezTo>
                  <a:cubicBezTo>
                    <a:pt x="201" y="200"/>
                    <a:pt x="234" y="167"/>
                    <a:pt x="334" y="167"/>
                  </a:cubicBezTo>
                  <a:lnTo>
                    <a:pt x="368" y="167"/>
                  </a:lnTo>
                  <a:cubicBezTo>
                    <a:pt x="378" y="157"/>
                    <a:pt x="390" y="153"/>
                    <a:pt x="405" y="153"/>
                  </a:cubicBezTo>
                  <a:close/>
                  <a:moveTo>
                    <a:pt x="301" y="0"/>
                  </a:moveTo>
                  <a:cubicBezTo>
                    <a:pt x="201" y="0"/>
                    <a:pt x="101" y="100"/>
                    <a:pt x="68" y="200"/>
                  </a:cubicBezTo>
                  <a:cubicBezTo>
                    <a:pt x="1" y="567"/>
                    <a:pt x="601" y="1268"/>
                    <a:pt x="935" y="1468"/>
                  </a:cubicBezTo>
                  <a:lnTo>
                    <a:pt x="968" y="1468"/>
                  </a:lnTo>
                  <a:cubicBezTo>
                    <a:pt x="1002" y="1468"/>
                    <a:pt x="1002" y="1468"/>
                    <a:pt x="1002" y="1435"/>
                  </a:cubicBezTo>
                  <a:cubicBezTo>
                    <a:pt x="1035" y="1435"/>
                    <a:pt x="1068" y="1401"/>
                    <a:pt x="1035" y="1368"/>
                  </a:cubicBezTo>
                  <a:cubicBezTo>
                    <a:pt x="1035" y="1368"/>
                    <a:pt x="1002" y="401"/>
                    <a:pt x="635" y="100"/>
                  </a:cubicBezTo>
                  <a:cubicBezTo>
                    <a:pt x="535" y="34"/>
                    <a:pt x="435" y="0"/>
                    <a:pt x="301"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 name="Google Shape;977;p39">
              <a:extLst>
                <a:ext uri="{FF2B5EF4-FFF2-40B4-BE49-F238E27FC236}">
                  <a16:creationId xmlns:a16="http://schemas.microsoft.com/office/drawing/2014/main" id="{8CA22B39-0E1E-165C-B63E-979F05136EF1}"/>
                </a:ext>
              </a:extLst>
            </p:cNvPr>
            <p:cNvSpPr/>
            <p:nvPr/>
          </p:nvSpPr>
          <p:spPr>
            <a:xfrm flipH="1">
              <a:off x="2147619" y="4887442"/>
              <a:ext cx="57330" cy="23711"/>
            </a:xfrm>
            <a:custGeom>
              <a:avLst/>
              <a:gdLst/>
              <a:ahLst/>
              <a:cxnLst/>
              <a:rect l="l" t="t" r="r" b="b"/>
              <a:pathLst>
                <a:path w="2002" h="828" extrusionOk="0">
                  <a:moveTo>
                    <a:pt x="367" y="152"/>
                  </a:moveTo>
                  <a:cubicBezTo>
                    <a:pt x="834" y="219"/>
                    <a:pt x="1268" y="385"/>
                    <a:pt x="1702" y="586"/>
                  </a:cubicBezTo>
                  <a:cubicBezTo>
                    <a:pt x="1395" y="641"/>
                    <a:pt x="1130" y="668"/>
                    <a:pt x="910" y="668"/>
                  </a:cubicBezTo>
                  <a:cubicBezTo>
                    <a:pt x="602" y="668"/>
                    <a:pt x="384" y="616"/>
                    <a:pt x="267" y="519"/>
                  </a:cubicBezTo>
                  <a:cubicBezTo>
                    <a:pt x="201" y="452"/>
                    <a:pt x="167" y="352"/>
                    <a:pt x="167" y="252"/>
                  </a:cubicBezTo>
                  <a:cubicBezTo>
                    <a:pt x="167" y="219"/>
                    <a:pt x="201" y="185"/>
                    <a:pt x="234" y="185"/>
                  </a:cubicBezTo>
                  <a:cubicBezTo>
                    <a:pt x="267" y="152"/>
                    <a:pt x="301" y="152"/>
                    <a:pt x="367" y="152"/>
                  </a:cubicBezTo>
                  <a:close/>
                  <a:moveTo>
                    <a:pt x="395" y="1"/>
                  </a:moveTo>
                  <a:cubicBezTo>
                    <a:pt x="302" y="1"/>
                    <a:pt x="224" y="16"/>
                    <a:pt x="167" y="52"/>
                  </a:cubicBezTo>
                  <a:cubicBezTo>
                    <a:pt x="67" y="85"/>
                    <a:pt x="34" y="152"/>
                    <a:pt x="34" y="252"/>
                  </a:cubicBezTo>
                  <a:cubicBezTo>
                    <a:pt x="1" y="385"/>
                    <a:pt x="67" y="519"/>
                    <a:pt x="167" y="619"/>
                  </a:cubicBezTo>
                  <a:cubicBezTo>
                    <a:pt x="334" y="758"/>
                    <a:pt x="570" y="827"/>
                    <a:pt x="799" y="827"/>
                  </a:cubicBezTo>
                  <a:cubicBezTo>
                    <a:pt x="845" y="827"/>
                    <a:pt x="890" y="825"/>
                    <a:pt x="935" y="819"/>
                  </a:cubicBezTo>
                  <a:cubicBezTo>
                    <a:pt x="1268" y="819"/>
                    <a:pt x="1602" y="786"/>
                    <a:pt x="1935" y="686"/>
                  </a:cubicBezTo>
                  <a:cubicBezTo>
                    <a:pt x="1969" y="686"/>
                    <a:pt x="2002" y="686"/>
                    <a:pt x="2002" y="652"/>
                  </a:cubicBezTo>
                  <a:cubicBezTo>
                    <a:pt x="2002" y="619"/>
                    <a:pt x="2002" y="586"/>
                    <a:pt x="1969" y="552"/>
                  </a:cubicBezTo>
                  <a:cubicBezTo>
                    <a:pt x="1856" y="468"/>
                    <a:pt x="907" y="1"/>
                    <a:pt x="395" y="1"/>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 name="Google Shape;978;p39">
              <a:extLst>
                <a:ext uri="{FF2B5EF4-FFF2-40B4-BE49-F238E27FC236}">
                  <a16:creationId xmlns:a16="http://schemas.microsoft.com/office/drawing/2014/main" id="{F7BA57C0-B1EA-287E-5BD6-48F62A6DE9C9}"/>
                </a:ext>
              </a:extLst>
            </p:cNvPr>
            <p:cNvSpPr/>
            <p:nvPr/>
          </p:nvSpPr>
          <p:spPr>
            <a:xfrm flipH="1">
              <a:off x="2147619" y="4865735"/>
              <a:ext cx="35366" cy="42324"/>
            </a:xfrm>
            <a:custGeom>
              <a:avLst/>
              <a:gdLst/>
              <a:ahLst/>
              <a:cxnLst/>
              <a:rect l="l" t="t" r="r" b="b"/>
              <a:pathLst>
                <a:path w="1235" h="1478" extrusionOk="0">
                  <a:moveTo>
                    <a:pt x="401" y="176"/>
                  </a:moveTo>
                  <a:cubicBezTo>
                    <a:pt x="501" y="176"/>
                    <a:pt x="601" y="209"/>
                    <a:pt x="668" y="243"/>
                  </a:cubicBezTo>
                  <a:cubicBezTo>
                    <a:pt x="901" y="543"/>
                    <a:pt x="1035" y="877"/>
                    <a:pt x="1068" y="1244"/>
                  </a:cubicBezTo>
                  <a:cubicBezTo>
                    <a:pt x="668" y="1010"/>
                    <a:pt x="168" y="476"/>
                    <a:pt x="201" y="243"/>
                  </a:cubicBezTo>
                  <a:cubicBezTo>
                    <a:pt x="234" y="243"/>
                    <a:pt x="234" y="176"/>
                    <a:pt x="368" y="176"/>
                  </a:cubicBezTo>
                  <a:close/>
                  <a:moveTo>
                    <a:pt x="441" y="1"/>
                  </a:moveTo>
                  <a:cubicBezTo>
                    <a:pt x="416" y="1"/>
                    <a:pt x="391" y="3"/>
                    <a:pt x="368" y="9"/>
                  </a:cubicBezTo>
                  <a:cubicBezTo>
                    <a:pt x="134" y="9"/>
                    <a:pt x="67" y="143"/>
                    <a:pt x="67" y="209"/>
                  </a:cubicBezTo>
                  <a:cubicBezTo>
                    <a:pt x="1" y="610"/>
                    <a:pt x="735" y="1277"/>
                    <a:pt x="1135" y="1477"/>
                  </a:cubicBezTo>
                  <a:lnTo>
                    <a:pt x="1168" y="1477"/>
                  </a:lnTo>
                  <a:cubicBezTo>
                    <a:pt x="1168" y="1477"/>
                    <a:pt x="1202" y="1477"/>
                    <a:pt x="1202" y="1444"/>
                  </a:cubicBezTo>
                  <a:cubicBezTo>
                    <a:pt x="1235" y="1444"/>
                    <a:pt x="1235" y="1410"/>
                    <a:pt x="1235" y="1377"/>
                  </a:cubicBezTo>
                  <a:cubicBezTo>
                    <a:pt x="1235" y="1344"/>
                    <a:pt x="1202" y="476"/>
                    <a:pt x="768" y="143"/>
                  </a:cubicBezTo>
                  <a:cubicBezTo>
                    <a:pt x="686" y="60"/>
                    <a:pt x="558" y="1"/>
                    <a:pt x="441" y="1"/>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 name="Google Shape;979;p39">
              <a:extLst>
                <a:ext uri="{FF2B5EF4-FFF2-40B4-BE49-F238E27FC236}">
                  <a16:creationId xmlns:a16="http://schemas.microsoft.com/office/drawing/2014/main" id="{24A25D65-1FBC-F572-A700-1033D1849FE1}"/>
                </a:ext>
              </a:extLst>
            </p:cNvPr>
            <p:cNvSpPr/>
            <p:nvPr/>
          </p:nvSpPr>
          <p:spPr>
            <a:xfrm flipH="1">
              <a:off x="1130287" y="2371889"/>
              <a:ext cx="136624" cy="95559"/>
            </a:xfrm>
            <a:custGeom>
              <a:avLst/>
              <a:gdLst/>
              <a:ahLst/>
              <a:cxnLst/>
              <a:rect l="l" t="t" r="r" b="b"/>
              <a:pathLst>
                <a:path w="4771" h="3337" extrusionOk="0">
                  <a:moveTo>
                    <a:pt x="3128" y="1"/>
                  </a:moveTo>
                  <a:cubicBezTo>
                    <a:pt x="2967" y="1"/>
                    <a:pt x="420" y="32"/>
                    <a:pt x="0" y="2002"/>
                  </a:cubicBezTo>
                  <a:lnTo>
                    <a:pt x="1701" y="3170"/>
                  </a:lnTo>
                  <a:lnTo>
                    <a:pt x="4770" y="3336"/>
                  </a:lnTo>
                  <a:lnTo>
                    <a:pt x="3136" y="1"/>
                  </a:lnTo>
                  <a:cubicBezTo>
                    <a:pt x="3136" y="1"/>
                    <a:pt x="3133" y="1"/>
                    <a:pt x="3128" y="1"/>
                  </a:cubicBezTo>
                  <a:close/>
                </a:path>
              </a:pathLst>
            </a:custGeom>
            <a:solidFill>
              <a:srgbClr val="B55B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 name="Google Shape;980;p39">
              <a:extLst>
                <a:ext uri="{FF2B5EF4-FFF2-40B4-BE49-F238E27FC236}">
                  <a16:creationId xmlns:a16="http://schemas.microsoft.com/office/drawing/2014/main" id="{A23A02DC-AFD3-2E61-F98E-472BDE6A02F4}"/>
                </a:ext>
              </a:extLst>
            </p:cNvPr>
            <p:cNvSpPr/>
            <p:nvPr/>
          </p:nvSpPr>
          <p:spPr>
            <a:xfrm flipH="1">
              <a:off x="1059613" y="2336551"/>
              <a:ext cx="117523" cy="130896"/>
            </a:xfrm>
            <a:custGeom>
              <a:avLst/>
              <a:gdLst/>
              <a:ahLst/>
              <a:cxnLst/>
              <a:rect l="l" t="t" r="r" b="b"/>
              <a:pathLst>
                <a:path w="4104" h="4571" extrusionOk="0">
                  <a:moveTo>
                    <a:pt x="2469" y="0"/>
                  </a:moveTo>
                  <a:lnTo>
                    <a:pt x="1" y="1235"/>
                  </a:lnTo>
                  <a:lnTo>
                    <a:pt x="1635" y="4570"/>
                  </a:lnTo>
                  <a:lnTo>
                    <a:pt x="4104" y="2936"/>
                  </a:lnTo>
                  <a:lnTo>
                    <a:pt x="2469" y="0"/>
                  </a:lnTo>
                  <a:close/>
                </a:path>
              </a:pathLst>
            </a:custGeom>
            <a:solidFill>
              <a:srgbClr val="B55B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296"/>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FE3C2D7-5AC4-F6A2-985D-27EC37832AAD}"/>
              </a:ext>
            </a:extLst>
          </p:cNvPr>
          <p:cNvGraphicFramePr>
            <a:graphicFrameLocks noChangeAspect="1"/>
          </p:cNvGraphicFramePr>
          <p:nvPr>
            <p:custDataLst>
              <p:tags r:id="rId1"/>
            </p:custDataLst>
            <p:extLst>
              <p:ext uri="{D42A27DB-BD31-4B8C-83A1-F6EECF244321}">
                <p14:modId xmlns:p14="http://schemas.microsoft.com/office/powerpoint/2010/main" val="1429635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425" imgH="424" progId="TCLayout.ActiveDocument.1">
                  <p:embed/>
                </p:oleObj>
              </mc:Choice>
              <mc:Fallback>
                <p:oleObj name="Diapositiva think-cell" r:id="rId4" imgW="425" imgH="424" progId="TCLayout.ActiveDocument.1">
                  <p:embed/>
                  <p:pic>
                    <p:nvPicPr>
                      <p:cNvPr id="2" name="think-cell data - do not delete" hidden="1">
                        <a:extLst>
                          <a:ext uri="{FF2B5EF4-FFF2-40B4-BE49-F238E27FC236}">
                            <a16:creationId xmlns:a16="http://schemas.microsoft.com/office/drawing/2014/main" id="{CFE3C2D7-5AC4-F6A2-985D-27EC37832A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7" name="Google Shape;297;p27"/>
          <p:cNvSpPr txBox="1">
            <a:spLocks noGrp="1"/>
          </p:cNvSpPr>
          <p:nvPr>
            <p:ph type="body" idx="1"/>
          </p:nvPr>
        </p:nvSpPr>
        <p:spPr>
          <a:xfrm>
            <a:off x="713225" y="1218700"/>
            <a:ext cx="7736700" cy="3565500"/>
          </a:xfrm>
          <a:prstGeom prst="rect">
            <a:avLst/>
          </a:prstGeom>
        </p:spPr>
        <p:txBody>
          <a:bodyPr spcFirstLastPara="1" wrap="square" lIns="91425" tIns="91425" rIns="91425" bIns="91425" anchor="t" anchorCtr="0">
            <a:noAutofit/>
          </a:bodyPr>
          <a:lstStyle/>
          <a:p>
            <a:pPr marL="0" lvl="0" indent="0" algn="l" rtl="0">
              <a:lnSpc>
                <a:spcPct val="100000"/>
              </a:lnSpc>
              <a:spcBef>
                <a:spcPts val="0"/>
              </a:spcBef>
              <a:spcAft>
                <a:spcPts val="0"/>
              </a:spcAft>
              <a:buNone/>
            </a:pPr>
            <a:r>
              <a:rPr lang="en" sz="2000">
                <a:solidFill>
                  <a:schemeClr val="lt1"/>
                </a:solidFill>
              </a:rPr>
              <a:t>Clifford &amp; Co. has transitioned to an e-commerce platform in the last year and is looking to leverage data analytics on its user data to improve online revenue and streamline costs</a:t>
            </a:r>
          </a:p>
          <a:p>
            <a:pPr marL="0" lvl="0" indent="0" algn="l" rtl="0">
              <a:lnSpc>
                <a:spcPct val="100000"/>
              </a:lnSpc>
              <a:spcBef>
                <a:spcPts val="0"/>
              </a:spcBef>
              <a:spcAft>
                <a:spcPts val="0"/>
              </a:spcAft>
              <a:buNone/>
            </a:pPr>
            <a:endParaRPr lang="en" sz="2000"/>
          </a:p>
          <a:p>
            <a:pPr marL="0" lvl="0" indent="0" algn="l" rtl="0">
              <a:lnSpc>
                <a:spcPct val="100000"/>
              </a:lnSpc>
              <a:spcBef>
                <a:spcPts val="0"/>
              </a:spcBef>
              <a:spcAft>
                <a:spcPts val="0"/>
              </a:spcAft>
              <a:buNone/>
            </a:pPr>
            <a:r>
              <a:rPr lang="en" sz="2000"/>
              <a:t>Objectives:</a:t>
            </a:r>
          </a:p>
          <a:p>
            <a:pPr indent="-457200">
              <a:lnSpc>
                <a:spcPct val="100000"/>
              </a:lnSpc>
            </a:pPr>
            <a:r>
              <a:rPr lang="en" sz="2000"/>
              <a:t>Gain insights into  customer behaviours using user data</a:t>
            </a:r>
          </a:p>
          <a:p>
            <a:pPr indent="-457200">
              <a:lnSpc>
                <a:spcPct val="100000"/>
              </a:lnSpc>
            </a:pPr>
            <a:r>
              <a:rPr lang="en" sz="2000"/>
              <a:t>Devise a plan to improve customer experience</a:t>
            </a:r>
          </a:p>
          <a:p>
            <a:pPr indent="-457200">
              <a:lnSpc>
                <a:spcPct val="100000"/>
              </a:lnSpc>
            </a:pPr>
            <a:r>
              <a:rPr lang="en" sz="2000"/>
              <a:t>Convert more online shoppers into successful buyers</a:t>
            </a:r>
          </a:p>
          <a:p>
            <a:pPr indent="-457200">
              <a:lnSpc>
                <a:spcPct val="100000"/>
              </a:lnSpc>
            </a:pPr>
            <a:r>
              <a:rPr lang="en" sz="2000"/>
              <a:t>Improve online revenue and streamline costs</a:t>
            </a:r>
          </a:p>
          <a:p>
            <a:pPr marL="0" lvl="0" indent="0" algn="l" rtl="0">
              <a:lnSpc>
                <a:spcPct val="100000"/>
              </a:lnSpc>
              <a:spcBef>
                <a:spcPts val="0"/>
              </a:spcBef>
              <a:spcAft>
                <a:spcPts val="0"/>
              </a:spcAft>
              <a:buNone/>
            </a:pPr>
            <a:endParaRPr sz="2000">
              <a:solidFill>
                <a:schemeClr val="lt1"/>
              </a:solidFill>
            </a:endParaRPr>
          </a:p>
        </p:txBody>
      </p:sp>
      <p:sp>
        <p:nvSpPr>
          <p:cNvPr id="298" name="Google Shape;298;p27"/>
          <p:cNvSpPr txBox="1">
            <a:spLocks noGrp="1"/>
          </p:cNvSpPr>
          <p:nvPr>
            <p:ph type="title"/>
          </p:nvPr>
        </p:nvSpPr>
        <p:spPr>
          <a:xfrm>
            <a:off x="713225" y="455944"/>
            <a:ext cx="7736700" cy="572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Background &amp; Objectives</a:t>
            </a:r>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858"/>
        <p:cNvGrpSpPr/>
        <p:nvPr/>
      </p:nvGrpSpPr>
      <p:grpSpPr>
        <a:xfrm>
          <a:off x="0" y="0"/>
          <a:ext cx="0" cy="0"/>
          <a:chOff x="0" y="0"/>
          <a:chExt cx="0" cy="0"/>
        </a:xfrm>
      </p:grpSpPr>
      <p:sp>
        <p:nvSpPr>
          <p:cNvPr id="981" name="Google Shape;981;p39"/>
          <p:cNvSpPr txBox="1">
            <a:spLocks noGrp="1"/>
          </p:cNvSpPr>
          <p:nvPr>
            <p:ph type="ctrTitle"/>
          </p:nvPr>
        </p:nvSpPr>
        <p:spPr>
          <a:xfrm>
            <a:off x="4006576" y="2646136"/>
            <a:ext cx="4530452" cy="898457"/>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IN" sz="3600"/>
              <a:t>Problem Identification</a:t>
            </a:r>
          </a:p>
        </p:txBody>
      </p:sp>
      <p:sp>
        <p:nvSpPr>
          <p:cNvPr id="983" name="Google Shape;983;p39"/>
          <p:cNvSpPr txBox="1">
            <a:spLocks noGrp="1"/>
          </p:cNvSpPr>
          <p:nvPr>
            <p:ph type="title" idx="2"/>
          </p:nvPr>
        </p:nvSpPr>
        <p:spPr>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02</a:t>
            </a:r>
            <a:endParaRPr/>
          </a:p>
        </p:txBody>
      </p:sp>
      <p:sp>
        <p:nvSpPr>
          <p:cNvPr id="984" name="Google Shape;984;p39"/>
          <p:cNvSpPr/>
          <p:nvPr/>
        </p:nvSpPr>
        <p:spPr>
          <a:xfrm rot="-5422515" flipH="1">
            <a:off x="7897160" y="3514267"/>
            <a:ext cx="328545" cy="328306"/>
          </a:xfrm>
          <a:custGeom>
            <a:avLst/>
            <a:gdLst/>
            <a:ahLst/>
            <a:cxnLst/>
            <a:rect l="l" t="t" r="r" b="b"/>
            <a:pathLst>
              <a:path w="45300" h="45267" extrusionOk="0">
                <a:moveTo>
                  <a:pt x="22629" y="6872"/>
                </a:moveTo>
                <a:cubicBezTo>
                  <a:pt x="26731" y="6872"/>
                  <a:pt x="30760" y="8466"/>
                  <a:pt x="33792" y="11476"/>
                </a:cubicBezTo>
                <a:cubicBezTo>
                  <a:pt x="38295" y="16012"/>
                  <a:pt x="39629" y="22784"/>
                  <a:pt x="37194" y="28688"/>
                </a:cubicBezTo>
                <a:cubicBezTo>
                  <a:pt x="34759" y="34559"/>
                  <a:pt x="29021" y="38428"/>
                  <a:pt x="22617" y="38428"/>
                </a:cubicBezTo>
                <a:lnTo>
                  <a:pt x="22617" y="38395"/>
                </a:lnTo>
                <a:cubicBezTo>
                  <a:pt x="13911" y="38395"/>
                  <a:pt x="6872" y="31356"/>
                  <a:pt x="6872" y="22650"/>
                </a:cubicBezTo>
                <a:cubicBezTo>
                  <a:pt x="6839" y="16279"/>
                  <a:pt x="10708" y="10508"/>
                  <a:pt x="16579" y="8073"/>
                </a:cubicBezTo>
                <a:cubicBezTo>
                  <a:pt x="18538" y="7265"/>
                  <a:pt x="20592" y="6872"/>
                  <a:pt x="22629" y="6872"/>
                </a:cubicBezTo>
                <a:close/>
                <a:moveTo>
                  <a:pt x="20916" y="1"/>
                </a:moveTo>
                <a:lnTo>
                  <a:pt x="20315" y="2102"/>
                </a:lnTo>
                <a:cubicBezTo>
                  <a:pt x="19148" y="2236"/>
                  <a:pt x="18014" y="2469"/>
                  <a:pt x="16913" y="2769"/>
                </a:cubicBezTo>
                <a:lnTo>
                  <a:pt x="15545" y="1068"/>
                </a:lnTo>
                <a:lnTo>
                  <a:pt x="12376" y="2369"/>
                </a:lnTo>
                <a:lnTo>
                  <a:pt x="12643" y="4571"/>
                </a:lnTo>
                <a:cubicBezTo>
                  <a:pt x="11609" y="5104"/>
                  <a:pt x="10642" y="5771"/>
                  <a:pt x="9741" y="6472"/>
                </a:cubicBezTo>
                <a:lnTo>
                  <a:pt x="7806" y="5405"/>
                </a:lnTo>
                <a:lnTo>
                  <a:pt x="5405" y="7840"/>
                </a:lnTo>
                <a:lnTo>
                  <a:pt x="6472" y="9774"/>
                </a:lnTo>
                <a:cubicBezTo>
                  <a:pt x="5772" y="10675"/>
                  <a:pt x="5104" y="11642"/>
                  <a:pt x="4537" y="12643"/>
                </a:cubicBezTo>
                <a:lnTo>
                  <a:pt x="2369" y="12410"/>
                </a:lnTo>
                <a:lnTo>
                  <a:pt x="1068" y="15545"/>
                </a:lnTo>
                <a:lnTo>
                  <a:pt x="2769" y="16913"/>
                </a:lnTo>
                <a:cubicBezTo>
                  <a:pt x="2436" y="18047"/>
                  <a:pt x="2236" y="19181"/>
                  <a:pt x="2102" y="20315"/>
                </a:cubicBezTo>
                <a:lnTo>
                  <a:pt x="1" y="20916"/>
                </a:lnTo>
                <a:lnTo>
                  <a:pt x="1" y="24351"/>
                </a:lnTo>
                <a:lnTo>
                  <a:pt x="2102" y="24952"/>
                </a:lnTo>
                <a:cubicBezTo>
                  <a:pt x="2236" y="26086"/>
                  <a:pt x="2469" y="27220"/>
                  <a:pt x="2769" y="28354"/>
                </a:cubicBezTo>
                <a:lnTo>
                  <a:pt x="1068" y="29722"/>
                </a:lnTo>
                <a:lnTo>
                  <a:pt x="2369" y="32857"/>
                </a:lnTo>
                <a:lnTo>
                  <a:pt x="4537" y="32624"/>
                </a:lnTo>
                <a:cubicBezTo>
                  <a:pt x="5104" y="33625"/>
                  <a:pt x="5772" y="34592"/>
                  <a:pt x="6472" y="35493"/>
                </a:cubicBezTo>
                <a:lnTo>
                  <a:pt x="5405" y="37427"/>
                </a:lnTo>
                <a:lnTo>
                  <a:pt x="7840" y="39863"/>
                </a:lnTo>
                <a:lnTo>
                  <a:pt x="9774" y="38795"/>
                </a:lnTo>
                <a:cubicBezTo>
                  <a:pt x="10675" y="39496"/>
                  <a:pt x="11642" y="40163"/>
                  <a:pt x="12643" y="40730"/>
                </a:cubicBezTo>
                <a:lnTo>
                  <a:pt x="12410" y="42898"/>
                </a:lnTo>
                <a:lnTo>
                  <a:pt x="15545" y="44199"/>
                </a:lnTo>
                <a:lnTo>
                  <a:pt x="16913" y="42498"/>
                </a:lnTo>
                <a:cubicBezTo>
                  <a:pt x="18047" y="42798"/>
                  <a:pt x="19181" y="43031"/>
                  <a:pt x="20349" y="43165"/>
                </a:cubicBezTo>
                <a:lnTo>
                  <a:pt x="20916" y="45266"/>
                </a:lnTo>
                <a:lnTo>
                  <a:pt x="24318" y="45266"/>
                </a:lnTo>
                <a:lnTo>
                  <a:pt x="24952" y="43165"/>
                </a:lnTo>
                <a:cubicBezTo>
                  <a:pt x="26086" y="43031"/>
                  <a:pt x="27220" y="42798"/>
                  <a:pt x="28354" y="42498"/>
                </a:cubicBezTo>
                <a:lnTo>
                  <a:pt x="29722" y="44199"/>
                </a:lnTo>
                <a:lnTo>
                  <a:pt x="32858" y="42898"/>
                </a:lnTo>
                <a:lnTo>
                  <a:pt x="32624" y="40730"/>
                </a:lnTo>
                <a:cubicBezTo>
                  <a:pt x="33625" y="40163"/>
                  <a:pt x="34592" y="39496"/>
                  <a:pt x="35493" y="38795"/>
                </a:cubicBezTo>
                <a:lnTo>
                  <a:pt x="37427" y="39863"/>
                </a:lnTo>
                <a:lnTo>
                  <a:pt x="39863" y="37461"/>
                </a:lnTo>
                <a:lnTo>
                  <a:pt x="38795" y="35526"/>
                </a:lnTo>
                <a:cubicBezTo>
                  <a:pt x="39496" y="34625"/>
                  <a:pt x="40163" y="33658"/>
                  <a:pt x="40730" y="32657"/>
                </a:cubicBezTo>
                <a:lnTo>
                  <a:pt x="42898" y="32891"/>
                </a:lnTo>
                <a:lnTo>
                  <a:pt x="44199" y="29722"/>
                </a:lnTo>
                <a:lnTo>
                  <a:pt x="42498" y="28354"/>
                </a:lnTo>
                <a:cubicBezTo>
                  <a:pt x="42798" y="27253"/>
                  <a:pt x="43031" y="26119"/>
                  <a:pt x="43165" y="24952"/>
                </a:cubicBezTo>
                <a:lnTo>
                  <a:pt x="45300" y="24351"/>
                </a:lnTo>
                <a:lnTo>
                  <a:pt x="45300" y="20916"/>
                </a:lnTo>
                <a:lnTo>
                  <a:pt x="43165" y="20315"/>
                </a:lnTo>
                <a:cubicBezTo>
                  <a:pt x="43031" y="19181"/>
                  <a:pt x="42798" y="18047"/>
                  <a:pt x="42498" y="16913"/>
                </a:cubicBezTo>
                <a:lnTo>
                  <a:pt x="44199" y="15545"/>
                </a:lnTo>
                <a:lnTo>
                  <a:pt x="42898" y="12376"/>
                </a:lnTo>
                <a:lnTo>
                  <a:pt x="40730" y="12643"/>
                </a:lnTo>
                <a:cubicBezTo>
                  <a:pt x="40163" y="11642"/>
                  <a:pt x="39496" y="10675"/>
                  <a:pt x="38795" y="9774"/>
                </a:cubicBezTo>
                <a:lnTo>
                  <a:pt x="39863" y="7840"/>
                </a:lnTo>
                <a:lnTo>
                  <a:pt x="37427" y="5405"/>
                </a:lnTo>
                <a:lnTo>
                  <a:pt x="35493" y="6472"/>
                </a:lnTo>
                <a:cubicBezTo>
                  <a:pt x="34592" y="5771"/>
                  <a:pt x="33658" y="5104"/>
                  <a:pt x="32624" y="4571"/>
                </a:cubicBezTo>
                <a:lnTo>
                  <a:pt x="32891" y="2369"/>
                </a:lnTo>
                <a:lnTo>
                  <a:pt x="29722" y="1068"/>
                </a:lnTo>
                <a:lnTo>
                  <a:pt x="28354" y="2769"/>
                </a:lnTo>
                <a:cubicBezTo>
                  <a:pt x="27220" y="2469"/>
                  <a:pt x="26086" y="2236"/>
                  <a:pt x="24952" y="2102"/>
                </a:cubicBezTo>
                <a:lnTo>
                  <a:pt x="24318" y="1"/>
                </a:lnTo>
                <a:close/>
              </a:path>
            </a:pathLst>
          </a:custGeom>
          <a:solidFill>
            <a:srgbClr val="C3FF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 name="Google Shape;985;p39"/>
          <p:cNvSpPr/>
          <p:nvPr/>
        </p:nvSpPr>
        <p:spPr>
          <a:xfrm rot="-5421983" flipH="1">
            <a:off x="8199077" y="3813219"/>
            <a:ext cx="513599" cy="513225"/>
          </a:xfrm>
          <a:custGeom>
            <a:avLst/>
            <a:gdLst/>
            <a:ahLst/>
            <a:cxnLst/>
            <a:rect l="l" t="t" r="r" b="b"/>
            <a:pathLst>
              <a:path w="45300" h="45267" extrusionOk="0">
                <a:moveTo>
                  <a:pt x="22629" y="6872"/>
                </a:moveTo>
                <a:cubicBezTo>
                  <a:pt x="26731" y="6872"/>
                  <a:pt x="30760" y="8466"/>
                  <a:pt x="33792" y="11476"/>
                </a:cubicBezTo>
                <a:cubicBezTo>
                  <a:pt x="38295" y="16012"/>
                  <a:pt x="39629" y="22784"/>
                  <a:pt x="37194" y="28688"/>
                </a:cubicBezTo>
                <a:cubicBezTo>
                  <a:pt x="34759" y="34559"/>
                  <a:pt x="29021" y="38428"/>
                  <a:pt x="22617" y="38428"/>
                </a:cubicBezTo>
                <a:lnTo>
                  <a:pt x="22617" y="38395"/>
                </a:lnTo>
                <a:cubicBezTo>
                  <a:pt x="13911" y="38395"/>
                  <a:pt x="6872" y="31356"/>
                  <a:pt x="6872" y="22650"/>
                </a:cubicBezTo>
                <a:cubicBezTo>
                  <a:pt x="6839" y="16279"/>
                  <a:pt x="10708" y="10508"/>
                  <a:pt x="16579" y="8073"/>
                </a:cubicBezTo>
                <a:cubicBezTo>
                  <a:pt x="18538" y="7265"/>
                  <a:pt x="20592" y="6872"/>
                  <a:pt x="22629" y="6872"/>
                </a:cubicBezTo>
                <a:close/>
                <a:moveTo>
                  <a:pt x="20916" y="1"/>
                </a:moveTo>
                <a:lnTo>
                  <a:pt x="20315" y="2102"/>
                </a:lnTo>
                <a:cubicBezTo>
                  <a:pt x="19148" y="2236"/>
                  <a:pt x="18014" y="2469"/>
                  <a:pt x="16913" y="2769"/>
                </a:cubicBezTo>
                <a:lnTo>
                  <a:pt x="15545" y="1068"/>
                </a:lnTo>
                <a:lnTo>
                  <a:pt x="12376" y="2369"/>
                </a:lnTo>
                <a:lnTo>
                  <a:pt x="12643" y="4571"/>
                </a:lnTo>
                <a:cubicBezTo>
                  <a:pt x="11609" y="5104"/>
                  <a:pt x="10642" y="5771"/>
                  <a:pt x="9741" y="6472"/>
                </a:cubicBezTo>
                <a:lnTo>
                  <a:pt x="7806" y="5405"/>
                </a:lnTo>
                <a:lnTo>
                  <a:pt x="5405" y="7840"/>
                </a:lnTo>
                <a:lnTo>
                  <a:pt x="6472" y="9774"/>
                </a:lnTo>
                <a:cubicBezTo>
                  <a:pt x="5772" y="10675"/>
                  <a:pt x="5104" y="11642"/>
                  <a:pt x="4537" y="12643"/>
                </a:cubicBezTo>
                <a:lnTo>
                  <a:pt x="2369" y="12410"/>
                </a:lnTo>
                <a:lnTo>
                  <a:pt x="1068" y="15545"/>
                </a:lnTo>
                <a:lnTo>
                  <a:pt x="2769" y="16913"/>
                </a:lnTo>
                <a:cubicBezTo>
                  <a:pt x="2436" y="18047"/>
                  <a:pt x="2236" y="19181"/>
                  <a:pt x="2102" y="20315"/>
                </a:cubicBezTo>
                <a:lnTo>
                  <a:pt x="1" y="20916"/>
                </a:lnTo>
                <a:lnTo>
                  <a:pt x="1" y="24351"/>
                </a:lnTo>
                <a:lnTo>
                  <a:pt x="2102" y="24952"/>
                </a:lnTo>
                <a:cubicBezTo>
                  <a:pt x="2236" y="26086"/>
                  <a:pt x="2469" y="27220"/>
                  <a:pt x="2769" y="28354"/>
                </a:cubicBezTo>
                <a:lnTo>
                  <a:pt x="1068" y="29722"/>
                </a:lnTo>
                <a:lnTo>
                  <a:pt x="2369" y="32857"/>
                </a:lnTo>
                <a:lnTo>
                  <a:pt x="4537" y="32624"/>
                </a:lnTo>
                <a:cubicBezTo>
                  <a:pt x="5104" y="33625"/>
                  <a:pt x="5772" y="34592"/>
                  <a:pt x="6472" y="35493"/>
                </a:cubicBezTo>
                <a:lnTo>
                  <a:pt x="5405" y="37427"/>
                </a:lnTo>
                <a:lnTo>
                  <a:pt x="7840" y="39863"/>
                </a:lnTo>
                <a:lnTo>
                  <a:pt x="9774" y="38795"/>
                </a:lnTo>
                <a:cubicBezTo>
                  <a:pt x="10675" y="39496"/>
                  <a:pt x="11642" y="40163"/>
                  <a:pt x="12643" y="40730"/>
                </a:cubicBezTo>
                <a:lnTo>
                  <a:pt x="12410" y="42898"/>
                </a:lnTo>
                <a:lnTo>
                  <a:pt x="15545" y="44199"/>
                </a:lnTo>
                <a:lnTo>
                  <a:pt x="16913" y="42498"/>
                </a:lnTo>
                <a:cubicBezTo>
                  <a:pt x="18047" y="42798"/>
                  <a:pt x="19181" y="43031"/>
                  <a:pt x="20349" y="43165"/>
                </a:cubicBezTo>
                <a:lnTo>
                  <a:pt x="20916" y="45266"/>
                </a:lnTo>
                <a:lnTo>
                  <a:pt x="24318" y="45266"/>
                </a:lnTo>
                <a:lnTo>
                  <a:pt x="24952" y="43165"/>
                </a:lnTo>
                <a:cubicBezTo>
                  <a:pt x="26086" y="43031"/>
                  <a:pt x="27220" y="42798"/>
                  <a:pt x="28354" y="42498"/>
                </a:cubicBezTo>
                <a:lnTo>
                  <a:pt x="29722" y="44199"/>
                </a:lnTo>
                <a:lnTo>
                  <a:pt x="32858" y="42898"/>
                </a:lnTo>
                <a:lnTo>
                  <a:pt x="32624" y="40730"/>
                </a:lnTo>
                <a:cubicBezTo>
                  <a:pt x="33625" y="40163"/>
                  <a:pt x="34592" y="39496"/>
                  <a:pt x="35493" y="38795"/>
                </a:cubicBezTo>
                <a:lnTo>
                  <a:pt x="37427" y="39863"/>
                </a:lnTo>
                <a:lnTo>
                  <a:pt x="39863" y="37461"/>
                </a:lnTo>
                <a:lnTo>
                  <a:pt x="38795" y="35526"/>
                </a:lnTo>
                <a:cubicBezTo>
                  <a:pt x="39496" y="34625"/>
                  <a:pt x="40163" y="33658"/>
                  <a:pt x="40730" y="32657"/>
                </a:cubicBezTo>
                <a:lnTo>
                  <a:pt x="42898" y="32891"/>
                </a:lnTo>
                <a:lnTo>
                  <a:pt x="44199" y="29722"/>
                </a:lnTo>
                <a:lnTo>
                  <a:pt x="42498" y="28354"/>
                </a:lnTo>
                <a:cubicBezTo>
                  <a:pt x="42798" y="27253"/>
                  <a:pt x="43031" y="26119"/>
                  <a:pt x="43165" y="24952"/>
                </a:cubicBezTo>
                <a:lnTo>
                  <a:pt x="45300" y="24351"/>
                </a:lnTo>
                <a:lnTo>
                  <a:pt x="45300" y="20916"/>
                </a:lnTo>
                <a:lnTo>
                  <a:pt x="43165" y="20315"/>
                </a:lnTo>
                <a:cubicBezTo>
                  <a:pt x="43031" y="19181"/>
                  <a:pt x="42798" y="18047"/>
                  <a:pt x="42498" y="16913"/>
                </a:cubicBezTo>
                <a:lnTo>
                  <a:pt x="44199" y="15545"/>
                </a:lnTo>
                <a:lnTo>
                  <a:pt x="42898" y="12376"/>
                </a:lnTo>
                <a:lnTo>
                  <a:pt x="40730" y="12643"/>
                </a:lnTo>
                <a:cubicBezTo>
                  <a:pt x="40163" y="11642"/>
                  <a:pt x="39496" y="10675"/>
                  <a:pt x="38795" y="9774"/>
                </a:cubicBezTo>
                <a:lnTo>
                  <a:pt x="39863" y="7840"/>
                </a:lnTo>
                <a:lnTo>
                  <a:pt x="37427" y="5405"/>
                </a:lnTo>
                <a:lnTo>
                  <a:pt x="35493" y="6472"/>
                </a:lnTo>
                <a:cubicBezTo>
                  <a:pt x="34592" y="5771"/>
                  <a:pt x="33658" y="5104"/>
                  <a:pt x="32624" y="4571"/>
                </a:cubicBezTo>
                <a:lnTo>
                  <a:pt x="32891" y="2369"/>
                </a:lnTo>
                <a:lnTo>
                  <a:pt x="29722" y="1068"/>
                </a:lnTo>
                <a:lnTo>
                  <a:pt x="28354" y="2769"/>
                </a:lnTo>
                <a:cubicBezTo>
                  <a:pt x="27220" y="2469"/>
                  <a:pt x="26086" y="2236"/>
                  <a:pt x="24952" y="2102"/>
                </a:cubicBezTo>
                <a:lnTo>
                  <a:pt x="24318"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 name="Google Shape;407;p30">
            <a:extLst>
              <a:ext uri="{FF2B5EF4-FFF2-40B4-BE49-F238E27FC236}">
                <a16:creationId xmlns:a16="http://schemas.microsoft.com/office/drawing/2014/main" id="{6101C9AE-5577-1AD5-7F43-FCFDE3971ADB}"/>
              </a:ext>
            </a:extLst>
          </p:cNvPr>
          <p:cNvGrpSpPr/>
          <p:nvPr/>
        </p:nvGrpSpPr>
        <p:grpSpPr>
          <a:xfrm>
            <a:off x="425344" y="1037705"/>
            <a:ext cx="4005090" cy="3068089"/>
            <a:chOff x="4428901" y="1471229"/>
            <a:chExt cx="4797089" cy="3674798"/>
          </a:xfrm>
        </p:grpSpPr>
        <p:sp>
          <p:nvSpPr>
            <p:cNvPr id="3" name="Google Shape;408;p30">
              <a:extLst>
                <a:ext uri="{FF2B5EF4-FFF2-40B4-BE49-F238E27FC236}">
                  <a16:creationId xmlns:a16="http://schemas.microsoft.com/office/drawing/2014/main" id="{E9A15FD5-6905-3AC8-E056-DFEFD9DCD514}"/>
                </a:ext>
              </a:extLst>
            </p:cNvPr>
            <p:cNvSpPr/>
            <p:nvPr/>
          </p:nvSpPr>
          <p:spPr>
            <a:xfrm flipH="1">
              <a:off x="4428901" y="4806641"/>
              <a:ext cx="306677" cy="2831"/>
            </a:xfrm>
            <a:custGeom>
              <a:avLst/>
              <a:gdLst/>
              <a:ahLst/>
              <a:cxnLst/>
              <a:rect l="l" t="t" r="r" b="b"/>
              <a:pathLst>
                <a:path w="10942" h="101" extrusionOk="0">
                  <a:moveTo>
                    <a:pt x="0" y="0"/>
                  </a:moveTo>
                  <a:lnTo>
                    <a:pt x="0" y="100"/>
                  </a:lnTo>
                  <a:lnTo>
                    <a:pt x="10942" y="100"/>
                  </a:lnTo>
                  <a:lnTo>
                    <a:pt x="10942" y="0"/>
                  </a:lnTo>
                  <a:close/>
                </a:path>
              </a:pathLst>
            </a:custGeom>
            <a:solidFill>
              <a:schemeClr val="lt1"/>
            </a:solidFill>
            <a:ln w="952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Google Shape;409;p30">
              <a:extLst>
                <a:ext uri="{FF2B5EF4-FFF2-40B4-BE49-F238E27FC236}">
                  <a16:creationId xmlns:a16="http://schemas.microsoft.com/office/drawing/2014/main" id="{56176448-7A2C-4666-624E-DFC93EA58D15}"/>
                </a:ext>
              </a:extLst>
            </p:cNvPr>
            <p:cNvSpPr/>
            <p:nvPr/>
          </p:nvSpPr>
          <p:spPr>
            <a:xfrm flipH="1">
              <a:off x="5518078" y="4768300"/>
              <a:ext cx="399224" cy="3784"/>
            </a:xfrm>
            <a:custGeom>
              <a:avLst/>
              <a:gdLst/>
              <a:ahLst/>
              <a:cxnLst/>
              <a:rect l="l" t="t" r="r" b="b"/>
              <a:pathLst>
                <a:path w="14244" h="135" extrusionOk="0">
                  <a:moveTo>
                    <a:pt x="0" y="1"/>
                  </a:moveTo>
                  <a:lnTo>
                    <a:pt x="0" y="134"/>
                  </a:lnTo>
                  <a:lnTo>
                    <a:pt x="14244" y="134"/>
                  </a:lnTo>
                  <a:lnTo>
                    <a:pt x="14244" y="1"/>
                  </a:lnTo>
                  <a:close/>
                </a:path>
              </a:pathLst>
            </a:custGeom>
            <a:solidFill>
              <a:schemeClr val="lt1"/>
            </a:solidFill>
            <a:ln w="952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410;p30">
              <a:extLst>
                <a:ext uri="{FF2B5EF4-FFF2-40B4-BE49-F238E27FC236}">
                  <a16:creationId xmlns:a16="http://schemas.microsoft.com/office/drawing/2014/main" id="{D4E0F8C5-5731-14EA-D7F5-13274503CB3F}"/>
                </a:ext>
              </a:extLst>
            </p:cNvPr>
            <p:cNvSpPr/>
            <p:nvPr/>
          </p:nvSpPr>
          <p:spPr>
            <a:xfrm flipH="1">
              <a:off x="4828097" y="4698175"/>
              <a:ext cx="308555" cy="2831"/>
            </a:xfrm>
            <a:custGeom>
              <a:avLst/>
              <a:gdLst/>
              <a:ahLst/>
              <a:cxnLst/>
              <a:rect l="l" t="t" r="r" b="b"/>
              <a:pathLst>
                <a:path w="11009" h="101" extrusionOk="0">
                  <a:moveTo>
                    <a:pt x="0" y="1"/>
                  </a:moveTo>
                  <a:lnTo>
                    <a:pt x="0" y="101"/>
                  </a:lnTo>
                  <a:lnTo>
                    <a:pt x="11008" y="101"/>
                  </a:lnTo>
                  <a:lnTo>
                    <a:pt x="11008" y="1"/>
                  </a:lnTo>
                  <a:close/>
                </a:path>
              </a:pathLst>
            </a:custGeom>
            <a:solidFill>
              <a:schemeClr val="lt1"/>
            </a:solidFill>
            <a:ln w="952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411;p30">
              <a:extLst>
                <a:ext uri="{FF2B5EF4-FFF2-40B4-BE49-F238E27FC236}">
                  <a16:creationId xmlns:a16="http://schemas.microsoft.com/office/drawing/2014/main" id="{99376AC2-0C43-6932-41B9-FC93255732AC}"/>
                </a:ext>
              </a:extLst>
            </p:cNvPr>
            <p:cNvSpPr/>
            <p:nvPr/>
          </p:nvSpPr>
          <p:spPr>
            <a:xfrm flipH="1">
              <a:off x="8391065" y="4717822"/>
              <a:ext cx="504887" cy="2831"/>
            </a:xfrm>
            <a:custGeom>
              <a:avLst/>
              <a:gdLst/>
              <a:ahLst/>
              <a:cxnLst/>
              <a:rect l="l" t="t" r="r" b="b"/>
              <a:pathLst>
                <a:path w="18014" h="101" extrusionOk="0">
                  <a:moveTo>
                    <a:pt x="0" y="0"/>
                  </a:moveTo>
                  <a:lnTo>
                    <a:pt x="0" y="100"/>
                  </a:lnTo>
                  <a:lnTo>
                    <a:pt x="18013" y="100"/>
                  </a:lnTo>
                  <a:lnTo>
                    <a:pt x="18013" y="0"/>
                  </a:lnTo>
                  <a:close/>
                </a:path>
              </a:pathLst>
            </a:custGeom>
            <a:solidFill>
              <a:schemeClr val="lt1"/>
            </a:solidFill>
            <a:ln w="952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412;p30">
              <a:extLst>
                <a:ext uri="{FF2B5EF4-FFF2-40B4-BE49-F238E27FC236}">
                  <a16:creationId xmlns:a16="http://schemas.microsoft.com/office/drawing/2014/main" id="{E9B03010-DE37-1F70-3863-F3E892FF67E7}"/>
                </a:ext>
              </a:extLst>
            </p:cNvPr>
            <p:cNvSpPr/>
            <p:nvPr/>
          </p:nvSpPr>
          <p:spPr>
            <a:xfrm flipH="1">
              <a:off x="9152110" y="4717822"/>
              <a:ext cx="73880" cy="2831"/>
            </a:xfrm>
            <a:custGeom>
              <a:avLst/>
              <a:gdLst/>
              <a:ahLst/>
              <a:cxnLst/>
              <a:rect l="l" t="t" r="r" b="b"/>
              <a:pathLst>
                <a:path w="2636" h="101" extrusionOk="0">
                  <a:moveTo>
                    <a:pt x="0" y="0"/>
                  </a:moveTo>
                  <a:lnTo>
                    <a:pt x="0" y="100"/>
                  </a:lnTo>
                  <a:lnTo>
                    <a:pt x="2636" y="100"/>
                  </a:lnTo>
                  <a:lnTo>
                    <a:pt x="2636" y="0"/>
                  </a:lnTo>
                  <a:close/>
                </a:path>
              </a:pathLst>
            </a:custGeom>
            <a:solidFill>
              <a:schemeClr val="lt1"/>
            </a:solidFill>
            <a:ln w="952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413;p30">
              <a:extLst>
                <a:ext uri="{FF2B5EF4-FFF2-40B4-BE49-F238E27FC236}">
                  <a16:creationId xmlns:a16="http://schemas.microsoft.com/office/drawing/2014/main" id="{0D45E45A-C580-D93F-BB79-AA420059F890}"/>
                </a:ext>
              </a:extLst>
            </p:cNvPr>
            <p:cNvSpPr/>
            <p:nvPr/>
          </p:nvSpPr>
          <p:spPr>
            <a:xfrm flipH="1">
              <a:off x="7493568" y="4767375"/>
              <a:ext cx="657273" cy="2831"/>
            </a:xfrm>
            <a:custGeom>
              <a:avLst/>
              <a:gdLst/>
              <a:ahLst/>
              <a:cxnLst/>
              <a:rect l="l" t="t" r="r" b="b"/>
              <a:pathLst>
                <a:path w="23451" h="101" extrusionOk="0">
                  <a:moveTo>
                    <a:pt x="1" y="0"/>
                  </a:moveTo>
                  <a:lnTo>
                    <a:pt x="1" y="100"/>
                  </a:lnTo>
                  <a:lnTo>
                    <a:pt x="23451" y="100"/>
                  </a:lnTo>
                  <a:lnTo>
                    <a:pt x="23451" y="0"/>
                  </a:lnTo>
                  <a:close/>
                </a:path>
              </a:pathLst>
            </a:custGeom>
            <a:solidFill>
              <a:schemeClr val="lt1"/>
            </a:solidFill>
            <a:ln w="952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414;p30">
              <a:extLst>
                <a:ext uri="{FF2B5EF4-FFF2-40B4-BE49-F238E27FC236}">
                  <a16:creationId xmlns:a16="http://schemas.microsoft.com/office/drawing/2014/main" id="{3AB9EE70-877D-2965-034F-CAB4DAC16D38}"/>
                </a:ext>
              </a:extLst>
            </p:cNvPr>
            <p:cNvSpPr/>
            <p:nvPr/>
          </p:nvSpPr>
          <p:spPr>
            <a:xfrm flipH="1">
              <a:off x="5679825" y="3525841"/>
              <a:ext cx="184197" cy="157991"/>
            </a:xfrm>
            <a:custGeom>
              <a:avLst/>
              <a:gdLst/>
              <a:ahLst/>
              <a:cxnLst/>
              <a:rect l="l" t="t" r="r" b="b"/>
              <a:pathLst>
                <a:path w="6572" h="5637" extrusionOk="0">
                  <a:moveTo>
                    <a:pt x="3736" y="499"/>
                  </a:moveTo>
                  <a:cubicBezTo>
                    <a:pt x="5037" y="499"/>
                    <a:pt x="6071" y="1533"/>
                    <a:pt x="6071" y="2801"/>
                  </a:cubicBezTo>
                  <a:cubicBezTo>
                    <a:pt x="6071" y="4199"/>
                    <a:pt x="4929" y="5124"/>
                    <a:pt x="3735" y="5124"/>
                  </a:cubicBezTo>
                  <a:cubicBezTo>
                    <a:pt x="3162" y="5124"/>
                    <a:pt x="2578" y="4911"/>
                    <a:pt x="2102" y="4435"/>
                  </a:cubicBezTo>
                  <a:cubicBezTo>
                    <a:pt x="634" y="3001"/>
                    <a:pt x="1702" y="499"/>
                    <a:pt x="3736" y="499"/>
                  </a:cubicBezTo>
                  <a:close/>
                  <a:moveTo>
                    <a:pt x="3746" y="1"/>
                  </a:moveTo>
                  <a:cubicBezTo>
                    <a:pt x="3051" y="1"/>
                    <a:pt x="2343" y="258"/>
                    <a:pt x="1768" y="833"/>
                  </a:cubicBezTo>
                  <a:cubicBezTo>
                    <a:pt x="0" y="2601"/>
                    <a:pt x="1235" y="5636"/>
                    <a:pt x="3736" y="5636"/>
                  </a:cubicBezTo>
                  <a:cubicBezTo>
                    <a:pt x="5304" y="5603"/>
                    <a:pt x="6538" y="4369"/>
                    <a:pt x="6572" y="2801"/>
                  </a:cubicBezTo>
                  <a:cubicBezTo>
                    <a:pt x="6572" y="1112"/>
                    <a:pt x="5189" y="1"/>
                    <a:pt x="3746" y="1"/>
                  </a:cubicBezTo>
                  <a:close/>
                </a:path>
              </a:pathLst>
            </a:custGeom>
            <a:solidFill>
              <a:srgbClr val="FAFAF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415;p30">
              <a:extLst>
                <a:ext uri="{FF2B5EF4-FFF2-40B4-BE49-F238E27FC236}">
                  <a16:creationId xmlns:a16="http://schemas.microsoft.com/office/drawing/2014/main" id="{16821868-0449-1889-3DAA-B1D04CCE8F0B}"/>
                </a:ext>
              </a:extLst>
            </p:cNvPr>
            <p:cNvSpPr/>
            <p:nvPr/>
          </p:nvSpPr>
          <p:spPr>
            <a:xfrm flipH="1">
              <a:off x="6043509" y="3525841"/>
              <a:ext cx="184197" cy="157991"/>
            </a:xfrm>
            <a:custGeom>
              <a:avLst/>
              <a:gdLst/>
              <a:ahLst/>
              <a:cxnLst/>
              <a:rect l="l" t="t" r="r" b="b"/>
              <a:pathLst>
                <a:path w="6572" h="5637" extrusionOk="0">
                  <a:moveTo>
                    <a:pt x="3770" y="499"/>
                  </a:moveTo>
                  <a:cubicBezTo>
                    <a:pt x="5037" y="499"/>
                    <a:pt x="6071" y="1533"/>
                    <a:pt x="6071" y="2801"/>
                  </a:cubicBezTo>
                  <a:cubicBezTo>
                    <a:pt x="6071" y="4199"/>
                    <a:pt x="4929" y="5124"/>
                    <a:pt x="3735" y="5124"/>
                  </a:cubicBezTo>
                  <a:cubicBezTo>
                    <a:pt x="3162" y="5124"/>
                    <a:pt x="2578" y="4911"/>
                    <a:pt x="2102" y="4435"/>
                  </a:cubicBezTo>
                  <a:cubicBezTo>
                    <a:pt x="668" y="3001"/>
                    <a:pt x="1702" y="499"/>
                    <a:pt x="3770" y="499"/>
                  </a:cubicBezTo>
                  <a:close/>
                  <a:moveTo>
                    <a:pt x="3746" y="1"/>
                  </a:moveTo>
                  <a:cubicBezTo>
                    <a:pt x="3051" y="1"/>
                    <a:pt x="2343" y="258"/>
                    <a:pt x="1768" y="833"/>
                  </a:cubicBezTo>
                  <a:cubicBezTo>
                    <a:pt x="0" y="2601"/>
                    <a:pt x="1235" y="5636"/>
                    <a:pt x="3770" y="5636"/>
                  </a:cubicBezTo>
                  <a:cubicBezTo>
                    <a:pt x="5304" y="5603"/>
                    <a:pt x="6572" y="4369"/>
                    <a:pt x="6572" y="2801"/>
                  </a:cubicBezTo>
                  <a:cubicBezTo>
                    <a:pt x="6572" y="1112"/>
                    <a:pt x="5189" y="1"/>
                    <a:pt x="3746" y="1"/>
                  </a:cubicBezTo>
                  <a:close/>
                </a:path>
              </a:pathLst>
            </a:custGeom>
            <a:solidFill>
              <a:srgbClr val="FAFAF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416;p30">
              <a:extLst>
                <a:ext uri="{FF2B5EF4-FFF2-40B4-BE49-F238E27FC236}">
                  <a16:creationId xmlns:a16="http://schemas.microsoft.com/office/drawing/2014/main" id="{FA12A52C-A864-A67E-FAF5-24DF5E283893}"/>
                </a:ext>
              </a:extLst>
            </p:cNvPr>
            <p:cNvSpPr/>
            <p:nvPr/>
          </p:nvSpPr>
          <p:spPr>
            <a:xfrm flipH="1">
              <a:off x="5063696" y="2930004"/>
              <a:ext cx="229097" cy="285152"/>
            </a:xfrm>
            <a:custGeom>
              <a:avLst/>
              <a:gdLst/>
              <a:ahLst/>
              <a:cxnLst/>
              <a:rect l="l" t="t" r="r" b="b"/>
              <a:pathLst>
                <a:path w="8174" h="10174" extrusionOk="0">
                  <a:moveTo>
                    <a:pt x="6238" y="0"/>
                  </a:moveTo>
                  <a:cubicBezTo>
                    <a:pt x="5784" y="0"/>
                    <a:pt x="5324" y="176"/>
                    <a:pt x="4971" y="543"/>
                  </a:cubicBezTo>
                  <a:cubicBezTo>
                    <a:pt x="4937" y="576"/>
                    <a:pt x="4904" y="610"/>
                    <a:pt x="4871" y="676"/>
                  </a:cubicBezTo>
                  <a:cubicBezTo>
                    <a:pt x="4170" y="1610"/>
                    <a:pt x="4871" y="2511"/>
                    <a:pt x="4070" y="3145"/>
                  </a:cubicBezTo>
                  <a:cubicBezTo>
                    <a:pt x="3270" y="3779"/>
                    <a:pt x="1869" y="3912"/>
                    <a:pt x="1935" y="4980"/>
                  </a:cubicBezTo>
                  <a:cubicBezTo>
                    <a:pt x="1969" y="6014"/>
                    <a:pt x="901" y="6114"/>
                    <a:pt x="334" y="6914"/>
                  </a:cubicBezTo>
                  <a:cubicBezTo>
                    <a:pt x="1" y="7448"/>
                    <a:pt x="267" y="8249"/>
                    <a:pt x="501" y="8816"/>
                  </a:cubicBezTo>
                  <a:cubicBezTo>
                    <a:pt x="701" y="9216"/>
                    <a:pt x="1035" y="9550"/>
                    <a:pt x="1435" y="9716"/>
                  </a:cubicBezTo>
                  <a:cubicBezTo>
                    <a:pt x="1952" y="9919"/>
                    <a:pt x="2755" y="10173"/>
                    <a:pt x="3561" y="10173"/>
                  </a:cubicBezTo>
                  <a:cubicBezTo>
                    <a:pt x="4212" y="10173"/>
                    <a:pt x="4865" y="10008"/>
                    <a:pt x="5371" y="9516"/>
                  </a:cubicBezTo>
                  <a:cubicBezTo>
                    <a:pt x="6072" y="8816"/>
                    <a:pt x="5304" y="7882"/>
                    <a:pt x="6272" y="7215"/>
                  </a:cubicBezTo>
                  <a:cubicBezTo>
                    <a:pt x="7206" y="6547"/>
                    <a:pt x="6405" y="5547"/>
                    <a:pt x="6439" y="4613"/>
                  </a:cubicBezTo>
                  <a:cubicBezTo>
                    <a:pt x="6472" y="3679"/>
                    <a:pt x="7706" y="3545"/>
                    <a:pt x="8073" y="2478"/>
                  </a:cubicBezTo>
                  <a:cubicBezTo>
                    <a:pt x="8173" y="1944"/>
                    <a:pt x="8073" y="1410"/>
                    <a:pt x="7773" y="943"/>
                  </a:cubicBezTo>
                  <a:cubicBezTo>
                    <a:pt x="7465" y="327"/>
                    <a:pt x="6857" y="0"/>
                    <a:pt x="6238" y="0"/>
                  </a:cubicBezTo>
                  <a:close/>
                </a:path>
              </a:pathLst>
            </a:custGeom>
            <a:solidFill>
              <a:srgbClr val="EBEBE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417;p30">
              <a:extLst>
                <a:ext uri="{FF2B5EF4-FFF2-40B4-BE49-F238E27FC236}">
                  <a16:creationId xmlns:a16="http://schemas.microsoft.com/office/drawing/2014/main" id="{94038829-5910-2AE5-8BF3-3C7AD89CD89E}"/>
                </a:ext>
              </a:extLst>
            </p:cNvPr>
            <p:cNvSpPr/>
            <p:nvPr/>
          </p:nvSpPr>
          <p:spPr>
            <a:xfrm flipH="1">
              <a:off x="4499026" y="4881419"/>
              <a:ext cx="4532495" cy="264608"/>
            </a:xfrm>
            <a:custGeom>
              <a:avLst/>
              <a:gdLst/>
              <a:ahLst/>
              <a:cxnLst/>
              <a:rect l="l" t="t" r="r" b="b"/>
              <a:pathLst>
                <a:path w="161716" h="9441" extrusionOk="0">
                  <a:moveTo>
                    <a:pt x="80858" y="1"/>
                  </a:moveTo>
                  <a:cubicBezTo>
                    <a:pt x="36193" y="1"/>
                    <a:pt x="0" y="2136"/>
                    <a:pt x="0" y="4738"/>
                  </a:cubicBezTo>
                  <a:cubicBezTo>
                    <a:pt x="0" y="7339"/>
                    <a:pt x="36193" y="9441"/>
                    <a:pt x="80858" y="9441"/>
                  </a:cubicBezTo>
                  <a:cubicBezTo>
                    <a:pt x="125523" y="9441"/>
                    <a:pt x="161716" y="7339"/>
                    <a:pt x="161716" y="4738"/>
                  </a:cubicBezTo>
                  <a:cubicBezTo>
                    <a:pt x="161716" y="2136"/>
                    <a:pt x="125523" y="1"/>
                    <a:pt x="80858" y="1"/>
                  </a:cubicBezTo>
                  <a:close/>
                </a:path>
              </a:pathLst>
            </a:custGeom>
            <a:solidFill>
              <a:srgbClr val="F5F5F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418;p30">
              <a:extLst>
                <a:ext uri="{FF2B5EF4-FFF2-40B4-BE49-F238E27FC236}">
                  <a16:creationId xmlns:a16="http://schemas.microsoft.com/office/drawing/2014/main" id="{CAC124FE-721A-6E4E-7F63-1E19983B6C52}"/>
                </a:ext>
              </a:extLst>
            </p:cNvPr>
            <p:cNvSpPr/>
            <p:nvPr/>
          </p:nvSpPr>
          <p:spPr>
            <a:xfrm flipH="1">
              <a:off x="6243570" y="1795255"/>
              <a:ext cx="342216" cy="3167528"/>
            </a:xfrm>
            <a:custGeom>
              <a:avLst/>
              <a:gdLst/>
              <a:ahLst/>
              <a:cxnLst/>
              <a:rect l="l" t="t" r="r" b="b"/>
              <a:pathLst>
                <a:path w="12210" h="113015" extrusionOk="0">
                  <a:moveTo>
                    <a:pt x="11009" y="1"/>
                  </a:moveTo>
                  <a:cubicBezTo>
                    <a:pt x="10608" y="1"/>
                    <a:pt x="10275" y="301"/>
                    <a:pt x="10241" y="701"/>
                  </a:cubicBezTo>
                  <a:lnTo>
                    <a:pt x="34" y="112515"/>
                  </a:lnTo>
                  <a:cubicBezTo>
                    <a:pt x="1" y="112781"/>
                    <a:pt x="201" y="113015"/>
                    <a:pt x="468" y="113015"/>
                  </a:cubicBezTo>
                  <a:lnTo>
                    <a:pt x="1502" y="113015"/>
                  </a:lnTo>
                  <a:cubicBezTo>
                    <a:pt x="1735" y="113015"/>
                    <a:pt x="1935" y="112815"/>
                    <a:pt x="1935" y="112581"/>
                  </a:cubicBezTo>
                  <a:lnTo>
                    <a:pt x="12209" y="1"/>
                  </a:ln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419;p30">
              <a:extLst>
                <a:ext uri="{FF2B5EF4-FFF2-40B4-BE49-F238E27FC236}">
                  <a16:creationId xmlns:a16="http://schemas.microsoft.com/office/drawing/2014/main" id="{66C36B33-A782-E1F5-52CB-F5D7F1146D1E}"/>
                </a:ext>
              </a:extLst>
            </p:cNvPr>
            <p:cNvSpPr/>
            <p:nvPr/>
          </p:nvSpPr>
          <p:spPr>
            <a:xfrm flipH="1">
              <a:off x="5922907" y="1795255"/>
              <a:ext cx="342188" cy="3166603"/>
            </a:xfrm>
            <a:custGeom>
              <a:avLst/>
              <a:gdLst/>
              <a:ahLst/>
              <a:cxnLst/>
              <a:rect l="l" t="t" r="r" b="b"/>
              <a:pathLst>
                <a:path w="12209" h="112982" extrusionOk="0">
                  <a:moveTo>
                    <a:pt x="0" y="1"/>
                  </a:moveTo>
                  <a:lnTo>
                    <a:pt x="10274" y="112581"/>
                  </a:lnTo>
                  <a:cubicBezTo>
                    <a:pt x="10308" y="112815"/>
                    <a:pt x="10508" y="112982"/>
                    <a:pt x="10741" y="112982"/>
                  </a:cubicBezTo>
                  <a:lnTo>
                    <a:pt x="11742" y="112982"/>
                  </a:lnTo>
                  <a:cubicBezTo>
                    <a:pt x="12009" y="112982"/>
                    <a:pt x="12209" y="112748"/>
                    <a:pt x="12176" y="112515"/>
                  </a:cubicBezTo>
                  <a:lnTo>
                    <a:pt x="1968" y="701"/>
                  </a:lnTo>
                  <a:cubicBezTo>
                    <a:pt x="1935" y="301"/>
                    <a:pt x="1601" y="1"/>
                    <a:pt x="1201"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420;p30">
              <a:extLst>
                <a:ext uri="{FF2B5EF4-FFF2-40B4-BE49-F238E27FC236}">
                  <a16:creationId xmlns:a16="http://schemas.microsoft.com/office/drawing/2014/main" id="{10D08986-9332-05A7-29C4-754085C3E3CF}"/>
                </a:ext>
              </a:extLst>
            </p:cNvPr>
            <p:cNvSpPr/>
            <p:nvPr/>
          </p:nvSpPr>
          <p:spPr>
            <a:xfrm flipH="1">
              <a:off x="4883255" y="2608641"/>
              <a:ext cx="23403" cy="184197"/>
            </a:xfrm>
            <a:custGeom>
              <a:avLst/>
              <a:gdLst/>
              <a:ahLst/>
              <a:cxnLst/>
              <a:rect l="l" t="t" r="r" b="b"/>
              <a:pathLst>
                <a:path w="835" h="6572" extrusionOk="0">
                  <a:moveTo>
                    <a:pt x="634" y="0"/>
                  </a:moveTo>
                  <a:cubicBezTo>
                    <a:pt x="534" y="0"/>
                    <a:pt x="434" y="67"/>
                    <a:pt x="434" y="201"/>
                  </a:cubicBezTo>
                  <a:lnTo>
                    <a:pt x="0" y="6338"/>
                  </a:lnTo>
                  <a:cubicBezTo>
                    <a:pt x="0" y="6438"/>
                    <a:pt x="67" y="6538"/>
                    <a:pt x="200" y="6572"/>
                  </a:cubicBezTo>
                  <a:cubicBezTo>
                    <a:pt x="300" y="6572"/>
                    <a:pt x="400" y="6472"/>
                    <a:pt x="434" y="6372"/>
                  </a:cubicBezTo>
                  <a:lnTo>
                    <a:pt x="834" y="234"/>
                  </a:lnTo>
                  <a:cubicBezTo>
                    <a:pt x="834" y="101"/>
                    <a:pt x="767" y="0"/>
                    <a:pt x="634"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421;p30">
              <a:extLst>
                <a:ext uri="{FF2B5EF4-FFF2-40B4-BE49-F238E27FC236}">
                  <a16:creationId xmlns:a16="http://schemas.microsoft.com/office/drawing/2014/main" id="{004AF306-00E1-9A84-FFEC-27757E966B5A}"/>
                </a:ext>
              </a:extLst>
            </p:cNvPr>
            <p:cNvSpPr/>
            <p:nvPr/>
          </p:nvSpPr>
          <p:spPr>
            <a:xfrm flipH="1">
              <a:off x="4848669" y="2116702"/>
              <a:ext cx="38370" cy="390984"/>
            </a:xfrm>
            <a:custGeom>
              <a:avLst/>
              <a:gdLst/>
              <a:ahLst/>
              <a:cxnLst/>
              <a:rect l="l" t="t" r="r" b="b"/>
              <a:pathLst>
                <a:path w="1369" h="13950" extrusionOk="0">
                  <a:moveTo>
                    <a:pt x="1116" y="0"/>
                  </a:moveTo>
                  <a:cubicBezTo>
                    <a:pt x="1010" y="0"/>
                    <a:pt x="935" y="87"/>
                    <a:pt x="935" y="173"/>
                  </a:cubicBezTo>
                  <a:lnTo>
                    <a:pt x="1" y="13716"/>
                  </a:lnTo>
                  <a:cubicBezTo>
                    <a:pt x="1" y="13816"/>
                    <a:pt x="67" y="13917"/>
                    <a:pt x="201" y="13950"/>
                  </a:cubicBezTo>
                  <a:cubicBezTo>
                    <a:pt x="301" y="13950"/>
                    <a:pt x="401" y="13850"/>
                    <a:pt x="434" y="13750"/>
                  </a:cubicBezTo>
                  <a:lnTo>
                    <a:pt x="1368" y="207"/>
                  </a:lnTo>
                  <a:cubicBezTo>
                    <a:pt x="1368" y="107"/>
                    <a:pt x="1268" y="7"/>
                    <a:pt x="1168" y="7"/>
                  </a:cubicBezTo>
                  <a:cubicBezTo>
                    <a:pt x="1150" y="2"/>
                    <a:pt x="1133" y="0"/>
                    <a:pt x="1116"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422;p30">
              <a:extLst>
                <a:ext uri="{FF2B5EF4-FFF2-40B4-BE49-F238E27FC236}">
                  <a16:creationId xmlns:a16="http://schemas.microsoft.com/office/drawing/2014/main" id="{A2E2974B-E0A3-691A-4310-6341DAC18853}"/>
                </a:ext>
              </a:extLst>
            </p:cNvPr>
            <p:cNvSpPr/>
            <p:nvPr/>
          </p:nvSpPr>
          <p:spPr>
            <a:xfrm flipH="1">
              <a:off x="4873978" y="1836399"/>
              <a:ext cx="2862673" cy="2088637"/>
            </a:xfrm>
            <a:custGeom>
              <a:avLst/>
              <a:gdLst/>
              <a:ahLst/>
              <a:cxnLst/>
              <a:rect l="l" t="t" r="r" b="b"/>
              <a:pathLst>
                <a:path w="102138" h="74521" extrusionOk="0">
                  <a:moveTo>
                    <a:pt x="97294" y="0"/>
                  </a:moveTo>
                  <a:cubicBezTo>
                    <a:pt x="97275" y="0"/>
                    <a:pt x="97255" y="0"/>
                    <a:pt x="97236" y="0"/>
                  </a:cubicBezTo>
                  <a:lnTo>
                    <a:pt x="10041" y="0"/>
                  </a:lnTo>
                  <a:cubicBezTo>
                    <a:pt x="7239" y="67"/>
                    <a:pt x="4904" y="2202"/>
                    <a:pt x="4670" y="5004"/>
                  </a:cubicBezTo>
                  <a:lnTo>
                    <a:pt x="234" y="69517"/>
                  </a:lnTo>
                  <a:cubicBezTo>
                    <a:pt x="0" y="72219"/>
                    <a:pt x="2135" y="74520"/>
                    <a:pt x="4870" y="74520"/>
                  </a:cubicBezTo>
                  <a:lnTo>
                    <a:pt x="92099" y="74520"/>
                  </a:lnTo>
                  <a:cubicBezTo>
                    <a:pt x="94901" y="74454"/>
                    <a:pt x="97203" y="72285"/>
                    <a:pt x="97436" y="69517"/>
                  </a:cubicBezTo>
                  <a:lnTo>
                    <a:pt x="101906" y="5004"/>
                  </a:lnTo>
                  <a:cubicBezTo>
                    <a:pt x="102138" y="2321"/>
                    <a:pt x="100002" y="0"/>
                    <a:pt x="97294"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23;p30">
              <a:extLst>
                <a:ext uri="{FF2B5EF4-FFF2-40B4-BE49-F238E27FC236}">
                  <a16:creationId xmlns:a16="http://schemas.microsoft.com/office/drawing/2014/main" id="{CC78354F-0359-B871-7185-1D182705192C}"/>
                </a:ext>
              </a:extLst>
            </p:cNvPr>
            <p:cNvSpPr/>
            <p:nvPr/>
          </p:nvSpPr>
          <p:spPr>
            <a:xfrm flipH="1">
              <a:off x="4869297" y="1832643"/>
              <a:ext cx="2872006" cy="2096149"/>
            </a:xfrm>
            <a:custGeom>
              <a:avLst/>
              <a:gdLst/>
              <a:ahLst/>
              <a:cxnLst/>
              <a:rect l="l" t="t" r="r" b="b"/>
              <a:pathLst>
                <a:path w="102471" h="74789" extrusionOk="0">
                  <a:moveTo>
                    <a:pt x="97460" y="301"/>
                  </a:moveTo>
                  <a:cubicBezTo>
                    <a:pt x="100068" y="301"/>
                    <a:pt x="102137" y="2522"/>
                    <a:pt x="101905" y="5138"/>
                  </a:cubicBezTo>
                  <a:lnTo>
                    <a:pt x="97469" y="69651"/>
                  </a:lnTo>
                  <a:cubicBezTo>
                    <a:pt x="97235" y="72353"/>
                    <a:pt x="94967" y="74421"/>
                    <a:pt x="92265" y="74488"/>
                  </a:cubicBezTo>
                  <a:lnTo>
                    <a:pt x="5036" y="74488"/>
                  </a:lnTo>
                  <a:cubicBezTo>
                    <a:pt x="5017" y="74488"/>
                    <a:pt x="4998" y="74488"/>
                    <a:pt x="4979" y="74488"/>
                  </a:cubicBezTo>
                  <a:cubicBezTo>
                    <a:pt x="2371" y="74488"/>
                    <a:pt x="301" y="72234"/>
                    <a:pt x="533" y="69651"/>
                  </a:cubicBezTo>
                  <a:lnTo>
                    <a:pt x="5003" y="5171"/>
                  </a:lnTo>
                  <a:cubicBezTo>
                    <a:pt x="5236" y="2436"/>
                    <a:pt x="7471" y="335"/>
                    <a:pt x="10207" y="301"/>
                  </a:cubicBezTo>
                  <a:lnTo>
                    <a:pt x="97402" y="301"/>
                  </a:lnTo>
                  <a:cubicBezTo>
                    <a:pt x="97422" y="301"/>
                    <a:pt x="97441" y="301"/>
                    <a:pt x="97460" y="301"/>
                  </a:cubicBezTo>
                  <a:close/>
                  <a:moveTo>
                    <a:pt x="97460" y="1"/>
                  </a:moveTo>
                  <a:cubicBezTo>
                    <a:pt x="97441" y="1"/>
                    <a:pt x="97422" y="1"/>
                    <a:pt x="97402" y="1"/>
                  </a:cubicBezTo>
                  <a:lnTo>
                    <a:pt x="10207" y="1"/>
                  </a:lnTo>
                  <a:cubicBezTo>
                    <a:pt x="7304" y="34"/>
                    <a:pt x="4936" y="2269"/>
                    <a:pt x="4669" y="5138"/>
                  </a:cubicBezTo>
                  <a:lnTo>
                    <a:pt x="233" y="69651"/>
                  </a:lnTo>
                  <a:cubicBezTo>
                    <a:pt x="1" y="72433"/>
                    <a:pt x="2203" y="74788"/>
                    <a:pt x="4978" y="74788"/>
                  </a:cubicBezTo>
                  <a:cubicBezTo>
                    <a:pt x="4997" y="74788"/>
                    <a:pt x="5017" y="74788"/>
                    <a:pt x="5036" y="74788"/>
                  </a:cubicBezTo>
                  <a:lnTo>
                    <a:pt x="92265" y="74788"/>
                  </a:lnTo>
                  <a:cubicBezTo>
                    <a:pt x="95167" y="74754"/>
                    <a:pt x="97569" y="72520"/>
                    <a:pt x="97802" y="69651"/>
                  </a:cubicBezTo>
                  <a:lnTo>
                    <a:pt x="102239" y="5171"/>
                  </a:lnTo>
                  <a:cubicBezTo>
                    <a:pt x="102471" y="2389"/>
                    <a:pt x="100268" y="1"/>
                    <a:pt x="97460" y="1"/>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24;p30">
              <a:extLst>
                <a:ext uri="{FF2B5EF4-FFF2-40B4-BE49-F238E27FC236}">
                  <a16:creationId xmlns:a16="http://schemas.microsoft.com/office/drawing/2014/main" id="{8472C095-135A-0DC3-8C47-DB20068053FF}"/>
                </a:ext>
              </a:extLst>
            </p:cNvPr>
            <p:cNvSpPr/>
            <p:nvPr/>
          </p:nvSpPr>
          <p:spPr>
            <a:xfrm flipH="1">
              <a:off x="6322103" y="2960610"/>
              <a:ext cx="575937" cy="517107"/>
            </a:xfrm>
            <a:custGeom>
              <a:avLst/>
              <a:gdLst/>
              <a:ahLst/>
              <a:cxnLst/>
              <a:rect l="l" t="t" r="r" b="b"/>
              <a:pathLst>
                <a:path w="20549" h="18450" extrusionOk="0">
                  <a:moveTo>
                    <a:pt x="10926" y="0"/>
                  </a:moveTo>
                  <a:cubicBezTo>
                    <a:pt x="8510" y="0"/>
                    <a:pt x="6032" y="943"/>
                    <a:pt x="4103" y="2820"/>
                  </a:cubicBezTo>
                  <a:cubicBezTo>
                    <a:pt x="301" y="6489"/>
                    <a:pt x="0" y="12327"/>
                    <a:pt x="3403" y="15863"/>
                  </a:cubicBezTo>
                  <a:cubicBezTo>
                    <a:pt x="5081" y="17590"/>
                    <a:pt x="7332" y="18449"/>
                    <a:pt x="9639" y="18449"/>
                  </a:cubicBezTo>
                  <a:cubicBezTo>
                    <a:pt x="12056" y="18449"/>
                    <a:pt x="14533" y="17506"/>
                    <a:pt x="16479" y="15629"/>
                  </a:cubicBezTo>
                  <a:cubicBezTo>
                    <a:pt x="20248" y="11960"/>
                    <a:pt x="20548" y="6123"/>
                    <a:pt x="17146" y="2587"/>
                  </a:cubicBezTo>
                  <a:cubicBezTo>
                    <a:pt x="15484" y="860"/>
                    <a:pt x="13233" y="0"/>
                    <a:pt x="10926"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25;p30">
              <a:extLst>
                <a:ext uri="{FF2B5EF4-FFF2-40B4-BE49-F238E27FC236}">
                  <a16:creationId xmlns:a16="http://schemas.microsoft.com/office/drawing/2014/main" id="{F700CB3B-698E-1F59-B6D5-7D1BBA0CC2DC}"/>
                </a:ext>
              </a:extLst>
            </p:cNvPr>
            <p:cNvSpPr/>
            <p:nvPr/>
          </p:nvSpPr>
          <p:spPr>
            <a:xfrm flipH="1">
              <a:off x="6379139" y="3012153"/>
              <a:ext cx="460940" cy="414022"/>
            </a:xfrm>
            <a:custGeom>
              <a:avLst/>
              <a:gdLst/>
              <a:ahLst/>
              <a:cxnLst/>
              <a:rect l="l" t="t" r="r" b="b"/>
              <a:pathLst>
                <a:path w="16446" h="14772" extrusionOk="0">
                  <a:moveTo>
                    <a:pt x="8717" y="0"/>
                  </a:moveTo>
                  <a:cubicBezTo>
                    <a:pt x="6792" y="0"/>
                    <a:pt x="4818" y="751"/>
                    <a:pt x="3270" y="2249"/>
                  </a:cubicBezTo>
                  <a:cubicBezTo>
                    <a:pt x="234" y="5184"/>
                    <a:pt x="1" y="9854"/>
                    <a:pt x="2736" y="12690"/>
                  </a:cubicBezTo>
                  <a:cubicBezTo>
                    <a:pt x="4059" y="14079"/>
                    <a:pt x="5863" y="14771"/>
                    <a:pt x="7716" y="14771"/>
                  </a:cubicBezTo>
                  <a:cubicBezTo>
                    <a:pt x="9646" y="14771"/>
                    <a:pt x="11628" y="14020"/>
                    <a:pt x="13177" y="12523"/>
                  </a:cubicBezTo>
                  <a:cubicBezTo>
                    <a:pt x="16212" y="9587"/>
                    <a:pt x="16446" y="4917"/>
                    <a:pt x="13710" y="2082"/>
                  </a:cubicBezTo>
                  <a:cubicBezTo>
                    <a:pt x="12370" y="693"/>
                    <a:pt x="10566" y="0"/>
                    <a:pt x="8717"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26;p30">
              <a:extLst>
                <a:ext uri="{FF2B5EF4-FFF2-40B4-BE49-F238E27FC236}">
                  <a16:creationId xmlns:a16="http://schemas.microsoft.com/office/drawing/2014/main" id="{98B5A931-A217-882C-0694-7071768CE1A6}"/>
                </a:ext>
              </a:extLst>
            </p:cNvPr>
            <p:cNvSpPr/>
            <p:nvPr/>
          </p:nvSpPr>
          <p:spPr>
            <a:xfrm flipH="1">
              <a:off x="6437100" y="3064144"/>
              <a:ext cx="345943" cy="310012"/>
            </a:xfrm>
            <a:custGeom>
              <a:avLst/>
              <a:gdLst/>
              <a:ahLst/>
              <a:cxnLst/>
              <a:rect l="l" t="t" r="r" b="b"/>
              <a:pathLst>
                <a:path w="12343" h="11061" extrusionOk="0">
                  <a:moveTo>
                    <a:pt x="6561" y="1"/>
                  </a:moveTo>
                  <a:cubicBezTo>
                    <a:pt x="5112" y="1"/>
                    <a:pt x="3629" y="568"/>
                    <a:pt x="2469" y="1695"/>
                  </a:cubicBezTo>
                  <a:cubicBezTo>
                    <a:pt x="200" y="3896"/>
                    <a:pt x="0" y="7399"/>
                    <a:pt x="2068" y="9500"/>
                  </a:cubicBezTo>
                  <a:cubicBezTo>
                    <a:pt x="3062" y="10543"/>
                    <a:pt x="4407" y="11061"/>
                    <a:pt x="5790" y="11061"/>
                  </a:cubicBezTo>
                  <a:cubicBezTo>
                    <a:pt x="7238" y="11061"/>
                    <a:pt x="8730" y="10493"/>
                    <a:pt x="9907" y="9367"/>
                  </a:cubicBezTo>
                  <a:cubicBezTo>
                    <a:pt x="12176" y="7165"/>
                    <a:pt x="12342" y="3663"/>
                    <a:pt x="10308" y="1561"/>
                  </a:cubicBezTo>
                  <a:cubicBezTo>
                    <a:pt x="9297" y="518"/>
                    <a:pt x="7945" y="1"/>
                    <a:pt x="6561" y="1"/>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27;p30">
              <a:extLst>
                <a:ext uri="{FF2B5EF4-FFF2-40B4-BE49-F238E27FC236}">
                  <a16:creationId xmlns:a16="http://schemas.microsoft.com/office/drawing/2014/main" id="{13F0FBB3-DEC1-25A0-0660-9050219FE89B}"/>
                </a:ext>
              </a:extLst>
            </p:cNvPr>
            <p:cNvSpPr/>
            <p:nvPr/>
          </p:nvSpPr>
          <p:spPr>
            <a:xfrm flipH="1">
              <a:off x="6501619" y="3115378"/>
              <a:ext cx="216877" cy="207572"/>
            </a:xfrm>
            <a:custGeom>
              <a:avLst/>
              <a:gdLst/>
              <a:ahLst/>
              <a:cxnLst/>
              <a:rect l="l" t="t" r="r" b="b"/>
              <a:pathLst>
                <a:path w="7738" h="7406" extrusionOk="0">
                  <a:moveTo>
                    <a:pt x="4135" y="0"/>
                  </a:moveTo>
                  <a:cubicBezTo>
                    <a:pt x="2067" y="33"/>
                    <a:pt x="366" y="1635"/>
                    <a:pt x="199" y="3703"/>
                  </a:cubicBezTo>
                  <a:cubicBezTo>
                    <a:pt x="1" y="5685"/>
                    <a:pt x="1570" y="7406"/>
                    <a:pt x="3577" y="7406"/>
                  </a:cubicBezTo>
                  <a:cubicBezTo>
                    <a:pt x="3596" y="7406"/>
                    <a:pt x="3616" y="7406"/>
                    <a:pt x="3635" y="7405"/>
                  </a:cubicBezTo>
                  <a:cubicBezTo>
                    <a:pt x="5703" y="7372"/>
                    <a:pt x="7404" y="5771"/>
                    <a:pt x="7571" y="3703"/>
                  </a:cubicBezTo>
                  <a:cubicBezTo>
                    <a:pt x="7738" y="1701"/>
                    <a:pt x="6137" y="0"/>
                    <a:pt x="4135"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428;p30">
              <a:extLst>
                <a:ext uri="{FF2B5EF4-FFF2-40B4-BE49-F238E27FC236}">
                  <a16:creationId xmlns:a16="http://schemas.microsoft.com/office/drawing/2014/main" id="{D2B367B4-E267-0248-E47E-26F8C1BA795C}"/>
                </a:ext>
              </a:extLst>
            </p:cNvPr>
            <p:cNvSpPr/>
            <p:nvPr/>
          </p:nvSpPr>
          <p:spPr>
            <a:xfrm flipH="1">
              <a:off x="6555880" y="3167705"/>
              <a:ext cx="108382" cy="102917"/>
            </a:xfrm>
            <a:custGeom>
              <a:avLst/>
              <a:gdLst/>
              <a:ahLst/>
              <a:cxnLst/>
              <a:rect l="l" t="t" r="r" b="b"/>
              <a:pathLst>
                <a:path w="3867" h="3672" extrusionOk="0">
                  <a:moveTo>
                    <a:pt x="2123" y="0"/>
                  </a:moveTo>
                  <a:cubicBezTo>
                    <a:pt x="2104" y="0"/>
                    <a:pt x="2086" y="0"/>
                    <a:pt x="2067" y="1"/>
                  </a:cubicBezTo>
                  <a:cubicBezTo>
                    <a:pt x="1033" y="1"/>
                    <a:pt x="165" y="802"/>
                    <a:pt x="99" y="1836"/>
                  </a:cubicBezTo>
                  <a:cubicBezTo>
                    <a:pt x="1" y="2818"/>
                    <a:pt x="770" y="3671"/>
                    <a:pt x="1744" y="3671"/>
                  </a:cubicBezTo>
                  <a:cubicBezTo>
                    <a:pt x="1763" y="3671"/>
                    <a:pt x="1781" y="3671"/>
                    <a:pt x="1800" y="3670"/>
                  </a:cubicBezTo>
                  <a:cubicBezTo>
                    <a:pt x="2834" y="3670"/>
                    <a:pt x="3701" y="2870"/>
                    <a:pt x="3801" y="1836"/>
                  </a:cubicBezTo>
                  <a:cubicBezTo>
                    <a:pt x="3867" y="854"/>
                    <a:pt x="3097" y="0"/>
                    <a:pt x="2123"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429;p30">
              <a:extLst>
                <a:ext uri="{FF2B5EF4-FFF2-40B4-BE49-F238E27FC236}">
                  <a16:creationId xmlns:a16="http://schemas.microsoft.com/office/drawing/2014/main" id="{F6363496-512E-B907-6457-810CCE3A7F6C}"/>
                </a:ext>
              </a:extLst>
            </p:cNvPr>
            <p:cNvSpPr/>
            <p:nvPr/>
          </p:nvSpPr>
          <p:spPr>
            <a:xfrm flipH="1">
              <a:off x="7090701" y="3072328"/>
              <a:ext cx="432801" cy="529215"/>
            </a:xfrm>
            <a:custGeom>
              <a:avLst/>
              <a:gdLst/>
              <a:ahLst/>
              <a:cxnLst/>
              <a:rect l="l" t="t" r="r" b="b"/>
              <a:pathLst>
                <a:path w="15442" h="18882" extrusionOk="0">
                  <a:moveTo>
                    <a:pt x="8188" y="401"/>
                  </a:moveTo>
                  <a:cubicBezTo>
                    <a:pt x="12003" y="401"/>
                    <a:pt x="15008" y="3676"/>
                    <a:pt x="14678" y="7474"/>
                  </a:cubicBezTo>
                  <a:cubicBezTo>
                    <a:pt x="14444" y="9642"/>
                    <a:pt x="13610" y="11710"/>
                    <a:pt x="12243" y="13411"/>
                  </a:cubicBezTo>
                  <a:cubicBezTo>
                    <a:pt x="11275" y="14679"/>
                    <a:pt x="10575" y="16113"/>
                    <a:pt x="10174" y="17648"/>
                  </a:cubicBezTo>
                  <a:cubicBezTo>
                    <a:pt x="10041" y="18115"/>
                    <a:pt x="9607" y="18448"/>
                    <a:pt x="9107" y="18448"/>
                  </a:cubicBezTo>
                  <a:lnTo>
                    <a:pt x="4537" y="18448"/>
                  </a:lnTo>
                  <a:cubicBezTo>
                    <a:pt x="4070" y="18448"/>
                    <a:pt x="3703" y="18115"/>
                    <a:pt x="3636" y="17681"/>
                  </a:cubicBezTo>
                  <a:cubicBezTo>
                    <a:pt x="3436" y="16180"/>
                    <a:pt x="2936" y="14712"/>
                    <a:pt x="2102" y="13411"/>
                  </a:cubicBezTo>
                  <a:cubicBezTo>
                    <a:pt x="1001" y="11677"/>
                    <a:pt x="434" y="9609"/>
                    <a:pt x="501" y="7507"/>
                  </a:cubicBezTo>
                  <a:cubicBezTo>
                    <a:pt x="834" y="3538"/>
                    <a:pt x="4137" y="502"/>
                    <a:pt x="8106" y="435"/>
                  </a:cubicBezTo>
                  <a:lnTo>
                    <a:pt x="8073" y="402"/>
                  </a:lnTo>
                  <a:cubicBezTo>
                    <a:pt x="8111" y="401"/>
                    <a:pt x="8150" y="401"/>
                    <a:pt x="8188" y="401"/>
                  </a:cubicBezTo>
                  <a:close/>
                  <a:moveTo>
                    <a:pt x="8222" y="1"/>
                  </a:moveTo>
                  <a:cubicBezTo>
                    <a:pt x="8183" y="1"/>
                    <a:pt x="8145" y="1"/>
                    <a:pt x="8106" y="2"/>
                  </a:cubicBezTo>
                  <a:cubicBezTo>
                    <a:pt x="3903" y="68"/>
                    <a:pt x="434" y="3304"/>
                    <a:pt x="101" y="7507"/>
                  </a:cubicBezTo>
                  <a:cubicBezTo>
                    <a:pt x="0" y="9675"/>
                    <a:pt x="601" y="11843"/>
                    <a:pt x="1768" y="13645"/>
                  </a:cubicBezTo>
                  <a:cubicBezTo>
                    <a:pt x="2536" y="14912"/>
                    <a:pt x="3036" y="16280"/>
                    <a:pt x="3236" y="17748"/>
                  </a:cubicBezTo>
                  <a:cubicBezTo>
                    <a:pt x="3303" y="18415"/>
                    <a:pt x="3870" y="18882"/>
                    <a:pt x="4537" y="18882"/>
                  </a:cubicBezTo>
                  <a:lnTo>
                    <a:pt x="9140" y="18882"/>
                  </a:lnTo>
                  <a:cubicBezTo>
                    <a:pt x="9807" y="18882"/>
                    <a:pt x="10408" y="18415"/>
                    <a:pt x="10575" y="17748"/>
                  </a:cubicBezTo>
                  <a:cubicBezTo>
                    <a:pt x="10975" y="16247"/>
                    <a:pt x="11675" y="14879"/>
                    <a:pt x="12609" y="13645"/>
                  </a:cubicBezTo>
                  <a:cubicBezTo>
                    <a:pt x="14010" y="11877"/>
                    <a:pt x="14878" y="9742"/>
                    <a:pt x="15111" y="7507"/>
                  </a:cubicBezTo>
                  <a:cubicBezTo>
                    <a:pt x="15442" y="3476"/>
                    <a:pt x="12270" y="1"/>
                    <a:pt x="8222" y="1"/>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30;p30">
              <a:extLst>
                <a:ext uri="{FF2B5EF4-FFF2-40B4-BE49-F238E27FC236}">
                  <a16:creationId xmlns:a16="http://schemas.microsoft.com/office/drawing/2014/main" id="{1A7F963A-2A44-0670-10A4-C9FD30C379B0}"/>
                </a:ext>
              </a:extLst>
            </p:cNvPr>
            <p:cNvSpPr/>
            <p:nvPr/>
          </p:nvSpPr>
          <p:spPr>
            <a:xfrm flipH="1">
              <a:off x="7180361" y="3246266"/>
              <a:ext cx="271166" cy="421674"/>
            </a:xfrm>
            <a:custGeom>
              <a:avLst/>
              <a:gdLst/>
              <a:ahLst/>
              <a:cxnLst/>
              <a:rect l="l" t="t" r="r" b="b"/>
              <a:pathLst>
                <a:path w="9675" h="15045" extrusionOk="0">
                  <a:moveTo>
                    <a:pt x="4971" y="367"/>
                  </a:moveTo>
                  <a:cubicBezTo>
                    <a:pt x="4971" y="367"/>
                    <a:pt x="5205" y="500"/>
                    <a:pt x="5171" y="1901"/>
                  </a:cubicBezTo>
                  <a:cubicBezTo>
                    <a:pt x="5205" y="2769"/>
                    <a:pt x="5038" y="3636"/>
                    <a:pt x="4671" y="4437"/>
                  </a:cubicBezTo>
                  <a:lnTo>
                    <a:pt x="4638" y="4437"/>
                  </a:lnTo>
                  <a:cubicBezTo>
                    <a:pt x="4471" y="4036"/>
                    <a:pt x="4371" y="3636"/>
                    <a:pt x="4337" y="3202"/>
                  </a:cubicBezTo>
                  <a:cubicBezTo>
                    <a:pt x="4237" y="1801"/>
                    <a:pt x="4771" y="434"/>
                    <a:pt x="4971" y="367"/>
                  </a:cubicBezTo>
                  <a:close/>
                  <a:moveTo>
                    <a:pt x="1035" y="1768"/>
                  </a:moveTo>
                  <a:cubicBezTo>
                    <a:pt x="1369" y="1768"/>
                    <a:pt x="1702" y="1901"/>
                    <a:pt x="1902" y="2168"/>
                  </a:cubicBezTo>
                  <a:cubicBezTo>
                    <a:pt x="2269" y="2602"/>
                    <a:pt x="2603" y="3403"/>
                    <a:pt x="2703" y="4970"/>
                  </a:cubicBezTo>
                  <a:cubicBezTo>
                    <a:pt x="1569" y="4470"/>
                    <a:pt x="368" y="3036"/>
                    <a:pt x="368" y="2235"/>
                  </a:cubicBezTo>
                  <a:lnTo>
                    <a:pt x="335" y="2235"/>
                  </a:lnTo>
                  <a:cubicBezTo>
                    <a:pt x="335" y="2068"/>
                    <a:pt x="401" y="1801"/>
                    <a:pt x="935" y="1768"/>
                  </a:cubicBezTo>
                  <a:close/>
                  <a:moveTo>
                    <a:pt x="8974" y="1901"/>
                  </a:moveTo>
                  <a:cubicBezTo>
                    <a:pt x="9141" y="2002"/>
                    <a:pt x="9274" y="2602"/>
                    <a:pt x="9074" y="3369"/>
                  </a:cubicBezTo>
                  <a:cubicBezTo>
                    <a:pt x="8807" y="4303"/>
                    <a:pt x="8073" y="5037"/>
                    <a:pt x="7139" y="5304"/>
                  </a:cubicBezTo>
                  <a:cubicBezTo>
                    <a:pt x="7373" y="4303"/>
                    <a:pt x="7807" y="3336"/>
                    <a:pt x="8307" y="2435"/>
                  </a:cubicBezTo>
                  <a:cubicBezTo>
                    <a:pt x="8607" y="2035"/>
                    <a:pt x="8807" y="1901"/>
                    <a:pt x="8907" y="1901"/>
                  </a:cubicBezTo>
                  <a:close/>
                  <a:moveTo>
                    <a:pt x="5038" y="0"/>
                  </a:moveTo>
                  <a:cubicBezTo>
                    <a:pt x="4471" y="0"/>
                    <a:pt x="4104" y="1401"/>
                    <a:pt x="4004" y="2335"/>
                  </a:cubicBezTo>
                  <a:cubicBezTo>
                    <a:pt x="3870" y="3169"/>
                    <a:pt x="4037" y="4003"/>
                    <a:pt x="4404" y="4770"/>
                  </a:cubicBezTo>
                  <a:cubicBezTo>
                    <a:pt x="4204" y="4970"/>
                    <a:pt x="3904" y="5104"/>
                    <a:pt x="3570" y="5104"/>
                  </a:cubicBezTo>
                  <a:cubicBezTo>
                    <a:pt x="3521" y="5114"/>
                    <a:pt x="3472" y="5118"/>
                    <a:pt x="3424" y="5118"/>
                  </a:cubicBezTo>
                  <a:cubicBezTo>
                    <a:pt x="3309" y="5118"/>
                    <a:pt x="3198" y="5094"/>
                    <a:pt x="3103" y="5070"/>
                  </a:cubicBezTo>
                  <a:cubicBezTo>
                    <a:pt x="3003" y="3536"/>
                    <a:pt x="2703" y="2469"/>
                    <a:pt x="2203" y="1901"/>
                  </a:cubicBezTo>
                  <a:cubicBezTo>
                    <a:pt x="1897" y="1565"/>
                    <a:pt x="1479" y="1397"/>
                    <a:pt x="1052" y="1397"/>
                  </a:cubicBezTo>
                  <a:cubicBezTo>
                    <a:pt x="1013" y="1397"/>
                    <a:pt x="974" y="1398"/>
                    <a:pt x="935" y="1401"/>
                  </a:cubicBezTo>
                  <a:cubicBezTo>
                    <a:pt x="101" y="1434"/>
                    <a:pt x="1" y="2035"/>
                    <a:pt x="1" y="2268"/>
                  </a:cubicBezTo>
                  <a:cubicBezTo>
                    <a:pt x="1" y="3236"/>
                    <a:pt x="1335" y="4904"/>
                    <a:pt x="2736" y="5371"/>
                  </a:cubicBezTo>
                  <a:cubicBezTo>
                    <a:pt x="2836" y="7339"/>
                    <a:pt x="2603" y="10307"/>
                    <a:pt x="1769" y="14877"/>
                  </a:cubicBezTo>
                  <a:lnTo>
                    <a:pt x="1736" y="15044"/>
                  </a:lnTo>
                  <a:lnTo>
                    <a:pt x="2102" y="15044"/>
                  </a:lnTo>
                  <a:lnTo>
                    <a:pt x="2102" y="14944"/>
                  </a:lnTo>
                  <a:cubicBezTo>
                    <a:pt x="2870" y="10875"/>
                    <a:pt x="3203" y="7706"/>
                    <a:pt x="3103" y="5471"/>
                  </a:cubicBezTo>
                  <a:cubicBezTo>
                    <a:pt x="3270" y="5471"/>
                    <a:pt x="3403" y="5504"/>
                    <a:pt x="3570" y="5504"/>
                  </a:cubicBezTo>
                  <a:cubicBezTo>
                    <a:pt x="3970" y="5471"/>
                    <a:pt x="4337" y="5337"/>
                    <a:pt x="4604" y="5037"/>
                  </a:cubicBezTo>
                  <a:cubicBezTo>
                    <a:pt x="4971" y="5471"/>
                    <a:pt x="5538" y="5738"/>
                    <a:pt x="6105" y="5738"/>
                  </a:cubicBezTo>
                  <a:lnTo>
                    <a:pt x="6572" y="5738"/>
                  </a:lnTo>
                  <a:cubicBezTo>
                    <a:pt x="5672" y="8973"/>
                    <a:pt x="5271" y="13176"/>
                    <a:pt x="5972" y="15044"/>
                  </a:cubicBezTo>
                  <a:lnTo>
                    <a:pt x="6372" y="15044"/>
                  </a:lnTo>
                  <a:cubicBezTo>
                    <a:pt x="5605" y="13376"/>
                    <a:pt x="6072" y="8973"/>
                    <a:pt x="6973" y="5704"/>
                  </a:cubicBezTo>
                  <a:cubicBezTo>
                    <a:pt x="8140" y="5471"/>
                    <a:pt x="9074" y="4603"/>
                    <a:pt x="9408" y="3436"/>
                  </a:cubicBezTo>
                  <a:cubicBezTo>
                    <a:pt x="9675" y="2569"/>
                    <a:pt x="9541" y="1735"/>
                    <a:pt x="9107" y="1568"/>
                  </a:cubicBezTo>
                  <a:cubicBezTo>
                    <a:pt x="9051" y="1544"/>
                    <a:pt x="8986" y="1527"/>
                    <a:pt x="8914" y="1527"/>
                  </a:cubicBezTo>
                  <a:cubicBezTo>
                    <a:pt x="8688" y="1527"/>
                    <a:pt x="8386" y="1687"/>
                    <a:pt x="8007" y="2268"/>
                  </a:cubicBezTo>
                  <a:cubicBezTo>
                    <a:pt x="7440" y="3236"/>
                    <a:pt x="6973" y="4270"/>
                    <a:pt x="6706" y="5371"/>
                  </a:cubicBezTo>
                  <a:cubicBezTo>
                    <a:pt x="6622" y="5387"/>
                    <a:pt x="6531" y="5396"/>
                    <a:pt x="6439" y="5396"/>
                  </a:cubicBezTo>
                  <a:cubicBezTo>
                    <a:pt x="6347" y="5396"/>
                    <a:pt x="6255" y="5387"/>
                    <a:pt x="6172" y="5371"/>
                  </a:cubicBezTo>
                  <a:cubicBezTo>
                    <a:pt x="5672" y="5371"/>
                    <a:pt x="5205" y="5137"/>
                    <a:pt x="4871" y="4770"/>
                  </a:cubicBezTo>
                  <a:cubicBezTo>
                    <a:pt x="5271" y="4236"/>
                    <a:pt x="5538" y="3336"/>
                    <a:pt x="5572" y="1868"/>
                  </a:cubicBezTo>
                  <a:cubicBezTo>
                    <a:pt x="5605" y="601"/>
                    <a:pt x="5438" y="0"/>
                    <a:pt x="5038"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31;p30">
              <a:extLst>
                <a:ext uri="{FF2B5EF4-FFF2-40B4-BE49-F238E27FC236}">
                  <a16:creationId xmlns:a16="http://schemas.microsoft.com/office/drawing/2014/main" id="{AA584E99-6340-568E-8BBA-EC5C8CD3F7C9}"/>
                </a:ext>
              </a:extLst>
            </p:cNvPr>
            <p:cNvSpPr/>
            <p:nvPr/>
          </p:nvSpPr>
          <p:spPr>
            <a:xfrm flipH="1">
              <a:off x="7249533" y="3636129"/>
              <a:ext cx="173939" cy="48628"/>
            </a:xfrm>
            <a:custGeom>
              <a:avLst/>
              <a:gdLst/>
              <a:ahLst/>
              <a:cxnLst/>
              <a:rect l="l" t="t" r="r" b="b"/>
              <a:pathLst>
                <a:path w="6206" h="1735" extrusionOk="0">
                  <a:moveTo>
                    <a:pt x="668" y="0"/>
                  </a:moveTo>
                  <a:cubicBezTo>
                    <a:pt x="368" y="0"/>
                    <a:pt x="101" y="234"/>
                    <a:pt x="67" y="567"/>
                  </a:cubicBezTo>
                  <a:lnTo>
                    <a:pt x="34" y="1168"/>
                  </a:lnTo>
                  <a:cubicBezTo>
                    <a:pt x="1" y="1468"/>
                    <a:pt x="234" y="1735"/>
                    <a:pt x="568" y="1735"/>
                  </a:cubicBezTo>
                  <a:lnTo>
                    <a:pt x="5571" y="1735"/>
                  </a:lnTo>
                  <a:cubicBezTo>
                    <a:pt x="5872" y="1735"/>
                    <a:pt x="6138" y="1468"/>
                    <a:pt x="6172" y="1168"/>
                  </a:cubicBezTo>
                  <a:lnTo>
                    <a:pt x="6205" y="567"/>
                  </a:lnTo>
                  <a:cubicBezTo>
                    <a:pt x="6205" y="267"/>
                    <a:pt x="5972" y="0"/>
                    <a:pt x="5671"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32;p30">
              <a:extLst>
                <a:ext uri="{FF2B5EF4-FFF2-40B4-BE49-F238E27FC236}">
                  <a16:creationId xmlns:a16="http://schemas.microsoft.com/office/drawing/2014/main" id="{4B86847B-C4D9-F368-1B3F-A3D701509E5C}"/>
                </a:ext>
              </a:extLst>
            </p:cNvPr>
            <p:cNvSpPr/>
            <p:nvPr/>
          </p:nvSpPr>
          <p:spPr>
            <a:xfrm flipH="1">
              <a:off x="7243927" y="3630495"/>
              <a:ext cx="185150" cy="60820"/>
            </a:xfrm>
            <a:custGeom>
              <a:avLst/>
              <a:gdLst/>
              <a:ahLst/>
              <a:cxnLst/>
              <a:rect l="l" t="t" r="r" b="b"/>
              <a:pathLst>
                <a:path w="6606" h="2170" extrusionOk="0">
                  <a:moveTo>
                    <a:pt x="5838" y="435"/>
                  </a:moveTo>
                  <a:cubicBezTo>
                    <a:pt x="5938" y="435"/>
                    <a:pt x="6038" y="468"/>
                    <a:pt x="6072" y="535"/>
                  </a:cubicBezTo>
                  <a:cubicBezTo>
                    <a:pt x="6138" y="601"/>
                    <a:pt x="6172" y="668"/>
                    <a:pt x="6172" y="768"/>
                  </a:cubicBezTo>
                  <a:lnTo>
                    <a:pt x="6138" y="1369"/>
                  </a:lnTo>
                  <a:cubicBezTo>
                    <a:pt x="6105" y="1569"/>
                    <a:pt x="5938" y="1735"/>
                    <a:pt x="5738" y="1735"/>
                  </a:cubicBezTo>
                  <a:lnTo>
                    <a:pt x="734" y="1735"/>
                  </a:lnTo>
                  <a:cubicBezTo>
                    <a:pt x="634" y="1735"/>
                    <a:pt x="568" y="1702"/>
                    <a:pt x="501" y="1635"/>
                  </a:cubicBezTo>
                  <a:cubicBezTo>
                    <a:pt x="434" y="1569"/>
                    <a:pt x="401" y="1502"/>
                    <a:pt x="401" y="1402"/>
                  </a:cubicBezTo>
                  <a:lnTo>
                    <a:pt x="468" y="801"/>
                  </a:lnTo>
                  <a:cubicBezTo>
                    <a:pt x="468" y="601"/>
                    <a:pt x="634" y="435"/>
                    <a:pt x="834" y="435"/>
                  </a:cubicBezTo>
                  <a:close/>
                  <a:moveTo>
                    <a:pt x="868" y="1"/>
                  </a:moveTo>
                  <a:cubicBezTo>
                    <a:pt x="434" y="34"/>
                    <a:pt x="101" y="334"/>
                    <a:pt x="67" y="768"/>
                  </a:cubicBezTo>
                  <a:lnTo>
                    <a:pt x="34" y="1369"/>
                  </a:lnTo>
                  <a:cubicBezTo>
                    <a:pt x="1" y="1569"/>
                    <a:pt x="67" y="1769"/>
                    <a:pt x="201" y="1936"/>
                  </a:cubicBezTo>
                  <a:cubicBezTo>
                    <a:pt x="367" y="2069"/>
                    <a:pt x="534" y="2169"/>
                    <a:pt x="768" y="2169"/>
                  </a:cubicBezTo>
                  <a:lnTo>
                    <a:pt x="5771" y="2169"/>
                  </a:lnTo>
                  <a:cubicBezTo>
                    <a:pt x="6172" y="2136"/>
                    <a:pt x="6505" y="1802"/>
                    <a:pt x="6572" y="1402"/>
                  </a:cubicBezTo>
                  <a:lnTo>
                    <a:pt x="6605" y="801"/>
                  </a:lnTo>
                  <a:cubicBezTo>
                    <a:pt x="6605" y="601"/>
                    <a:pt x="6539" y="401"/>
                    <a:pt x="6405" y="234"/>
                  </a:cubicBezTo>
                  <a:cubicBezTo>
                    <a:pt x="6272" y="101"/>
                    <a:pt x="6072" y="1"/>
                    <a:pt x="5871" y="1"/>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433;p30">
              <a:extLst>
                <a:ext uri="{FF2B5EF4-FFF2-40B4-BE49-F238E27FC236}">
                  <a16:creationId xmlns:a16="http://schemas.microsoft.com/office/drawing/2014/main" id="{A1DECA95-3284-FD16-313C-312F704EB036}"/>
                </a:ext>
              </a:extLst>
            </p:cNvPr>
            <p:cNvSpPr/>
            <p:nvPr/>
          </p:nvSpPr>
          <p:spPr>
            <a:xfrm flipH="1">
              <a:off x="5463845" y="2614246"/>
              <a:ext cx="190755" cy="196361"/>
            </a:xfrm>
            <a:custGeom>
              <a:avLst/>
              <a:gdLst/>
              <a:ahLst/>
              <a:cxnLst/>
              <a:rect l="l" t="t" r="r" b="b"/>
              <a:pathLst>
                <a:path w="6806" h="7006" extrusionOk="0">
                  <a:moveTo>
                    <a:pt x="2802" y="1"/>
                  </a:moveTo>
                  <a:lnTo>
                    <a:pt x="0" y="1735"/>
                  </a:lnTo>
                  <a:lnTo>
                    <a:pt x="4904" y="7006"/>
                  </a:lnTo>
                  <a:lnTo>
                    <a:pt x="6805" y="4337"/>
                  </a:lnTo>
                  <a:lnTo>
                    <a:pt x="2802" y="1"/>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434;p30">
              <a:extLst>
                <a:ext uri="{FF2B5EF4-FFF2-40B4-BE49-F238E27FC236}">
                  <a16:creationId xmlns:a16="http://schemas.microsoft.com/office/drawing/2014/main" id="{C9D94A3C-15E9-DBF1-1D6A-33FAA2565F87}"/>
                </a:ext>
              </a:extLst>
            </p:cNvPr>
            <p:cNvSpPr/>
            <p:nvPr/>
          </p:nvSpPr>
          <p:spPr>
            <a:xfrm flipH="1">
              <a:off x="5478811" y="2631091"/>
              <a:ext cx="160822" cy="161747"/>
            </a:xfrm>
            <a:custGeom>
              <a:avLst/>
              <a:gdLst/>
              <a:ahLst/>
              <a:cxnLst/>
              <a:rect l="l" t="t" r="r" b="b"/>
              <a:pathLst>
                <a:path w="5738" h="5771" extrusionOk="0">
                  <a:moveTo>
                    <a:pt x="3136" y="0"/>
                  </a:moveTo>
                  <a:lnTo>
                    <a:pt x="0" y="2368"/>
                  </a:lnTo>
                  <a:lnTo>
                    <a:pt x="3202" y="5771"/>
                  </a:lnTo>
                  <a:lnTo>
                    <a:pt x="5738" y="2802"/>
                  </a:lnTo>
                  <a:lnTo>
                    <a:pt x="3136" y="0"/>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435;p30">
              <a:extLst>
                <a:ext uri="{FF2B5EF4-FFF2-40B4-BE49-F238E27FC236}">
                  <a16:creationId xmlns:a16="http://schemas.microsoft.com/office/drawing/2014/main" id="{5349A8EC-8935-1E7C-C04E-741B89DDDD45}"/>
                </a:ext>
              </a:extLst>
            </p:cNvPr>
            <p:cNvSpPr/>
            <p:nvPr/>
          </p:nvSpPr>
          <p:spPr>
            <a:xfrm flipH="1">
              <a:off x="5450756" y="2473632"/>
              <a:ext cx="229097" cy="126628"/>
            </a:xfrm>
            <a:custGeom>
              <a:avLst/>
              <a:gdLst/>
              <a:ahLst/>
              <a:cxnLst/>
              <a:rect l="l" t="t" r="r" b="b"/>
              <a:pathLst>
                <a:path w="8174" h="4518" extrusionOk="0">
                  <a:moveTo>
                    <a:pt x="6266" y="0"/>
                  </a:moveTo>
                  <a:cubicBezTo>
                    <a:pt x="2937" y="0"/>
                    <a:pt x="1336" y="3154"/>
                    <a:pt x="1" y="4517"/>
                  </a:cubicBezTo>
                  <a:cubicBezTo>
                    <a:pt x="1" y="4517"/>
                    <a:pt x="1529" y="3990"/>
                    <a:pt x="2525" y="3990"/>
                  </a:cubicBezTo>
                  <a:cubicBezTo>
                    <a:pt x="2650" y="3990"/>
                    <a:pt x="2766" y="3998"/>
                    <a:pt x="2869" y="4017"/>
                  </a:cubicBezTo>
                  <a:cubicBezTo>
                    <a:pt x="2973" y="4034"/>
                    <a:pt x="3076" y="4042"/>
                    <a:pt x="3178" y="4042"/>
                  </a:cubicBezTo>
                  <a:cubicBezTo>
                    <a:pt x="3671" y="4042"/>
                    <a:pt x="4145" y="3848"/>
                    <a:pt x="4504" y="3517"/>
                  </a:cubicBezTo>
                  <a:lnTo>
                    <a:pt x="8173" y="314"/>
                  </a:lnTo>
                  <a:cubicBezTo>
                    <a:pt x="7480" y="96"/>
                    <a:pt x="6847" y="0"/>
                    <a:pt x="6266"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436;p30">
              <a:extLst>
                <a:ext uri="{FF2B5EF4-FFF2-40B4-BE49-F238E27FC236}">
                  <a16:creationId xmlns:a16="http://schemas.microsoft.com/office/drawing/2014/main" id="{12F9BF93-AD9C-F28A-52BD-3BEA10EB0AAA}"/>
                </a:ext>
              </a:extLst>
            </p:cNvPr>
            <p:cNvSpPr/>
            <p:nvPr/>
          </p:nvSpPr>
          <p:spPr>
            <a:xfrm flipH="1">
              <a:off x="5291840" y="2619852"/>
              <a:ext cx="164549" cy="219736"/>
            </a:xfrm>
            <a:custGeom>
              <a:avLst/>
              <a:gdLst/>
              <a:ahLst/>
              <a:cxnLst/>
              <a:rect l="l" t="t" r="r" b="b"/>
              <a:pathLst>
                <a:path w="5871" h="7840" extrusionOk="0">
                  <a:moveTo>
                    <a:pt x="4737" y="1"/>
                  </a:moveTo>
                  <a:cubicBezTo>
                    <a:pt x="4737" y="1"/>
                    <a:pt x="2902" y="1835"/>
                    <a:pt x="1301" y="3437"/>
                  </a:cubicBezTo>
                  <a:cubicBezTo>
                    <a:pt x="867" y="3837"/>
                    <a:pt x="634" y="4404"/>
                    <a:pt x="667" y="5004"/>
                  </a:cubicBezTo>
                  <a:cubicBezTo>
                    <a:pt x="801" y="5972"/>
                    <a:pt x="0" y="7840"/>
                    <a:pt x="0" y="7840"/>
                  </a:cubicBezTo>
                  <a:cubicBezTo>
                    <a:pt x="1701" y="6405"/>
                    <a:pt x="5871" y="4737"/>
                    <a:pt x="4737" y="1"/>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437;p30">
              <a:extLst>
                <a:ext uri="{FF2B5EF4-FFF2-40B4-BE49-F238E27FC236}">
                  <a16:creationId xmlns:a16="http://schemas.microsoft.com/office/drawing/2014/main" id="{87EDA0C0-E7AA-BA85-7672-E83D0A831D6A}"/>
                </a:ext>
              </a:extLst>
            </p:cNvPr>
            <p:cNvSpPr/>
            <p:nvPr/>
          </p:nvSpPr>
          <p:spPr>
            <a:xfrm flipH="1">
              <a:off x="5135699" y="2330243"/>
              <a:ext cx="465621" cy="426382"/>
            </a:xfrm>
            <a:custGeom>
              <a:avLst/>
              <a:gdLst/>
              <a:ahLst/>
              <a:cxnLst/>
              <a:rect l="l" t="t" r="r" b="b"/>
              <a:pathLst>
                <a:path w="16613" h="15213" extrusionOk="0">
                  <a:moveTo>
                    <a:pt x="13811" y="1"/>
                  </a:moveTo>
                  <a:cubicBezTo>
                    <a:pt x="12303" y="1"/>
                    <a:pt x="10198" y="924"/>
                    <a:pt x="8140" y="2662"/>
                  </a:cubicBezTo>
                  <a:lnTo>
                    <a:pt x="701" y="8933"/>
                  </a:lnTo>
                  <a:cubicBezTo>
                    <a:pt x="101" y="9400"/>
                    <a:pt x="1" y="10300"/>
                    <a:pt x="501" y="10901"/>
                  </a:cubicBezTo>
                  <a:lnTo>
                    <a:pt x="4170" y="14804"/>
                  </a:lnTo>
                  <a:cubicBezTo>
                    <a:pt x="4429" y="15079"/>
                    <a:pt x="4775" y="15213"/>
                    <a:pt x="5123" y="15213"/>
                  </a:cubicBezTo>
                  <a:cubicBezTo>
                    <a:pt x="5492" y="15213"/>
                    <a:pt x="5864" y="15062"/>
                    <a:pt x="6138" y="14770"/>
                  </a:cubicBezTo>
                  <a:lnTo>
                    <a:pt x="12877" y="7732"/>
                  </a:lnTo>
                  <a:cubicBezTo>
                    <a:pt x="15579" y="4897"/>
                    <a:pt x="16613" y="1828"/>
                    <a:pt x="15445" y="593"/>
                  </a:cubicBezTo>
                  <a:cubicBezTo>
                    <a:pt x="15068" y="195"/>
                    <a:pt x="14502" y="1"/>
                    <a:pt x="13811"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438;p30">
              <a:extLst>
                <a:ext uri="{FF2B5EF4-FFF2-40B4-BE49-F238E27FC236}">
                  <a16:creationId xmlns:a16="http://schemas.microsoft.com/office/drawing/2014/main" id="{8A0222CC-8755-92F9-7B60-D395C8B59F4B}"/>
                </a:ext>
              </a:extLst>
            </p:cNvPr>
            <p:cNvSpPr/>
            <p:nvPr/>
          </p:nvSpPr>
          <p:spPr>
            <a:xfrm flipH="1">
              <a:off x="5128215" y="2324638"/>
              <a:ext cx="474954" cy="437369"/>
            </a:xfrm>
            <a:custGeom>
              <a:avLst/>
              <a:gdLst/>
              <a:ahLst/>
              <a:cxnLst/>
              <a:rect l="l" t="t" r="r" b="b"/>
              <a:pathLst>
                <a:path w="16946" h="15605" extrusionOk="0">
                  <a:moveTo>
                    <a:pt x="13998" y="390"/>
                  </a:moveTo>
                  <a:cubicBezTo>
                    <a:pt x="14515" y="390"/>
                    <a:pt x="14973" y="586"/>
                    <a:pt x="15344" y="927"/>
                  </a:cubicBezTo>
                  <a:cubicBezTo>
                    <a:pt x="16445" y="2128"/>
                    <a:pt x="15344" y="5130"/>
                    <a:pt x="12776" y="7798"/>
                  </a:cubicBezTo>
                  <a:lnTo>
                    <a:pt x="6071" y="14803"/>
                  </a:lnTo>
                  <a:cubicBezTo>
                    <a:pt x="5804" y="15037"/>
                    <a:pt x="5504" y="15170"/>
                    <a:pt x="5170" y="15204"/>
                  </a:cubicBezTo>
                  <a:cubicBezTo>
                    <a:pt x="4870" y="15170"/>
                    <a:pt x="4570" y="15070"/>
                    <a:pt x="4403" y="14870"/>
                  </a:cubicBezTo>
                  <a:lnTo>
                    <a:pt x="734" y="10934"/>
                  </a:lnTo>
                  <a:cubicBezTo>
                    <a:pt x="534" y="10701"/>
                    <a:pt x="434" y="10434"/>
                    <a:pt x="467" y="10133"/>
                  </a:cubicBezTo>
                  <a:cubicBezTo>
                    <a:pt x="467" y="9800"/>
                    <a:pt x="634" y="9466"/>
                    <a:pt x="901" y="9266"/>
                  </a:cubicBezTo>
                  <a:lnTo>
                    <a:pt x="8339" y="2995"/>
                  </a:lnTo>
                  <a:cubicBezTo>
                    <a:pt x="10307" y="1361"/>
                    <a:pt x="12442" y="393"/>
                    <a:pt x="13877" y="393"/>
                  </a:cubicBezTo>
                  <a:cubicBezTo>
                    <a:pt x="13918" y="391"/>
                    <a:pt x="13958" y="390"/>
                    <a:pt x="13998" y="390"/>
                  </a:cubicBezTo>
                  <a:close/>
                  <a:moveTo>
                    <a:pt x="13892" y="0"/>
                  </a:moveTo>
                  <a:cubicBezTo>
                    <a:pt x="12314" y="0"/>
                    <a:pt x="10139" y="969"/>
                    <a:pt x="8072" y="2695"/>
                  </a:cubicBezTo>
                  <a:lnTo>
                    <a:pt x="634" y="8966"/>
                  </a:lnTo>
                  <a:cubicBezTo>
                    <a:pt x="300" y="9233"/>
                    <a:pt x="67" y="9666"/>
                    <a:pt x="33" y="10133"/>
                  </a:cubicBezTo>
                  <a:cubicBezTo>
                    <a:pt x="0" y="10534"/>
                    <a:pt x="133" y="10934"/>
                    <a:pt x="434" y="11234"/>
                  </a:cubicBezTo>
                  <a:lnTo>
                    <a:pt x="4103" y="15137"/>
                  </a:lnTo>
                  <a:cubicBezTo>
                    <a:pt x="4370" y="15437"/>
                    <a:pt x="4770" y="15604"/>
                    <a:pt x="5170" y="15604"/>
                  </a:cubicBezTo>
                  <a:cubicBezTo>
                    <a:pt x="5604" y="15604"/>
                    <a:pt x="6038" y="15404"/>
                    <a:pt x="6371" y="15070"/>
                  </a:cubicBezTo>
                  <a:lnTo>
                    <a:pt x="13076" y="8099"/>
                  </a:lnTo>
                  <a:cubicBezTo>
                    <a:pt x="15845" y="5230"/>
                    <a:pt x="16945" y="2028"/>
                    <a:pt x="15645" y="660"/>
                  </a:cubicBezTo>
                  <a:cubicBezTo>
                    <a:pt x="15240" y="213"/>
                    <a:pt x="14632" y="0"/>
                    <a:pt x="13892"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439;p30">
              <a:extLst>
                <a:ext uri="{FF2B5EF4-FFF2-40B4-BE49-F238E27FC236}">
                  <a16:creationId xmlns:a16="http://schemas.microsoft.com/office/drawing/2014/main" id="{4FF376F5-C318-F9F6-0605-90BE32A4CC83}"/>
                </a:ext>
              </a:extLst>
            </p:cNvPr>
            <p:cNvSpPr/>
            <p:nvPr/>
          </p:nvSpPr>
          <p:spPr>
            <a:xfrm flipH="1">
              <a:off x="5244137" y="2419427"/>
              <a:ext cx="142015" cy="132234"/>
            </a:xfrm>
            <a:custGeom>
              <a:avLst/>
              <a:gdLst/>
              <a:ahLst/>
              <a:cxnLst/>
              <a:rect l="l" t="t" r="r" b="b"/>
              <a:pathLst>
                <a:path w="5067" h="4718" extrusionOk="0">
                  <a:moveTo>
                    <a:pt x="2476" y="0"/>
                  </a:moveTo>
                  <a:cubicBezTo>
                    <a:pt x="1324" y="0"/>
                    <a:pt x="206" y="855"/>
                    <a:pt x="96" y="2215"/>
                  </a:cubicBezTo>
                  <a:cubicBezTo>
                    <a:pt x="0" y="3671"/>
                    <a:pt x="1204" y="4718"/>
                    <a:pt x="2471" y="4718"/>
                  </a:cubicBezTo>
                  <a:cubicBezTo>
                    <a:pt x="2974" y="4718"/>
                    <a:pt x="3486" y="4553"/>
                    <a:pt x="3932" y="4183"/>
                  </a:cubicBezTo>
                  <a:cubicBezTo>
                    <a:pt x="4966" y="3282"/>
                    <a:pt x="5066" y="1748"/>
                    <a:pt x="4166" y="747"/>
                  </a:cubicBezTo>
                  <a:cubicBezTo>
                    <a:pt x="3685" y="233"/>
                    <a:pt x="3076" y="0"/>
                    <a:pt x="2476"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440;p30">
              <a:extLst>
                <a:ext uri="{FF2B5EF4-FFF2-40B4-BE49-F238E27FC236}">
                  <a16:creationId xmlns:a16="http://schemas.microsoft.com/office/drawing/2014/main" id="{6782E3CD-DF66-E813-0579-48F3FFC7032D}"/>
                </a:ext>
              </a:extLst>
            </p:cNvPr>
            <p:cNvSpPr/>
            <p:nvPr/>
          </p:nvSpPr>
          <p:spPr>
            <a:xfrm flipH="1">
              <a:off x="5267512" y="2440756"/>
              <a:ext cx="98348" cy="91286"/>
            </a:xfrm>
            <a:custGeom>
              <a:avLst/>
              <a:gdLst/>
              <a:ahLst/>
              <a:cxnLst/>
              <a:rect l="l" t="t" r="r" b="b"/>
              <a:pathLst>
                <a:path w="3509" h="3257" extrusionOk="0">
                  <a:moveTo>
                    <a:pt x="1696" y="0"/>
                  </a:moveTo>
                  <a:cubicBezTo>
                    <a:pt x="903" y="0"/>
                    <a:pt x="138" y="582"/>
                    <a:pt x="72" y="1521"/>
                  </a:cubicBezTo>
                  <a:cubicBezTo>
                    <a:pt x="1" y="2526"/>
                    <a:pt x="822" y="3256"/>
                    <a:pt x="1710" y="3256"/>
                  </a:cubicBezTo>
                  <a:cubicBezTo>
                    <a:pt x="2060" y="3256"/>
                    <a:pt x="2421" y="3143"/>
                    <a:pt x="2741" y="2888"/>
                  </a:cubicBezTo>
                  <a:cubicBezTo>
                    <a:pt x="3442" y="2288"/>
                    <a:pt x="3508" y="1220"/>
                    <a:pt x="2874" y="520"/>
                  </a:cubicBezTo>
                  <a:cubicBezTo>
                    <a:pt x="2540" y="163"/>
                    <a:pt x="2114" y="0"/>
                    <a:pt x="169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441;p30">
              <a:extLst>
                <a:ext uri="{FF2B5EF4-FFF2-40B4-BE49-F238E27FC236}">
                  <a16:creationId xmlns:a16="http://schemas.microsoft.com/office/drawing/2014/main" id="{60E8AA8B-3DDF-464E-52CF-B797FE0A7A09}"/>
                </a:ext>
              </a:extLst>
            </p:cNvPr>
            <p:cNvSpPr/>
            <p:nvPr/>
          </p:nvSpPr>
          <p:spPr>
            <a:xfrm flipH="1">
              <a:off x="5717213" y="3219444"/>
              <a:ext cx="488043" cy="437902"/>
            </a:xfrm>
            <a:custGeom>
              <a:avLst/>
              <a:gdLst/>
              <a:ahLst/>
              <a:cxnLst/>
              <a:rect l="l" t="t" r="r" b="b"/>
              <a:pathLst>
                <a:path w="17413" h="15624" extrusionOk="0">
                  <a:moveTo>
                    <a:pt x="9267" y="1"/>
                  </a:moveTo>
                  <a:cubicBezTo>
                    <a:pt x="7214" y="1"/>
                    <a:pt x="5110" y="802"/>
                    <a:pt x="3469" y="2391"/>
                  </a:cubicBezTo>
                  <a:cubicBezTo>
                    <a:pt x="267" y="5494"/>
                    <a:pt x="0" y="10431"/>
                    <a:pt x="2902" y="13433"/>
                  </a:cubicBezTo>
                  <a:cubicBezTo>
                    <a:pt x="4317" y="14897"/>
                    <a:pt x="6217" y="15623"/>
                    <a:pt x="8163" y="15623"/>
                  </a:cubicBezTo>
                  <a:cubicBezTo>
                    <a:pt x="10207" y="15623"/>
                    <a:pt x="12303" y="14822"/>
                    <a:pt x="13943" y="13233"/>
                  </a:cubicBezTo>
                  <a:cubicBezTo>
                    <a:pt x="17179" y="10130"/>
                    <a:pt x="17412" y="5193"/>
                    <a:pt x="14544" y="2191"/>
                  </a:cubicBezTo>
                  <a:cubicBezTo>
                    <a:pt x="13128" y="727"/>
                    <a:pt x="11221" y="1"/>
                    <a:pt x="9267" y="1"/>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442;p30">
              <a:extLst>
                <a:ext uri="{FF2B5EF4-FFF2-40B4-BE49-F238E27FC236}">
                  <a16:creationId xmlns:a16="http://schemas.microsoft.com/office/drawing/2014/main" id="{58731C82-6347-6A36-76D0-0C590EAABB99}"/>
                </a:ext>
              </a:extLst>
            </p:cNvPr>
            <p:cNvSpPr/>
            <p:nvPr/>
          </p:nvSpPr>
          <p:spPr>
            <a:xfrm flipH="1">
              <a:off x="5754714" y="3241558"/>
              <a:ext cx="405670" cy="393674"/>
            </a:xfrm>
            <a:custGeom>
              <a:avLst/>
              <a:gdLst/>
              <a:ahLst/>
              <a:cxnLst/>
              <a:rect l="l" t="t" r="r" b="b"/>
              <a:pathLst>
                <a:path w="14474" h="14046" extrusionOk="0">
                  <a:moveTo>
                    <a:pt x="7721" y="0"/>
                  </a:moveTo>
                  <a:cubicBezTo>
                    <a:pt x="7683" y="0"/>
                    <a:pt x="7644" y="1"/>
                    <a:pt x="7606" y="1"/>
                  </a:cubicBezTo>
                  <a:cubicBezTo>
                    <a:pt x="3669" y="35"/>
                    <a:pt x="400" y="3104"/>
                    <a:pt x="100" y="7006"/>
                  </a:cubicBezTo>
                  <a:cubicBezTo>
                    <a:pt x="0" y="8174"/>
                    <a:pt x="234" y="9308"/>
                    <a:pt x="701" y="10342"/>
                  </a:cubicBezTo>
                  <a:cubicBezTo>
                    <a:pt x="1789" y="12617"/>
                    <a:pt x="4051" y="14045"/>
                    <a:pt x="6552" y="14045"/>
                  </a:cubicBezTo>
                  <a:cubicBezTo>
                    <a:pt x="6581" y="14045"/>
                    <a:pt x="6609" y="14045"/>
                    <a:pt x="6638" y="14045"/>
                  </a:cubicBezTo>
                  <a:cubicBezTo>
                    <a:pt x="9273" y="14011"/>
                    <a:pt x="11709" y="12610"/>
                    <a:pt x="13043" y="10342"/>
                  </a:cubicBezTo>
                  <a:cubicBezTo>
                    <a:pt x="13677" y="9341"/>
                    <a:pt x="14044" y="8207"/>
                    <a:pt x="14144" y="7006"/>
                  </a:cubicBezTo>
                  <a:cubicBezTo>
                    <a:pt x="14474" y="3242"/>
                    <a:pt x="11502" y="0"/>
                    <a:pt x="7721"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443;p30">
              <a:extLst>
                <a:ext uri="{FF2B5EF4-FFF2-40B4-BE49-F238E27FC236}">
                  <a16:creationId xmlns:a16="http://schemas.microsoft.com/office/drawing/2014/main" id="{B281367F-EAF6-2C21-6C7A-45C15BA08A41}"/>
                </a:ext>
              </a:extLst>
            </p:cNvPr>
            <p:cNvSpPr/>
            <p:nvPr/>
          </p:nvSpPr>
          <p:spPr>
            <a:xfrm flipH="1">
              <a:off x="5794821" y="3479063"/>
              <a:ext cx="345943" cy="156169"/>
            </a:xfrm>
            <a:custGeom>
              <a:avLst/>
              <a:gdLst/>
              <a:ahLst/>
              <a:cxnLst/>
              <a:rect l="l" t="t" r="r" b="b"/>
              <a:pathLst>
                <a:path w="12343" h="5572" extrusionOk="0">
                  <a:moveTo>
                    <a:pt x="6305" y="0"/>
                  </a:moveTo>
                  <a:cubicBezTo>
                    <a:pt x="4070" y="33"/>
                    <a:pt x="1902" y="667"/>
                    <a:pt x="1" y="1868"/>
                  </a:cubicBezTo>
                  <a:cubicBezTo>
                    <a:pt x="1089" y="4143"/>
                    <a:pt x="3351" y="5571"/>
                    <a:pt x="5852" y="5571"/>
                  </a:cubicBezTo>
                  <a:cubicBezTo>
                    <a:pt x="5881" y="5571"/>
                    <a:pt x="5909" y="5571"/>
                    <a:pt x="5938" y="5571"/>
                  </a:cubicBezTo>
                  <a:cubicBezTo>
                    <a:pt x="8573" y="5537"/>
                    <a:pt x="11009" y="4136"/>
                    <a:pt x="12343" y="1868"/>
                  </a:cubicBezTo>
                  <a:cubicBezTo>
                    <a:pt x="10575" y="634"/>
                    <a:pt x="8473" y="0"/>
                    <a:pt x="6305"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444;p30">
              <a:extLst>
                <a:ext uri="{FF2B5EF4-FFF2-40B4-BE49-F238E27FC236}">
                  <a16:creationId xmlns:a16="http://schemas.microsoft.com/office/drawing/2014/main" id="{0A8EEC88-E100-5A31-E1EE-421D72FF85D5}"/>
                </a:ext>
              </a:extLst>
            </p:cNvPr>
            <p:cNvSpPr/>
            <p:nvPr/>
          </p:nvSpPr>
          <p:spPr>
            <a:xfrm flipH="1">
              <a:off x="5864974" y="3283627"/>
              <a:ext cx="183188" cy="174892"/>
            </a:xfrm>
            <a:custGeom>
              <a:avLst/>
              <a:gdLst/>
              <a:ahLst/>
              <a:cxnLst/>
              <a:rect l="l" t="t" r="r" b="b"/>
              <a:pathLst>
                <a:path w="6536" h="6240" extrusionOk="0">
                  <a:moveTo>
                    <a:pt x="3560" y="1"/>
                  </a:moveTo>
                  <a:cubicBezTo>
                    <a:pt x="3540" y="1"/>
                    <a:pt x="3521" y="1"/>
                    <a:pt x="3502" y="1"/>
                  </a:cubicBezTo>
                  <a:cubicBezTo>
                    <a:pt x="1734" y="1"/>
                    <a:pt x="299" y="1369"/>
                    <a:pt x="166" y="3104"/>
                  </a:cubicBezTo>
                  <a:cubicBezTo>
                    <a:pt x="1" y="4786"/>
                    <a:pt x="1336" y="6240"/>
                    <a:pt x="3011" y="6240"/>
                  </a:cubicBezTo>
                  <a:cubicBezTo>
                    <a:pt x="3030" y="6240"/>
                    <a:pt x="3049" y="6240"/>
                    <a:pt x="3068" y="6239"/>
                  </a:cubicBezTo>
                  <a:cubicBezTo>
                    <a:pt x="4802" y="6206"/>
                    <a:pt x="6270" y="4872"/>
                    <a:pt x="6404" y="3104"/>
                  </a:cubicBezTo>
                  <a:cubicBezTo>
                    <a:pt x="6536" y="1422"/>
                    <a:pt x="5233" y="1"/>
                    <a:pt x="3560" y="1"/>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45;p30">
              <a:extLst>
                <a:ext uri="{FF2B5EF4-FFF2-40B4-BE49-F238E27FC236}">
                  <a16:creationId xmlns:a16="http://schemas.microsoft.com/office/drawing/2014/main" id="{4875FC3E-837D-D206-5BC7-4A457EE4D793}"/>
                </a:ext>
              </a:extLst>
            </p:cNvPr>
            <p:cNvSpPr/>
            <p:nvPr/>
          </p:nvSpPr>
          <p:spPr>
            <a:xfrm flipH="1">
              <a:off x="6384744" y="2451574"/>
              <a:ext cx="240308" cy="358107"/>
            </a:xfrm>
            <a:custGeom>
              <a:avLst/>
              <a:gdLst/>
              <a:ahLst/>
              <a:cxnLst/>
              <a:rect l="l" t="t" r="r" b="b"/>
              <a:pathLst>
                <a:path w="8574" h="12777" extrusionOk="0">
                  <a:moveTo>
                    <a:pt x="7139" y="0"/>
                  </a:moveTo>
                  <a:lnTo>
                    <a:pt x="1" y="4771"/>
                  </a:lnTo>
                  <a:lnTo>
                    <a:pt x="1602" y="12776"/>
                  </a:lnTo>
                  <a:cubicBezTo>
                    <a:pt x="2302" y="12609"/>
                    <a:pt x="3003" y="12309"/>
                    <a:pt x="3670" y="11942"/>
                  </a:cubicBezTo>
                  <a:cubicBezTo>
                    <a:pt x="4304" y="11575"/>
                    <a:pt x="4938" y="11142"/>
                    <a:pt x="5471" y="10641"/>
                  </a:cubicBezTo>
                  <a:cubicBezTo>
                    <a:pt x="6939" y="9274"/>
                    <a:pt x="7906" y="7472"/>
                    <a:pt x="8240" y="5471"/>
                  </a:cubicBezTo>
                  <a:cubicBezTo>
                    <a:pt x="8573" y="3570"/>
                    <a:pt x="8173" y="1635"/>
                    <a:pt x="713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446;p30">
              <a:extLst>
                <a:ext uri="{FF2B5EF4-FFF2-40B4-BE49-F238E27FC236}">
                  <a16:creationId xmlns:a16="http://schemas.microsoft.com/office/drawing/2014/main" id="{5C58A606-29B0-CAF3-3BC6-EA217A604F4E}"/>
                </a:ext>
              </a:extLst>
            </p:cNvPr>
            <p:cNvSpPr/>
            <p:nvPr/>
          </p:nvSpPr>
          <p:spPr>
            <a:xfrm flipH="1">
              <a:off x="6385697" y="2450650"/>
              <a:ext cx="239355" cy="359032"/>
            </a:xfrm>
            <a:custGeom>
              <a:avLst/>
              <a:gdLst/>
              <a:ahLst/>
              <a:cxnLst/>
              <a:rect l="l" t="t" r="r" b="b"/>
              <a:pathLst>
                <a:path w="8540" h="12810" extrusionOk="0">
                  <a:moveTo>
                    <a:pt x="7139" y="0"/>
                  </a:moveTo>
                  <a:cubicBezTo>
                    <a:pt x="7142" y="5"/>
                    <a:pt x="7146" y="11"/>
                    <a:pt x="7149" y="16"/>
                  </a:cubicBezTo>
                  <a:lnTo>
                    <a:pt x="7149" y="16"/>
                  </a:lnTo>
                  <a:lnTo>
                    <a:pt x="7172" y="0"/>
                  </a:lnTo>
                  <a:close/>
                  <a:moveTo>
                    <a:pt x="7015" y="617"/>
                  </a:moveTo>
                  <a:lnTo>
                    <a:pt x="7015" y="617"/>
                  </a:lnTo>
                  <a:cubicBezTo>
                    <a:pt x="7842" y="2114"/>
                    <a:pt x="8106" y="3809"/>
                    <a:pt x="7840" y="5437"/>
                  </a:cubicBezTo>
                  <a:cubicBezTo>
                    <a:pt x="7539" y="7339"/>
                    <a:pt x="6605" y="9073"/>
                    <a:pt x="5204" y="10374"/>
                  </a:cubicBezTo>
                  <a:cubicBezTo>
                    <a:pt x="4704" y="10841"/>
                    <a:pt x="4104" y="11275"/>
                    <a:pt x="3470" y="11608"/>
                  </a:cubicBezTo>
                  <a:cubicBezTo>
                    <a:pt x="3003" y="11875"/>
                    <a:pt x="2469" y="12109"/>
                    <a:pt x="1935" y="12276"/>
                  </a:cubicBezTo>
                  <a:lnTo>
                    <a:pt x="501" y="4970"/>
                  </a:lnTo>
                  <a:lnTo>
                    <a:pt x="7015" y="617"/>
                  </a:lnTo>
                  <a:close/>
                  <a:moveTo>
                    <a:pt x="7149" y="16"/>
                  </a:moveTo>
                  <a:lnTo>
                    <a:pt x="1" y="4804"/>
                  </a:lnTo>
                  <a:lnTo>
                    <a:pt x="1602" y="12809"/>
                  </a:lnTo>
                  <a:cubicBezTo>
                    <a:pt x="2302" y="12642"/>
                    <a:pt x="3003" y="12342"/>
                    <a:pt x="3670" y="11975"/>
                  </a:cubicBezTo>
                  <a:cubicBezTo>
                    <a:pt x="4304" y="11608"/>
                    <a:pt x="4938" y="11175"/>
                    <a:pt x="5471" y="10674"/>
                  </a:cubicBezTo>
                  <a:cubicBezTo>
                    <a:pt x="6939" y="9307"/>
                    <a:pt x="7906" y="7472"/>
                    <a:pt x="8240" y="5504"/>
                  </a:cubicBezTo>
                  <a:cubicBezTo>
                    <a:pt x="8539" y="3609"/>
                    <a:pt x="8176" y="1647"/>
                    <a:pt x="7149" y="16"/>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447;p30">
              <a:extLst>
                <a:ext uri="{FF2B5EF4-FFF2-40B4-BE49-F238E27FC236}">
                  <a16:creationId xmlns:a16="http://schemas.microsoft.com/office/drawing/2014/main" id="{8493AAFF-6ACD-DA99-5930-D81A575D486F}"/>
                </a:ext>
              </a:extLst>
            </p:cNvPr>
            <p:cNvSpPr/>
            <p:nvPr/>
          </p:nvSpPr>
          <p:spPr>
            <a:xfrm flipH="1">
              <a:off x="6424936" y="2352469"/>
              <a:ext cx="404857" cy="232824"/>
            </a:xfrm>
            <a:custGeom>
              <a:avLst/>
              <a:gdLst/>
              <a:ahLst/>
              <a:cxnLst/>
              <a:rect l="l" t="t" r="r" b="b"/>
              <a:pathLst>
                <a:path w="14445" h="8307" extrusionOk="0">
                  <a:moveTo>
                    <a:pt x="7873" y="1"/>
                  </a:moveTo>
                  <a:cubicBezTo>
                    <a:pt x="5738" y="1"/>
                    <a:pt x="3553" y="801"/>
                    <a:pt x="1835" y="2402"/>
                  </a:cubicBezTo>
                  <a:cubicBezTo>
                    <a:pt x="1101" y="3103"/>
                    <a:pt x="467" y="3903"/>
                    <a:pt x="0" y="4771"/>
                  </a:cubicBezTo>
                  <a:lnTo>
                    <a:pt x="7306" y="8307"/>
                  </a:lnTo>
                  <a:lnTo>
                    <a:pt x="14444" y="3536"/>
                  </a:lnTo>
                  <a:cubicBezTo>
                    <a:pt x="14177" y="3136"/>
                    <a:pt x="13910" y="2769"/>
                    <a:pt x="13610" y="2402"/>
                  </a:cubicBezTo>
                  <a:cubicBezTo>
                    <a:pt x="12092" y="801"/>
                    <a:pt x="10008" y="1"/>
                    <a:pt x="7873" y="1"/>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448;p30">
              <a:extLst>
                <a:ext uri="{FF2B5EF4-FFF2-40B4-BE49-F238E27FC236}">
                  <a16:creationId xmlns:a16="http://schemas.microsoft.com/office/drawing/2014/main" id="{F3D968B1-E4D9-E42F-5A14-F44E3993DB0A}"/>
                </a:ext>
              </a:extLst>
            </p:cNvPr>
            <p:cNvSpPr/>
            <p:nvPr/>
          </p:nvSpPr>
          <p:spPr>
            <a:xfrm flipH="1">
              <a:off x="6580152" y="2486160"/>
              <a:ext cx="296391" cy="331902"/>
            </a:xfrm>
            <a:custGeom>
              <a:avLst/>
              <a:gdLst/>
              <a:ahLst/>
              <a:cxnLst/>
              <a:rect l="l" t="t" r="r" b="b"/>
              <a:pathLst>
                <a:path w="10575" h="11842" extrusionOk="0">
                  <a:moveTo>
                    <a:pt x="1668" y="1"/>
                  </a:moveTo>
                  <a:lnTo>
                    <a:pt x="1668" y="1"/>
                  </a:lnTo>
                  <a:cubicBezTo>
                    <a:pt x="1" y="3136"/>
                    <a:pt x="401" y="6939"/>
                    <a:pt x="2703" y="9407"/>
                  </a:cubicBezTo>
                  <a:cubicBezTo>
                    <a:pt x="4200" y="10979"/>
                    <a:pt x="6275" y="11842"/>
                    <a:pt x="8413" y="11842"/>
                  </a:cubicBezTo>
                  <a:cubicBezTo>
                    <a:pt x="9133" y="11842"/>
                    <a:pt x="9860" y="11744"/>
                    <a:pt x="10575" y="11542"/>
                  </a:cubicBezTo>
                  <a:lnTo>
                    <a:pt x="8974" y="3537"/>
                  </a:lnTo>
                  <a:lnTo>
                    <a:pt x="1668" y="1"/>
                  </a:lnTo>
                  <a:close/>
                </a:path>
              </a:pathLst>
            </a:custGeom>
            <a:solidFill>
              <a:srgbClr val="E0E0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449;p30">
              <a:extLst>
                <a:ext uri="{FF2B5EF4-FFF2-40B4-BE49-F238E27FC236}">
                  <a16:creationId xmlns:a16="http://schemas.microsoft.com/office/drawing/2014/main" id="{AED3DACD-50D2-B756-AF71-7AF64DF761BC}"/>
                </a:ext>
              </a:extLst>
            </p:cNvPr>
            <p:cNvSpPr/>
            <p:nvPr/>
          </p:nvSpPr>
          <p:spPr>
            <a:xfrm flipH="1">
              <a:off x="7285072" y="2970448"/>
              <a:ext cx="12192" cy="24328"/>
            </a:xfrm>
            <a:custGeom>
              <a:avLst/>
              <a:gdLst/>
              <a:ahLst/>
              <a:cxnLst/>
              <a:rect l="l" t="t" r="r" b="b"/>
              <a:pathLst>
                <a:path w="435" h="868" extrusionOk="0">
                  <a:moveTo>
                    <a:pt x="34" y="1"/>
                  </a:moveTo>
                  <a:cubicBezTo>
                    <a:pt x="1" y="301"/>
                    <a:pt x="1" y="568"/>
                    <a:pt x="34" y="868"/>
                  </a:cubicBezTo>
                  <a:lnTo>
                    <a:pt x="435" y="801"/>
                  </a:lnTo>
                  <a:cubicBezTo>
                    <a:pt x="435" y="534"/>
                    <a:pt x="435" y="268"/>
                    <a:pt x="435" y="1"/>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450;p30">
              <a:extLst>
                <a:ext uri="{FF2B5EF4-FFF2-40B4-BE49-F238E27FC236}">
                  <a16:creationId xmlns:a16="http://schemas.microsoft.com/office/drawing/2014/main" id="{5B595451-A7D0-421C-753A-9C84705FDDDA}"/>
                </a:ext>
              </a:extLst>
            </p:cNvPr>
            <p:cNvSpPr/>
            <p:nvPr/>
          </p:nvSpPr>
          <p:spPr>
            <a:xfrm flipH="1">
              <a:off x="6996192" y="2578735"/>
              <a:ext cx="292635" cy="344066"/>
            </a:xfrm>
            <a:custGeom>
              <a:avLst/>
              <a:gdLst/>
              <a:ahLst/>
              <a:cxnLst/>
              <a:rect l="l" t="t" r="r" b="b"/>
              <a:pathLst>
                <a:path w="10441" h="12276" extrusionOk="0">
                  <a:moveTo>
                    <a:pt x="10241" y="0"/>
                  </a:moveTo>
                  <a:cubicBezTo>
                    <a:pt x="9707" y="267"/>
                    <a:pt x="9173" y="567"/>
                    <a:pt x="8673" y="901"/>
                  </a:cubicBezTo>
                  <a:lnTo>
                    <a:pt x="8906" y="1268"/>
                  </a:lnTo>
                  <a:cubicBezTo>
                    <a:pt x="9407" y="934"/>
                    <a:pt x="9907" y="634"/>
                    <a:pt x="10441" y="367"/>
                  </a:cubicBezTo>
                  <a:lnTo>
                    <a:pt x="10241" y="0"/>
                  </a:lnTo>
                  <a:close/>
                  <a:moveTo>
                    <a:pt x="7205" y="1968"/>
                  </a:moveTo>
                  <a:cubicBezTo>
                    <a:pt x="6738" y="2335"/>
                    <a:pt x="6305" y="2735"/>
                    <a:pt x="5838" y="3169"/>
                  </a:cubicBezTo>
                  <a:lnTo>
                    <a:pt x="6138" y="3469"/>
                  </a:lnTo>
                  <a:cubicBezTo>
                    <a:pt x="6605" y="3036"/>
                    <a:pt x="7005" y="2669"/>
                    <a:pt x="7472" y="2302"/>
                  </a:cubicBezTo>
                  <a:lnTo>
                    <a:pt x="7205" y="1968"/>
                  </a:lnTo>
                  <a:close/>
                  <a:moveTo>
                    <a:pt x="4603" y="4437"/>
                  </a:moveTo>
                  <a:cubicBezTo>
                    <a:pt x="4170" y="4904"/>
                    <a:pt x="3803" y="5371"/>
                    <a:pt x="3436" y="5838"/>
                  </a:cubicBezTo>
                  <a:lnTo>
                    <a:pt x="3736" y="6071"/>
                  </a:lnTo>
                  <a:cubicBezTo>
                    <a:pt x="4103" y="5637"/>
                    <a:pt x="4503" y="5170"/>
                    <a:pt x="4904" y="4737"/>
                  </a:cubicBezTo>
                  <a:lnTo>
                    <a:pt x="4603" y="4437"/>
                  </a:lnTo>
                  <a:close/>
                  <a:moveTo>
                    <a:pt x="2368" y="7305"/>
                  </a:moveTo>
                  <a:cubicBezTo>
                    <a:pt x="2035" y="7806"/>
                    <a:pt x="1701" y="8306"/>
                    <a:pt x="1434" y="8840"/>
                  </a:cubicBezTo>
                  <a:lnTo>
                    <a:pt x="1768" y="9040"/>
                  </a:lnTo>
                  <a:cubicBezTo>
                    <a:pt x="2068" y="8539"/>
                    <a:pt x="2368" y="8039"/>
                    <a:pt x="2702" y="7539"/>
                  </a:cubicBezTo>
                  <a:lnTo>
                    <a:pt x="2368" y="7305"/>
                  </a:lnTo>
                  <a:close/>
                  <a:moveTo>
                    <a:pt x="601" y="10474"/>
                  </a:moveTo>
                  <a:cubicBezTo>
                    <a:pt x="367" y="11008"/>
                    <a:pt x="167" y="11575"/>
                    <a:pt x="0" y="12175"/>
                  </a:cubicBezTo>
                  <a:lnTo>
                    <a:pt x="434" y="12275"/>
                  </a:lnTo>
                  <a:cubicBezTo>
                    <a:pt x="567" y="11708"/>
                    <a:pt x="767" y="11175"/>
                    <a:pt x="1001" y="10641"/>
                  </a:cubicBezTo>
                  <a:lnTo>
                    <a:pt x="601" y="10474"/>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451;p30">
              <a:extLst>
                <a:ext uri="{FF2B5EF4-FFF2-40B4-BE49-F238E27FC236}">
                  <a16:creationId xmlns:a16="http://schemas.microsoft.com/office/drawing/2014/main" id="{AA809738-0C61-E927-2C8A-9BDF94B0C3C5}"/>
                </a:ext>
              </a:extLst>
            </p:cNvPr>
            <p:cNvSpPr/>
            <p:nvPr/>
          </p:nvSpPr>
          <p:spPr>
            <a:xfrm flipH="1">
              <a:off x="6928870" y="2552558"/>
              <a:ext cx="25281" cy="17769"/>
            </a:xfrm>
            <a:custGeom>
              <a:avLst/>
              <a:gdLst/>
              <a:ahLst/>
              <a:cxnLst/>
              <a:rect l="l" t="t" r="r" b="b"/>
              <a:pathLst>
                <a:path w="902" h="634" extrusionOk="0">
                  <a:moveTo>
                    <a:pt x="835" y="0"/>
                  </a:moveTo>
                  <a:cubicBezTo>
                    <a:pt x="535" y="67"/>
                    <a:pt x="268" y="133"/>
                    <a:pt x="1" y="234"/>
                  </a:cubicBezTo>
                  <a:lnTo>
                    <a:pt x="101" y="634"/>
                  </a:lnTo>
                  <a:cubicBezTo>
                    <a:pt x="368" y="534"/>
                    <a:pt x="635" y="467"/>
                    <a:pt x="902" y="400"/>
                  </a:cubicBezTo>
                  <a:lnTo>
                    <a:pt x="835" y="0"/>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452;p30">
              <a:extLst>
                <a:ext uri="{FF2B5EF4-FFF2-40B4-BE49-F238E27FC236}">
                  <a16:creationId xmlns:a16="http://schemas.microsoft.com/office/drawing/2014/main" id="{8867484F-A311-F093-397A-3301C3A42B8E}"/>
                </a:ext>
              </a:extLst>
            </p:cNvPr>
            <p:cNvSpPr/>
            <p:nvPr/>
          </p:nvSpPr>
          <p:spPr>
            <a:xfrm flipH="1">
              <a:off x="5335759" y="2869493"/>
              <a:ext cx="14995" cy="25253"/>
            </a:xfrm>
            <a:custGeom>
              <a:avLst/>
              <a:gdLst/>
              <a:ahLst/>
              <a:cxnLst/>
              <a:rect l="l" t="t" r="r" b="b"/>
              <a:pathLst>
                <a:path w="535" h="901" extrusionOk="0">
                  <a:moveTo>
                    <a:pt x="434" y="0"/>
                  </a:moveTo>
                  <a:lnTo>
                    <a:pt x="0" y="100"/>
                  </a:lnTo>
                  <a:cubicBezTo>
                    <a:pt x="67" y="334"/>
                    <a:pt x="101" y="601"/>
                    <a:pt x="134" y="901"/>
                  </a:cubicBezTo>
                  <a:lnTo>
                    <a:pt x="534" y="834"/>
                  </a:lnTo>
                  <a:cubicBezTo>
                    <a:pt x="501" y="567"/>
                    <a:pt x="467" y="267"/>
                    <a:pt x="434"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453;p30">
              <a:extLst>
                <a:ext uri="{FF2B5EF4-FFF2-40B4-BE49-F238E27FC236}">
                  <a16:creationId xmlns:a16="http://schemas.microsoft.com/office/drawing/2014/main" id="{A66A70E6-2D7E-218B-4CC5-F7207709533E}"/>
                </a:ext>
              </a:extLst>
            </p:cNvPr>
            <p:cNvSpPr/>
            <p:nvPr/>
          </p:nvSpPr>
          <p:spPr>
            <a:xfrm flipH="1">
              <a:off x="5334834" y="2938664"/>
              <a:ext cx="244035" cy="406707"/>
            </a:xfrm>
            <a:custGeom>
              <a:avLst/>
              <a:gdLst/>
              <a:ahLst/>
              <a:cxnLst/>
              <a:rect l="l" t="t" r="r" b="b"/>
              <a:pathLst>
                <a:path w="8707" h="14511" extrusionOk="0">
                  <a:moveTo>
                    <a:pt x="8306" y="1"/>
                  </a:moveTo>
                  <a:cubicBezTo>
                    <a:pt x="8273" y="501"/>
                    <a:pt x="8240" y="1035"/>
                    <a:pt x="8173" y="1535"/>
                  </a:cubicBezTo>
                  <a:lnTo>
                    <a:pt x="8573" y="1602"/>
                  </a:lnTo>
                  <a:lnTo>
                    <a:pt x="8573" y="1568"/>
                  </a:lnTo>
                  <a:cubicBezTo>
                    <a:pt x="8673" y="1035"/>
                    <a:pt x="8707" y="501"/>
                    <a:pt x="8707" y="1"/>
                  </a:cubicBezTo>
                  <a:close/>
                  <a:moveTo>
                    <a:pt x="7873" y="3069"/>
                  </a:moveTo>
                  <a:cubicBezTo>
                    <a:pt x="7773" y="3570"/>
                    <a:pt x="7606" y="4070"/>
                    <a:pt x="7472" y="4571"/>
                  </a:cubicBezTo>
                  <a:lnTo>
                    <a:pt x="7873" y="4704"/>
                  </a:lnTo>
                  <a:lnTo>
                    <a:pt x="7873" y="4671"/>
                  </a:lnTo>
                  <a:cubicBezTo>
                    <a:pt x="8039" y="4170"/>
                    <a:pt x="8173" y="3670"/>
                    <a:pt x="8306" y="3169"/>
                  </a:cubicBezTo>
                  <a:lnTo>
                    <a:pt x="7873" y="3069"/>
                  </a:lnTo>
                  <a:close/>
                  <a:moveTo>
                    <a:pt x="6939" y="6005"/>
                  </a:moveTo>
                  <a:cubicBezTo>
                    <a:pt x="6738" y="6505"/>
                    <a:pt x="6505" y="6972"/>
                    <a:pt x="6271" y="7439"/>
                  </a:cubicBezTo>
                  <a:lnTo>
                    <a:pt x="6638" y="7606"/>
                  </a:lnTo>
                  <a:cubicBezTo>
                    <a:pt x="6905" y="7139"/>
                    <a:pt x="7139" y="6672"/>
                    <a:pt x="7339" y="6172"/>
                  </a:cubicBezTo>
                  <a:lnTo>
                    <a:pt x="6939" y="6005"/>
                  </a:lnTo>
                  <a:close/>
                  <a:moveTo>
                    <a:pt x="5504" y="8774"/>
                  </a:moveTo>
                  <a:cubicBezTo>
                    <a:pt x="5237" y="9207"/>
                    <a:pt x="4937" y="9641"/>
                    <a:pt x="4604" y="10041"/>
                  </a:cubicBezTo>
                  <a:lnTo>
                    <a:pt x="4937" y="10308"/>
                  </a:lnTo>
                  <a:cubicBezTo>
                    <a:pt x="5271" y="9874"/>
                    <a:pt x="5571" y="9441"/>
                    <a:pt x="5871" y="9007"/>
                  </a:cubicBezTo>
                  <a:lnTo>
                    <a:pt x="5504" y="8774"/>
                  </a:lnTo>
                  <a:close/>
                  <a:moveTo>
                    <a:pt x="3603" y="11242"/>
                  </a:moveTo>
                  <a:cubicBezTo>
                    <a:pt x="3236" y="11609"/>
                    <a:pt x="2869" y="11976"/>
                    <a:pt x="2502" y="12309"/>
                  </a:cubicBezTo>
                  <a:lnTo>
                    <a:pt x="2769" y="12643"/>
                  </a:lnTo>
                  <a:cubicBezTo>
                    <a:pt x="3169" y="12276"/>
                    <a:pt x="3536" y="11909"/>
                    <a:pt x="3903" y="11509"/>
                  </a:cubicBezTo>
                  <a:lnTo>
                    <a:pt x="3603" y="11242"/>
                  </a:lnTo>
                  <a:close/>
                  <a:moveTo>
                    <a:pt x="1268" y="13277"/>
                  </a:moveTo>
                  <a:cubicBezTo>
                    <a:pt x="868" y="13610"/>
                    <a:pt x="434" y="13877"/>
                    <a:pt x="0" y="14144"/>
                  </a:cubicBezTo>
                  <a:lnTo>
                    <a:pt x="200" y="14511"/>
                  </a:lnTo>
                  <a:cubicBezTo>
                    <a:pt x="667" y="14244"/>
                    <a:pt x="1101" y="13944"/>
                    <a:pt x="1535" y="13644"/>
                  </a:cubicBezTo>
                  <a:lnTo>
                    <a:pt x="1268" y="13277"/>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454;p30">
              <a:extLst>
                <a:ext uri="{FF2B5EF4-FFF2-40B4-BE49-F238E27FC236}">
                  <a16:creationId xmlns:a16="http://schemas.microsoft.com/office/drawing/2014/main" id="{187F15F8-FDD4-BCB1-0C2A-79E7948D15EB}"/>
                </a:ext>
              </a:extLst>
            </p:cNvPr>
            <p:cNvSpPr/>
            <p:nvPr/>
          </p:nvSpPr>
          <p:spPr>
            <a:xfrm flipH="1">
              <a:off x="5612502" y="3355630"/>
              <a:ext cx="26206" cy="20600"/>
            </a:xfrm>
            <a:custGeom>
              <a:avLst/>
              <a:gdLst/>
              <a:ahLst/>
              <a:cxnLst/>
              <a:rect l="l" t="t" r="r" b="b"/>
              <a:pathLst>
                <a:path w="935" h="735" extrusionOk="0">
                  <a:moveTo>
                    <a:pt x="734" y="1"/>
                  </a:moveTo>
                  <a:cubicBezTo>
                    <a:pt x="501" y="134"/>
                    <a:pt x="267" y="234"/>
                    <a:pt x="0" y="334"/>
                  </a:cubicBezTo>
                  <a:lnTo>
                    <a:pt x="167" y="735"/>
                  </a:lnTo>
                  <a:cubicBezTo>
                    <a:pt x="434" y="635"/>
                    <a:pt x="668" y="501"/>
                    <a:pt x="934" y="401"/>
                  </a:cubicBezTo>
                  <a:lnTo>
                    <a:pt x="734" y="1"/>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455;p30">
              <a:extLst>
                <a:ext uri="{FF2B5EF4-FFF2-40B4-BE49-F238E27FC236}">
                  <a16:creationId xmlns:a16="http://schemas.microsoft.com/office/drawing/2014/main" id="{8B44F1A2-9972-D365-C65A-7342D4ADAFBD}"/>
                </a:ext>
              </a:extLst>
            </p:cNvPr>
            <p:cNvSpPr/>
            <p:nvPr/>
          </p:nvSpPr>
          <p:spPr>
            <a:xfrm flipH="1">
              <a:off x="6276306" y="2537591"/>
              <a:ext cx="25253" cy="15920"/>
            </a:xfrm>
            <a:custGeom>
              <a:avLst/>
              <a:gdLst/>
              <a:ahLst/>
              <a:cxnLst/>
              <a:rect l="l" t="t" r="r" b="b"/>
              <a:pathLst>
                <a:path w="901" h="568" extrusionOk="0">
                  <a:moveTo>
                    <a:pt x="67" y="0"/>
                  </a:moveTo>
                  <a:lnTo>
                    <a:pt x="0" y="401"/>
                  </a:lnTo>
                  <a:cubicBezTo>
                    <a:pt x="234" y="434"/>
                    <a:pt x="501" y="501"/>
                    <a:pt x="767" y="567"/>
                  </a:cubicBezTo>
                  <a:lnTo>
                    <a:pt x="901" y="167"/>
                  </a:lnTo>
                  <a:cubicBezTo>
                    <a:pt x="601" y="100"/>
                    <a:pt x="334" y="34"/>
                    <a:pt x="67"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456;p30">
              <a:extLst>
                <a:ext uri="{FF2B5EF4-FFF2-40B4-BE49-F238E27FC236}">
                  <a16:creationId xmlns:a16="http://schemas.microsoft.com/office/drawing/2014/main" id="{38E14D4C-A439-3812-0FF9-DE7F773A0396}"/>
                </a:ext>
              </a:extLst>
            </p:cNvPr>
            <p:cNvSpPr/>
            <p:nvPr/>
          </p:nvSpPr>
          <p:spPr>
            <a:xfrm flipH="1">
              <a:off x="5921954" y="2558163"/>
              <a:ext cx="312310" cy="523582"/>
            </a:xfrm>
            <a:custGeom>
              <a:avLst/>
              <a:gdLst/>
              <a:ahLst/>
              <a:cxnLst/>
              <a:rect l="l" t="t" r="r" b="b"/>
              <a:pathLst>
                <a:path w="11143" h="18681" extrusionOk="0">
                  <a:moveTo>
                    <a:pt x="168" y="0"/>
                  </a:moveTo>
                  <a:lnTo>
                    <a:pt x="1" y="400"/>
                  </a:lnTo>
                  <a:cubicBezTo>
                    <a:pt x="501" y="601"/>
                    <a:pt x="1035" y="867"/>
                    <a:pt x="1502" y="1168"/>
                  </a:cubicBezTo>
                  <a:lnTo>
                    <a:pt x="1736" y="801"/>
                  </a:lnTo>
                  <a:cubicBezTo>
                    <a:pt x="1235" y="501"/>
                    <a:pt x="701" y="234"/>
                    <a:pt x="168" y="0"/>
                  </a:cubicBezTo>
                  <a:close/>
                  <a:moveTo>
                    <a:pt x="3170" y="1801"/>
                  </a:moveTo>
                  <a:lnTo>
                    <a:pt x="2903" y="2135"/>
                  </a:lnTo>
                  <a:cubicBezTo>
                    <a:pt x="3370" y="2469"/>
                    <a:pt x="3804" y="2836"/>
                    <a:pt x="4204" y="3236"/>
                  </a:cubicBezTo>
                  <a:lnTo>
                    <a:pt x="4504" y="2936"/>
                  </a:lnTo>
                  <a:cubicBezTo>
                    <a:pt x="4071" y="2535"/>
                    <a:pt x="3637" y="2168"/>
                    <a:pt x="3170" y="1801"/>
                  </a:cubicBezTo>
                  <a:close/>
                  <a:moveTo>
                    <a:pt x="5705" y="4237"/>
                  </a:moveTo>
                  <a:lnTo>
                    <a:pt x="5371" y="4503"/>
                  </a:lnTo>
                  <a:cubicBezTo>
                    <a:pt x="5738" y="4937"/>
                    <a:pt x="6105" y="5371"/>
                    <a:pt x="6439" y="5838"/>
                  </a:cubicBezTo>
                  <a:lnTo>
                    <a:pt x="6806" y="5604"/>
                  </a:lnTo>
                  <a:cubicBezTo>
                    <a:pt x="6439" y="5137"/>
                    <a:pt x="6072" y="4637"/>
                    <a:pt x="5705" y="4237"/>
                  </a:cubicBezTo>
                  <a:close/>
                  <a:moveTo>
                    <a:pt x="7773" y="7039"/>
                  </a:moveTo>
                  <a:lnTo>
                    <a:pt x="7440" y="7272"/>
                  </a:lnTo>
                  <a:cubicBezTo>
                    <a:pt x="7706" y="7739"/>
                    <a:pt x="8007" y="8239"/>
                    <a:pt x="8274" y="8773"/>
                  </a:cubicBezTo>
                  <a:lnTo>
                    <a:pt x="8640" y="8573"/>
                  </a:lnTo>
                  <a:cubicBezTo>
                    <a:pt x="8374" y="8039"/>
                    <a:pt x="8073" y="7539"/>
                    <a:pt x="7773" y="7039"/>
                  </a:cubicBezTo>
                  <a:close/>
                  <a:moveTo>
                    <a:pt x="9374" y="10141"/>
                  </a:moveTo>
                  <a:lnTo>
                    <a:pt x="9007" y="10308"/>
                  </a:lnTo>
                  <a:cubicBezTo>
                    <a:pt x="9208" y="10841"/>
                    <a:pt x="9441" y="11375"/>
                    <a:pt x="9608" y="11909"/>
                  </a:cubicBezTo>
                  <a:lnTo>
                    <a:pt x="10008" y="11775"/>
                  </a:lnTo>
                  <a:cubicBezTo>
                    <a:pt x="9808" y="11242"/>
                    <a:pt x="9608" y="10674"/>
                    <a:pt x="9374" y="10141"/>
                  </a:cubicBezTo>
                  <a:close/>
                  <a:moveTo>
                    <a:pt x="10542" y="13476"/>
                  </a:moveTo>
                  <a:lnTo>
                    <a:pt x="10108" y="13577"/>
                  </a:lnTo>
                  <a:cubicBezTo>
                    <a:pt x="10275" y="14144"/>
                    <a:pt x="10375" y="14711"/>
                    <a:pt x="10475" y="15244"/>
                  </a:cubicBezTo>
                  <a:lnTo>
                    <a:pt x="10909" y="15211"/>
                  </a:lnTo>
                  <a:cubicBezTo>
                    <a:pt x="10809" y="14644"/>
                    <a:pt x="10675" y="14044"/>
                    <a:pt x="10542" y="13476"/>
                  </a:cubicBezTo>
                  <a:close/>
                  <a:moveTo>
                    <a:pt x="10675" y="16946"/>
                  </a:moveTo>
                  <a:cubicBezTo>
                    <a:pt x="10709" y="17279"/>
                    <a:pt x="10709" y="17613"/>
                    <a:pt x="10709" y="17946"/>
                  </a:cubicBezTo>
                  <a:cubicBezTo>
                    <a:pt x="10709" y="18180"/>
                    <a:pt x="10709" y="18413"/>
                    <a:pt x="10709" y="18680"/>
                  </a:cubicBezTo>
                  <a:lnTo>
                    <a:pt x="11109" y="18680"/>
                  </a:lnTo>
                  <a:cubicBezTo>
                    <a:pt x="11142" y="18447"/>
                    <a:pt x="11142" y="18180"/>
                    <a:pt x="11142" y="17946"/>
                  </a:cubicBezTo>
                  <a:cubicBezTo>
                    <a:pt x="11142" y="17613"/>
                    <a:pt x="11142" y="17279"/>
                    <a:pt x="11109" y="16946"/>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457;p30">
              <a:extLst>
                <a:ext uri="{FF2B5EF4-FFF2-40B4-BE49-F238E27FC236}">
                  <a16:creationId xmlns:a16="http://schemas.microsoft.com/office/drawing/2014/main" id="{673FB6C0-E9A9-0883-6760-736EEE873E9B}"/>
                </a:ext>
              </a:extLst>
            </p:cNvPr>
            <p:cNvSpPr/>
            <p:nvPr/>
          </p:nvSpPr>
          <p:spPr>
            <a:xfrm flipH="1">
              <a:off x="5929437" y="3128467"/>
              <a:ext cx="16873" cy="26206"/>
            </a:xfrm>
            <a:custGeom>
              <a:avLst/>
              <a:gdLst/>
              <a:ahLst/>
              <a:cxnLst/>
              <a:rect l="l" t="t" r="r" b="b"/>
              <a:pathLst>
                <a:path w="602" h="935" extrusionOk="0">
                  <a:moveTo>
                    <a:pt x="201" y="0"/>
                  </a:moveTo>
                  <a:cubicBezTo>
                    <a:pt x="134" y="267"/>
                    <a:pt x="68" y="534"/>
                    <a:pt x="1" y="801"/>
                  </a:cubicBezTo>
                  <a:lnTo>
                    <a:pt x="401" y="934"/>
                  </a:lnTo>
                  <a:cubicBezTo>
                    <a:pt x="468" y="667"/>
                    <a:pt x="535" y="367"/>
                    <a:pt x="601" y="100"/>
                  </a:cubicBezTo>
                  <a:lnTo>
                    <a:pt x="201" y="0"/>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458;p30">
              <a:extLst>
                <a:ext uri="{FF2B5EF4-FFF2-40B4-BE49-F238E27FC236}">
                  <a16:creationId xmlns:a16="http://schemas.microsoft.com/office/drawing/2014/main" id="{E2D465F8-939F-DD3C-8961-8779C4BAE221}"/>
                </a:ext>
              </a:extLst>
            </p:cNvPr>
            <p:cNvSpPr/>
            <p:nvPr/>
          </p:nvSpPr>
          <p:spPr>
            <a:xfrm flipH="1">
              <a:off x="7019567" y="2106584"/>
              <a:ext cx="454354" cy="244091"/>
            </a:xfrm>
            <a:custGeom>
              <a:avLst/>
              <a:gdLst/>
              <a:ahLst/>
              <a:cxnLst/>
              <a:rect l="l" t="t" r="r" b="b"/>
              <a:pathLst>
                <a:path w="16211" h="8709" extrusionOk="0">
                  <a:moveTo>
                    <a:pt x="8139" y="1"/>
                  </a:moveTo>
                  <a:cubicBezTo>
                    <a:pt x="6471" y="34"/>
                    <a:pt x="5036" y="1135"/>
                    <a:pt x="4569" y="2736"/>
                  </a:cubicBezTo>
                  <a:cubicBezTo>
                    <a:pt x="2968" y="2869"/>
                    <a:pt x="1701" y="4137"/>
                    <a:pt x="1567" y="5738"/>
                  </a:cubicBezTo>
                  <a:lnTo>
                    <a:pt x="1567" y="5938"/>
                  </a:lnTo>
                  <a:cubicBezTo>
                    <a:pt x="767" y="5938"/>
                    <a:pt x="133" y="6539"/>
                    <a:pt x="66" y="7339"/>
                  </a:cubicBezTo>
                  <a:cubicBezTo>
                    <a:pt x="1" y="8055"/>
                    <a:pt x="571" y="8708"/>
                    <a:pt x="1312" y="8708"/>
                  </a:cubicBezTo>
                  <a:cubicBezTo>
                    <a:pt x="1330" y="8708"/>
                    <a:pt x="1349" y="8708"/>
                    <a:pt x="1367" y="8707"/>
                  </a:cubicBezTo>
                  <a:lnTo>
                    <a:pt x="13876" y="8707"/>
                  </a:lnTo>
                  <a:cubicBezTo>
                    <a:pt x="15077" y="8707"/>
                    <a:pt x="16044" y="7773"/>
                    <a:pt x="16144" y="6605"/>
                  </a:cubicBezTo>
                  <a:cubicBezTo>
                    <a:pt x="16211" y="5738"/>
                    <a:pt x="15711" y="4938"/>
                    <a:pt x="14910" y="4604"/>
                  </a:cubicBezTo>
                  <a:cubicBezTo>
                    <a:pt x="15042" y="3088"/>
                    <a:pt x="13839" y="1768"/>
                    <a:pt x="12299" y="1768"/>
                  </a:cubicBezTo>
                  <a:cubicBezTo>
                    <a:pt x="12280" y="1768"/>
                    <a:pt x="12261" y="1768"/>
                    <a:pt x="12241" y="1769"/>
                  </a:cubicBezTo>
                  <a:cubicBezTo>
                    <a:pt x="11875" y="1769"/>
                    <a:pt x="11474" y="1835"/>
                    <a:pt x="11141" y="1969"/>
                  </a:cubicBezTo>
                  <a:cubicBezTo>
                    <a:pt x="10640" y="768"/>
                    <a:pt x="9439" y="1"/>
                    <a:pt x="8139" y="1"/>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459;p30">
              <a:extLst>
                <a:ext uri="{FF2B5EF4-FFF2-40B4-BE49-F238E27FC236}">
                  <a16:creationId xmlns:a16="http://schemas.microsoft.com/office/drawing/2014/main" id="{3857A473-A759-A264-ECDE-3D0D27D1FC0E}"/>
                </a:ext>
              </a:extLst>
            </p:cNvPr>
            <p:cNvSpPr/>
            <p:nvPr/>
          </p:nvSpPr>
          <p:spPr>
            <a:xfrm flipH="1">
              <a:off x="5509670" y="2122448"/>
              <a:ext cx="397374" cy="213233"/>
            </a:xfrm>
            <a:custGeom>
              <a:avLst/>
              <a:gdLst/>
              <a:ahLst/>
              <a:cxnLst/>
              <a:rect l="l" t="t" r="r" b="b"/>
              <a:pathLst>
                <a:path w="14178" h="7608" extrusionOk="0">
                  <a:moveTo>
                    <a:pt x="7184" y="1"/>
                  </a:moveTo>
                  <a:cubicBezTo>
                    <a:pt x="7158" y="1"/>
                    <a:pt x="7132" y="1"/>
                    <a:pt x="7106" y="2"/>
                  </a:cubicBezTo>
                  <a:cubicBezTo>
                    <a:pt x="5672" y="35"/>
                    <a:pt x="4404" y="1002"/>
                    <a:pt x="4004" y="2370"/>
                  </a:cubicBezTo>
                  <a:cubicBezTo>
                    <a:pt x="2603" y="2470"/>
                    <a:pt x="1469" y="3604"/>
                    <a:pt x="1369" y="5005"/>
                  </a:cubicBezTo>
                  <a:lnTo>
                    <a:pt x="1369" y="5172"/>
                  </a:lnTo>
                  <a:cubicBezTo>
                    <a:pt x="668" y="5205"/>
                    <a:pt x="101" y="5706"/>
                    <a:pt x="68" y="6406"/>
                  </a:cubicBezTo>
                  <a:cubicBezTo>
                    <a:pt x="1" y="7040"/>
                    <a:pt x="535" y="7607"/>
                    <a:pt x="1202" y="7607"/>
                  </a:cubicBezTo>
                  <a:lnTo>
                    <a:pt x="12143" y="7607"/>
                  </a:lnTo>
                  <a:cubicBezTo>
                    <a:pt x="13177" y="7607"/>
                    <a:pt x="14044" y="6807"/>
                    <a:pt x="14111" y="5739"/>
                  </a:cubicBezTo>
                  <a:cubicBezTo>
                    <a:pt x="14178" y="5005"/>
                    <a:pt x="13744" y="4305"/>
                    <a:pt x="13044" y="4038"/>
                  </a:cubicBezTo>
                  <a:cubicBezTo>
                    <a:pt x="13142" y="2689"/>
                    <a:pt x="12073" y="1535"/>
                    <a:pt x="10732" y="1535"/>
                  </a:cubicBezTo>
                  <a:cubicBezTo>
                    <a:pt x="10713" y="1535"/>
                    <a:pt x="10694" y="1536"/>
                    <a:pt x="10675" y="1536"/>
                  </a:cubicBezTo>
                  <a:cubicBezTo>
                    <a:pt x="10375" y="1536"/>
                    <a:pt x="10041" y="1570"/>
                    <a:pt x="9741" y="1703"/>
                  </a:cubicBezTo>
                  <a:cubicBezTo>
                    <a:pt x="9285" y="693"/>
                    <a:pt x="8287" y="1"/>
                    <a:pt x="7184" y="1"/>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460;p30">
              <a:extLst>
                <a:ext uri="{FF2B5EF4-FFF2-40B4-BE49-F238E27FC236}">
                  <a16:creationId xmlns:a16="http://schemas.microsoft.com/office/drawing/2014/main" id="{AA056E5A-8726-1679-1497-915D5D46AD4A}"/>
                </a:ext>
              </a:extLst>
            </p:cNvPr>
            <p:cNvSpPr/>
            <p:nvPr/>
          </p:nvSpPr>
          <p:spPr>
            <a:xfrm flipH="1">
              <a:off x="6069687" y="1988756"/>
              <a:ext cx="299194" cy="160878"/>
            </a:xfrm>
            <a:custGeom>
              <a:avLst/>
              <a:gdLst/>
              <a:ahLst/>
              <a:cxnLst/>
              <a:rect l="l" t="t" r="r" b="b"/>
              <a:pathLst>
                <a:path w="10675" h="5740" extrusionOk="0">
                  <a:moveTo>
                    <a:pt x="6005" y="1"/>
                  </a:moveTo>
                  <a:cubicBezTo>
                    <a:pt x="5983" y="1"/>
                    <a:pt x="5961" y="1"/>
                    <a:pt x="5938" y="2"/>
                  </a:cubicBezTo>
                  <a:cubicBezTo>
                    <a:pt x="5037" y="2"/>
                    <a:pt x="4204" y="502"/>
                    <a:pt x="3770" y="1269"/>
                  </a:cubicBezTo>
                  <a:cubicBezTo>
                    <a:pt x="3570" y="1202"/>
                    <a:pt x="3303" y="1136"/>
                    <a:pt x="3069" y="1136"/>
                  </a:cubicBezTo>
                  <a:cubicBezTo>
                    <a:pt x="2002" y="1169"/>
                    <a:pt x="1135" y="1970"/>
                    <a:pt x="1035" y="3037"/>
                  </a:cubicBezTo>
                  <a:cubicBezTo>
                    <a:pt x="501" y="3237"/>
                    <a:pt x="101" y="3738"/>
                    <a:pt x="67" y="4338"/>
                  </a:cubicBezTo>
                  <a:cubicBezTo>
                    <a:pt x="1" y="5105"/>
                    <a:pt x="601" y="5739"/>
                    <a:pt x="1368" y="5739"/>
                  </a:cubicBezTo>
                  <a:lnTo>
                    <a:pt x="9641" y="5739"/>
                  </a:lnTo>
                  <a:cubicBezTo>
                    <a:pt x="10141" y="5739"/>
                    <a:pt x="10575" y="5339"/>
                    <a:pt x="10608" y="4838"/>
                  </a:cubicBezTo>
                  <a:cubicBezTo>
                    <a:pt x="10675" y="4305"/>
                    <a:pt x="10275" y="3904"/>
                    <a:pt x="9774" y="3904"/>
                  </a:cubicBezTo>
                  <a:cubicBezTo>
                    <a:pt x="9774" y="3871"/>
                    <a:pt x="9774" y="3804"/>
                    <a:pt x="9774" y="3771"/>
                  </a:cubicBezTo>
                  <a:cubicBezTo>
                    <a:pt x="9841" y="2737"/>
                    <a:pt x="9074" y="1836"/>
                    <a:pt x="8040" y="1803"/>
                  </a:cubicBezTo>
                  <a:cubicBezTo>
                    <a:pt x="7909" y="758"/>
                    <a:pt x="7043" y="1"/>
                    <a:pt x="6005" y="1"/>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461;p30">
              <a:extLst>
                <a:ext uri="{FF2B5EF4-FFF2-40B4-BE49-F238E27FC236}">
                  <a16:creationId xmlns:a16="http://schemas.microsoft.com/office/drawing/2014/main" id="{A9E1A21F-B4D7-F48C-A447-A092B5656DA3}"/>
                </a:ext>
              </a:extLst>
            </p:cNvPr>
            <p:cNvSpPr/>
            <p:nvPr/>
          </p:nvSpPr>
          <p:spPr>
            <a:xfrm flipH="1">
              <a:off x="8410964" y="2023567"/>
              <a:ext cx="341011" cy="678350"/>
            </a:xfrm>
            <a:custGeom>
              <a:avLst/>
              <a:gdLst/>
              <a:ahLst/>
              <a:cxnLst/>
              <a:rect l="l" t="t" r="r" b="b"/>
              <a:pathLst>
                <a:path w="12167" h="24203" extrusionOk="0">
                  <a:moveTo>
                    <a:pt x="9434" y="1"/>
                  </a:moveTo>
                  <a:cubicBezTo>
                    <a:pt x="8929" y="1"/>
                    <a:pt x="8408" y="214"/>
                    <a:pt x="7973" y="728"/>
                  </a:cubicBezTo>
                  <a:cubicBezTo>
                    <a:pt x="7139" y="1728"/>
                    <a:pt x="6371" y="2729"/>
                    <a:pt x="5638" y="3763"/>
                  </a:cubicBezTo>
                  <a:cubicBezTo>
                    <a:pt x="4870" y="4797"/>
                    <a:pt x="4170" y="5865"/>
                    <a:pt x="3503" y="6966"/>
                  </a:cubicBezTo>
                  <a:cubicBezTo>
                    <a:pt x="2836" y="8066"/>
                    <a:pt x="2202" y="9200"/>
                    <a:pt x="1635" y="10368"/>
                  </a:cubicBezTo>
                  <a:cubicBezTo>
                    <a:pt x="1034" y="11569"/>
                    <a:pt x="534" y="12770"/>
                    <a:pt x="134" y="14037"/>
                  </a:cubicBezTo>
                  <a:lnTo>
                    <a:pt x="100" y="14137"/>
                  </a:lnTo>
                  <a:cubicBezTo>
                    <a:pt x="34" y="14337"/>
                    <a:pt x="0" y="14538"/>
                    <a:pt x="34" y="14738"/>
                  </a:cubicBezTo>
                  <a:cubicBezTo>
                    <a:pt x="134" y="15738"/>
                    <a:pt x="367" y="16739"/>
                    <a:pt x="734" y="17673"/>
                  </a:cubicBezTo>
                  <a:cubicBezTo>
                    <a:pt x="1068" y="18607"/>
                    <a:pt x="1568" y="19474"/>
                    <a:pt x="2135" y="20308"/>
                  </a:cubicBezTo>
                  <a:cubicBezTo>
                    <a:pt x="2702" y="21076"/>
                    <a:pt x="3336" y="21776"/>
                    <a:pt x="4070" y="22443"/>
                  </a:cubicBezTo>
                  <a:cubicBezTo>
                    <a:pt x="4437" y="22743"/>
                    <a:pt x="4804" y="23044"/>
                    <a:pt x="5171" y="23311"/>
                  </a:cubicBezTo>
                  <a:cubicBezTo>
                    <a:pt x="5571" y="23611"/>
                    <a:pt x="6004" y="23878"/>
                    <a:pt x="6438" y="24078"/>
                  </a:cubicBezTo>
                  <a:cubicBezTo>
                    <a:pt x="6601" y="24164"/>
                    <a:pt x="6762" y="24203"/>
                    <a:pt x="6913" y="24203"/>
                  </a:cubicBezTo>
                  <a:cubicBezTo>
                    <a:pt x="7696" y="24203"/>
                    <a:pt x="8237" y="23186"/>
                    <a:pt x="7539" y="22543"/>
                  </a:cubicBezTo>
                  <a:lnTo>
                    <a:pt x="7472" y="22477"/>
                  </a:lnTo>
                  <a:cubicBezTo>
                    <a:pt x="7339" y="22343"/>
                    <a:pt x="7205" y="22176"/>
                    <a:pt x="7039" y="22076"/>
                  </a:cubicBezTo>
                  <a:cubicBezTo>
                    <a:pt x="6905" y="21943"/>
                    <a:pt x="6772" y="21809"/>
                    <a:pt x="6638" y="21643"/>
                  </a:cubicBezTo>
                  <a:cubicBezTo>
                    <a:pt x="6371" y="21342"/>
                    <a:pt x="6105" y="21042"/>
                    <a:pt x="5871" y="20742"/>
                  </a:cubicBezTo>
                  <a:cubicBezTo>
                    <a:pt x="5404" y="20108"/>
                    <a:pt x="4970" y="19441"/>
                    <a:pt x="4637" y="18774"/>
                  </a:cubicBezTo>
                  <a:cubicBezTo>
                    <a:pt x="4303" y="18107"/>
                    <a:pt x="4036" y="17406"/>
                    <a:pt x="3836" y="16672"/>
                  </a:cubicBezTo>
                  <a:cubicBezTo>
                    <a:pt x="3704" y="16115"/>
                    <a:pt x="3613" y="15537"/>
                    <a:pt x="3565" y="14971"/>
                  </a:cubicBezTo>
                  <a:lnTo>
                    <a:pt x="3565" y="14971"/>
                  </a:lnTo>
                  <a:cubicBezTo>
                    <a:pt x="3972" y="13986"/>
                    <a:pt x="4411" y="13028"/>
                    <a:pt x="4937" y="12069"/>
                  </a:cubicBezTo>
                  <a:cubicBezTo>
                    <a:pt x="5504" y="11068"/>
                    <a:pt x="6105" y="10034"/>
                    <a:pt x="6772" y="9034"/>
                  </a:cubicBezTo>
                  <a:cubicBezTo>
                    <a:pt x="7405" y="8033"/>
                    <a:pt x="8106" y="7066"/>
                    <a:pt x="8806" y="6098"/>
                  </a:cubicBezTo>
                  <a:cubicBezTo>
                    <a:pt x="9507" y="5131"/>
                    <a:pt x="10274" y="4130"/>
                    <a:pt x="10975" y="3263"/>
                  </a:cubicBezTo>
                  <a:lnTo>
                    <a:pt x="11008" y="3196"/>
                  </a:lnTo>
                  <a:cubicBezTo>
                    <a:pt x="12167" y="1717"/>
                    <a:pt x="10865" y="1"/>
                    <a:pt x="9434" y="1"/>
                  </a:cubicBezTo>
                  <a:close/>
                </a:path>
              </a:pathLst>
            </a:custGeom>
            <a:solidFill>
              <a:srgbClr val="B55B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462;p30">
              <a:extLst>
                <a:ext uri="{FF2B5EF4-FFF2-40B4-BE49-F238E27FC236}">
                  <a16:creationId xmlns:a16="http://schemas.microsoft.com/office/drawing/2014/main" id="{F9A526D4-B527-671D-7977-6C934C237968}"/>
                </a:ext>
              </a:extLst>
            </p:cNvPr>
            <p:cNvSpPr/>
            <p:nvPr/>
          </p:nvSpPr>
          <p:spPr>
            <a:xfrm flipH="1">
              <a:off x="8463992" y="2642302"/>
              <a:ext cx="156169" cy="89772"/>
            </a:xfrm>
            <a:custGeom>
              <a:avLst/>
              <a:gdLst/>
              <a:ahLst/>
              <a:cxnLst/>
              <a:rect l="l" t="t" r="r" b="b"/>
              <a:pathLst>
                <a:path w="5572" h="3203" extrusionOk="0">
                  <a:moveTo>
                    <a:pt x="1969" y="0"/>
                  </a:moveTo>
                  <a:lnTo>
                    <a:pt x="167" y="267"/>
                  </a:lnTo>
                  <a:cubicBezTo>
                    <a:pt x="1" y="1802"/>
                    <a:pt x="2069" y="3203"/>
                    <a:pt x="2069" y="3203"/>
                  </a:cubicBezTo>
                  <a:lnTo>
                    <a:pt x="5571" y="1535"/>
                  </a:lnTo>
                  <a:lnTo>
                    <a:pt x="1969" y="0"/>
                  </a:lnTo>
                  <a:close/>
                </a:path>
              </a:pathLst>
            </a:custGeom>
            <a:solidFill>
              <a:srgbClr val="B55B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463;p30">
              <a:extLst>
                <a:ext uri="{FF2B5EF4-FFF2-40B4-BE49-F238E27FC236}">
                  <a16:creationId xmlns:a16="http://schemas.microsoft.com/office/drawing/2014/main" id="{B7490F7D-5C78-DF8F-828B-EE7F6EE46C49}"/>
                </a:ext>
              </a:extLst>
            </p:cNvPr>
            <p:cNvSpPr/>
            <p:nvPr/>
          </p:nvSpPr>
          <p:spPr>
            <a:xfrm flipH="1">
              <a:off x="8419120" y="2685296"/>
              <a:ext cx="143080" cy="113147"/>
            </a:xfrm>
            <a:custGeom>
              <a:avLst/>
              <a:gdLst/>
              <a:ahLst/>
              <a:cxnLst/>
              <a:rect l="l" t="t" r="r" b="b"/>
              <a:pathLst>
                <a:path w="5105" h="4037" extrusionOk="0">
                  <a:moveTo>
                    <a:pt x="3503" y="1"/>
                  </a:moveTo>
                  <a:lnTo>
                    <a:pt x="1" y="1669"/>
                  </a:lnTo>
                  <a:lnTo>
                    <a:pt x="2069" y="4037"/>
                  </a:lnTo>
                  <a:lnTo>
                    <a:pt x="5104" y="2803"/>
                  </a:lnTo>
                  <a:lnTo>
                    <a:pt x="3503" y="1"/>
                  </a:lnTo>
                  <a:close/>
                </a:path>
              </a:pathLst>
            </a:custGeom>
            <a:solidFill>
              <a:srgbClr val="B55B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464;p30">
              <a:extLst>
                <a:ext uri="{FF2B5EF4-FFF2-40B4-BE49-F238E27FC236}">
                  <a16:creationId xmlns:a16="http://schemas.microsoft.com/office/drawing/2014/main" id="{6B557FA8-9C9F-8F50-BB3B-C0F3D2C9132C}"/>
                </a:ext>
              </a:extLst>
            </p:cNvPr>
            <p:cNvSpPr/>
            <p:nvPr/>
          </p:nvSpPr>
          <p:spPr>
            <a:xfrm flipH="1">
              <a:off x="8140527" y="1789649"/>
              <a:ext cx="237477" cy="356230"/>
            </a:xfrm>
            <a:custGeom>
              <a:avLst/>
              <a:gdLst/>
              <a:ahLst/>
              <a:cxnLst/>
              <a:rect l="l" t="t" r="r" b="b"/>
              <a:pathLst>
                <a:path w="8473" h="12710" extrusionOk="0">
                  <a:moveTo>
                    <a:pt x="701" y="1"/>
                  </a:moveTo>
                  <a:lnTo>
                    <a:pt x="701" y="1"/>
                  </a:lnTo>
                  <a:cubicBezTo>
                    <a:pt x="1134" y="2269"/>
                    <a:pt x="1568" y="6438"/>
                    <a:pt x="0" y="7906"/>
                  </a:cubicBezTo>
                  <a:cubicBezTo>
                    <a:pt x="1268" y="10008"/>
                    <a:pt x="3169" y="11676"/>
                    <a:pt x="5437" y="12710"/>
                  </a:cubicBezTo>
                  <a:cubicBezTo>
                    <a:pt x="8473" y="10908"/>
                    <a:pt x="7038" y="8140"/>
                    <a:pt x="7038" y="8140"/>
                  </a:cubicBezTo>
                  <a:cubicBezTo>
                    <a:pt x="4503" y="7439"/>
                    <a:pt x="4570" y="5571"/>
                    <a:pt x="5037" y="3837"/>
                  </a:cubicBezTo>
                  <a:lnTo>
                    <a:pt x="701" y="1"/>
                  </a:lnTo>
                  <a:close/>
                </a:path>
              </a:pathLst>
            </a:custGeom>
            <a:solidFill>
              <a:srgbClr val="B55B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465;p30">
              <a:extLst>
                <a:ext uri="{FF2B5EF4-FFF2-40B4-BE49-F238E27FC236}">
                  <a16:creationId xmlns:a16="http://schemas.microsoft.com/office/drawing/2014/main" id="{7A39A8D3-3F65-7FD0-E59B-344ED2DCC148}"/>
                </a:ext>
              </a:extLst>
            </p:cNvPr>
            <p:cNvSpPr/>
            <p:nvPr/>
          </p:nvSpPr>
          <p:spPr>
            <a:xfrm flipH="1">
              <a:off x="8133968" y="1978134"/>
              <a:ext cx="279574" cy="65837"/>
            </a:xfrm>
            <a:custGeom>
              <a:avLst/>
              <a:gdLst/>
              <a:ahLst/>
              <a:cxnLst/>
              <a:rect l="l" t="t" r="r" b="b"/>
              <a:pathLst>
                <a:path w="9975" h="2349" extrusionOk="0">
                  <a:moveTo>
                    <a:pt x="5680" y="1"/>
                  </a:moveTo>
                  <a:cubicBezTo>
                    <a:pt x="3345" y="1"/>
                    <a:pt x="134" y="381"/>
                    <a:pt x="134" y="381"/>
                  </a:cubicBezTo>
                  <a:cubicBezTo>
                    <a:pt x="0" y="714"/>
                    <a:pt x="0" y="1081"/>
                    <a:pt x="101" y="1448"/>
                  </a:cubicBezTo>
                  <a:lnTo>
                    <a:pt x="9974" y="2349"/>
                  </a:lnTo>
                  <a:cubicBezTo>
                    <a:pt x="9974" y="2349"/>
                    <a:pt x="9307" y="581"/>
                    <a:pt x="7539" y="147"/>
                  </a:cubicBezTo>
                  <a:cubicBezTo>
                    <a:pt x="7106" y="41"/>
                    <a:pt x="6439" y="1"/>
                    <a:pt x="5680" y="1"/>
                  </a:cubicBezTo>
                  <a:close/>
                </a:path>
              </a:pathLst>
            </a:custGeom>
            <a:solidFill>
              <a:srgbClr val="E0E0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466;p30">
              <a:extLst>
                <a:ext uri="{FF2B5EF4-FFF2-40B4-BE49-F238E27FC236}">
                  <a16:creationId xmlns:a16="http://schemas.microsoft.com/office/drawing/2014/main" id="{45D01609-731D-1EFC-A516-9B822CEDF3CE}"/>
                </a:ext>
              </a:extLst>
            </p:cNvPr>
            <p:cNvSpPr/>
            <p:nvPr/>
          </p:nvSpPr>
          <p:spPr>
            <a:xfrm flipH="1">
              <a:off x="8084416" y="1684013"/>
              <a:ext cx="20600" cy="31811"/>
            </a:xfrm>
            <a:custGeom>
              <a:avLst/>
              <a:gdLst/>
              <a:ahLst/>
              <a:cxnLst/>
              <a:rect l="l" t="t" r="r" b="b"/>
              <a:pathLst>
                <a:path w="735" h="1135" extrusionOk="0">
                  <a:moveTo>
                    <a:pt x="367" y="0"/>
                  </a:moveTo>
                  <a:cubicBezTo>
                    <a:pt x="167" y="0"/>
                    <a:pt x="0" y="234"/>
                    <a:pt x="0" y="567"/>
                  </a:cubicBezTo>
                  <a:cubicBezTo>
                    <a:pt x="0" y="867"/>
                    <a:pt x="167" y="1101"/>
                    <a:pt x="367" y="1134"/>
                  </a:cubicBezTo>
                  <a:cubicBezTo>
                    <a:pt x="567" y="1134"/>
                    <a:pt x="734" y="867"/>
                    <a:pt x="734" y="567"/>
                  </a:cubicBezTo>
                  <a:cubicBezTo>
                    <a:pt x="734" y="267"/>
                    <a:pt x="567" y="0"/>
                    <a:pt x="367"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467;p30">
              <a:extLst>
                <a:ext uri="{FF2B5EF4-FFF2-40B4-BE49-F238E27FC236}">
                  <a16:creationId xmlns:a16="http://schemas.microsoft.com/office/drawing/2014/main" id="{E8AFA6E5-B4EC-5FE3-9B64-5E284BB1F469}"/>
                </a:ext>
              </a:extLst>
            </p:cNvPr>
            <p:cNvSpPr/>
            <p:nvPr/>
          </p:nvSpPr>
          <p:spPr>
            <a:xfrm flipH="1">
              <a:off x="8076933" y="1679333"/>
              <a:ext cx="20600" cy="8717"/>
            </a:xfrm>
            <a:custGeom>
              <a:avLst/>
              <a:gdLst/>
              <a:ahLst/>
              <a:cxnLst/>
              <a:rect l="l" t="t" r="r" b="b"/>
              <a:pathLst>
                <a:path w="735" h="311" extrusionOk="0">
                  <a:moveTo>
                    <a:pt x="734" y="0"/>
                  </a:moveTo>
                  <a:lnTo>
                    <a:pt x="0" y="167"/>
                  </a:lnTo>
                  <a:cubicBezTo>
                    <a:pt x="96" y="272"/>
                    <a:pt x="192" y="310"/>
                    <a:pt x="281" y="310"/>
                  </a:cubicBezTo>
                  <a:cubicBezTo>
                    <a:pt x="534" y="310"/>
                    <a:pt x="734" y="0"/>
                    <a:pt x="734"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468;p30">
              <a:extLst>
                <a:ext uri="{FF2B5EF4-FFF2-40B4-BE49-F238E27FC236}">
                  <a16:creationId xmlns:a16="http://schemas.microsoft.com/office/drawing/2014/main" id="{7863FC0B-F405-ABA2-49E3-B506C62C21D6}"/>
                </a:ext>
              </a:extLst>
            </p:cNvPr>
            <p:cNvSpPr/>
            <p:nvPr/>
          </p:nvSpPr>
          <p:spPr>
            <a:xfrm flipH="1">
              <a:off x="8072280" y="1719524"/>
              <a:ext cx="30858" cy="62081"/>
            </a:xfrm>
            <a:custGeom>
              <a:avLst/>
              <a:gdLst/>
              <a:ahLst/>
              <a:cxnLst/>
              <a:rect l="l" t="t" r="r" b="b"/>
              <a:pathLst>
                <a:path w="1101" h="2215" extrusionOk="0">
                  <a:moveTo>
                    <a:pt x="0" y="1"/>
                  </a:moveTo>
                  <a:lnTo>
                    <a:pt x="0" y="2169"/>
                  </a:lnTo>
                  <a:cubicBezTo>
                    <a:pt x="124" y="2200"/>
                    <a:pt x="248" y="2215"/>
                    <a:pt x="369" y="2215"/>
                  </a:cubicBezTo>
                  <a:cubicBezTo>
                    <a:pt x="639" y="2215"/>
                    <a:pt x="894" y="2140"/>
                    <a:pt x="1101" y="2002"/>
                  </a:cubicBezTo>
                  <a:cubicBezTo>
                    <a:pt x="667" y="1368"/>
                    <a:pt x="300" y="701"/>
                    <a:pt x="0" y="1"/>
                  </a:cubicBezTo>
                  <a:close/>
                </a:path>
              </a:pathLst>
            </a:custGeom>
            <a:solidFill>
              <a:srgbClr val="A0272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 name="Google Shape;469;p30">
              <a:extLst>
                <a:ext uri="{FF2B5EF4-FFF2-40B4-BE49-F238E27FC236}">
                  <a16:creationId xmlns:a16="http://schemas.microsoft.com/office/drawing/2014/main" id="{DB9620B0-36EF-7B37-3340-3D21994E4D4A}"/>
                </a:ext>
              </a:extLst>
            </p:cNvPr>
            <p:cNvSpPr/>
            <p:nvPr/>
          </p:nvSpPr>
          <p:spPr>
            <a:xfrm flipH="1">
              <a:off x="8087219" y="1625015"/>
              <a:ext cx="47731" cy="27243"/>
            </a:xfrm>
            <a:custGeom>
              <a:avLst/>
              <a:gdLst/>
              <a:ahLst/>
              <a:cxnLst/>
              <a:rect l="l" t="t" r="r" b="b"/>
              <a:pathLst>
                <a:path w="1703" h="972" extrusionOk="0">
                  <a:moveTo>
                    <a:pt x="1423" y="1"/>
                  </a:moveTo>
                  <a:cubicBezTo>
                    <a:pt x="869" y="1"/>
                    <a:pt x="378" y="233"/>
                    <a:pt x="34" y="671"/>
                  </a:cubicBezTo>
                  <a:cubicBezTo>
                    <a:pt x="1" y="738"/>
                    <a:pt x="1" y="871"/>
                    <a:pt x="68" y="938"/>
                  </a:cubicBezTo>
                  <a:cubicBezTo>
                    <a:pt x="101" y="971"/>
                    <a:pt x="168" y="971"/>
                    <a:pt x="201" y="971"/>
                  </a:cubicBezTo>
                  <a:cubicBezTo>
                    <a:pt x="268" y="971"/>
                    <a:pt x="301" y="938"/>
                    <a:pt x="334" y="904"/>
                  </a:cubicBezTo>
                  <a:cubicBezTo>
                    <a:pt x="582" y="564"/>
                    <a:pt x="973" y="367"/>
                    <a:pt x="1401" y="367"/>
                  </a:cubicBezTo>
                  <a:cubicBezTo>
                    <a:pt x="1435" y="367"/>
                    <a:pt x="1468" y="368"/>
                    <a:pt x="1502" y="371"/>
                  </a:cubicBezTo>
                  <a:cubicBezTo>
                    <a:pt x="1602" y="371"/>
                    <a:pt x="1669" y="304"/>
                    <a:pt x="1669" y="204"/>
                  </a:cubicBezTo>
                  <a:cubicBezTo>
                    <a:pt x="1702" y="104"/>
                    <a:pt x="1635" y="4"/>
                    <a:pt x="1535" y="4"/>
                  </a:cubicBezTo>
                  <a:cubicBezTo>
                    <a:pt x="1498" y="2"/>
                    <a:pt x="1460" y="1"/>
                    <a:pt x="1423"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 name="Google Shape;470;p30">
              <a:extLst>
                <a:ext uri="{FF2B5EF4-FFF2-40B4-BE49-F238E27FC236}">
                  <a16:creationId xmlns:a16="http://schemas.microsoft.com/office/drawing/2014/main" id="{CB78022B-20A7-9991-38CA-B811236270EC}"/>
                </a:ext>
              </a:extLst>
            </p:cNvPr>
            <p:cNvSpPr/>
            <p:nvPr/>
          </p:nvSpPr>
          <p:spPr>
            <a:xfrm flipH="1">
              <a:off x="8076933" y="1503236"/>
              <a:ext cx="324446" cy="410575"/>
            </a:xfrm>
            <a:custGeom>
              <a:avLst/>
              <a:gdLst/>
              <a:ahLst/>
              <a:cxnLst/>
              <a:rect l="l" t="t" r="r" b="b"/>
              <a:pathLst>
                <a:path w="11576" h="14649" extrusionOk="0">
                  <a:moveTo>
                    <a:pt x="5230" y="0"/>
                  </a:moveTo>
                  <a:cubicBezTo>
                    <a:pt x="2460" y="0"/>
                    <a:pt x="0" y="2384"/>
                    <a:pt x="267" y="5449"/>
                  </a:cubicBezTo>
                  <a:cubicBezTo>
                    <a:pt x="500" y="9252"/>
                    <a:pt x="534" y="10887"/>
                    <a:pt x="2435" y="12888"/>
                  </a:cubicBezTo>
                  <a:cubicBezTo>
                    <a:pt x="3582" y="14088"/>
                    <a:pt x="5000" y="14648"/>
                    <a:pt x="6347" y="14648"/>
                  </a:cubicBezTo>
                  <a:cubicBezTo>
                    <a:pt x="8370" y="14648"/>
                    <a:pt x="10234" y="13383"/>
                    <a:pt x="10774" y="11120"/>
                  </a:cubicBezTo>
                  <a:cubicBezTo>
                    <a:pt x="11575" y="7751"/>
                    <a:pt x="11041" y="2080"/>
                    <a:pt x="7339" y="479"/>
                  </a:cubicBezTo>
                  <a:cubicBezTo>
                    <a:pt x="6642" y="151"/>
                    <a:pt x="5926" y="0"/>
                    <a:pt x="5230" y="0"/>
                  </a:cubicBezTo>
                  <a:close/>
                </a:path>
              </a:pathLst>
            </a:custGeom>
            <a:solidFill>
              <a:srgbClr val="B55B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 name="Google Shape;471;p30">
              <a:extLst>
                <a:ext uri="{FF2B5EF4-FFF2-40B4-BE49-F238E27FC236}">
                  <a16:creationId xmlns:a16="http://schemas.microsoft.com/office/drawing/2014/main" id="{5A3DBED8-59B8-1814-DE2D-1458862A4138}"/>
                </a:ext>
              </a:extLst>
            </p:cNvPr>
            <p:cNvSpPr/>
            <p:nvPr/>
          </p:nvSpPr>
          <p:spPr>
            <a:xfrm flipH="1">
              <a:off x="8026455" y="1471229"/>
              <a:ext cx="549759" cy="483783"/>
            </a:xfrm>
            <a:custGeom>
              <a:avLst/>
              <a:gdLst/>
              <a:ahLst/>
              <a:cxnLst/>
              <a:rect l="l" t="t" r="r" b="b"/>
              <a:pathLst>
                <a:path w="19615" h="17261" extrusionOk="0">
                  <a:moveTo>
                    <a:pt x="15559" y="1"/>
                  </a:moveTo>
                  <a:cubicBezTo>
                    <a:pt x="15210" y="1"/>
                    <a:pt x="14816" y="108"/>
                    <a:pt x="14377" y="354"/>
                  </a:cubicBezTo>
                  <a:cubicBezTo>
                    <a:pt x="13712" y="720"/>
                    <a:pt x="12783" y="822"/>
                    <a:pt x="11792" y="822"/>
                  </a:cubicBezTo>
                  <a:cubicBezTo>
                    <a:pt x="10529" y="822"/>
                    <a:pt x="9166" y="655"/>
                    <a:pt x="8120" y="655"/>
                  </a:cubicBezTo>
                  <a:cubicBezTo>
                    <a:pt x="6698" y="655"/>
                    <a:pt x="5864" y="964"/>
                    <a:pt x="6672" y="2422"/>
                  </a:cubicBezTo>
                  <a:cubicBezTo>
                    <a:pt x="5171" y="2789"/>
                    <a:pt x="3303" y="5891"/>
                    <a:pt x="3736" y="8093"/>
                  </a:cubicBezTo>
                  <a:cubicBezTo>
                    <a:pt x="4203" y="10394"/>
                    <a:pt x="0" y="13697"/>
                    <a:pt x="3236" y="14797"/>
                  </a:cubicBezTo>
                  <a:cubicBezTo>
                    <a:pt x="6158" y="15799"/>
                    <a:pt x="6600" y="17261"/>
                    <a:pt x="8942" y="17261"/>
                  </a:cubicBezTo>
                  <a:cubicBezTo>
                    <a:pt x="9487" y="17261"/>
                    <a:pt x="10135" y="17182"/>
                    <a:pt x="10941" y="16999"/>
                  </a:cubicBezTo>
                  <a:cubicBezTo>
                    <a:pt x="13210" y="16499"/>
                    <a:pt x="19614" y="17166"/>
                    <a:pt x="16412" y="11995"/>
                  </a:cubicBezTo>
                  <a:cubicBezTo>
                    <a:pt x="13677" y="7559"/>
                    <a:pt x="15111" y="5724"/>
                    <a:pt x="15111" y="5724"/>
                  </a:cubicBezTo>
                  <a:cubicBezTo>
                    <a:pt x="15978" y="5724"/>
                    <a:pt x="16779" y="5357"/>
                    <a:pt x="17346" y="4723"/>
                  </a:cubicBezTo>
                  <a:cubicBezTo>
                    <a:pt x="18145" y="3753"/>
                    <a:pt x="17626" y="1"/>
                    <a:pt x="15559"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 name="Google Shape;472;p30">
              <a:extLst>
                <a:ext uri="{FF2B5EF4-FFF2-40B4-BE49-F238E27FC236}">
                  <a16:creationId xmlns:a16="http://schemas.microsoft.com/office/drawing/2014/main" id="{CE60710E-2F01-55BC-4C7C-1932124E8A5A}"/>
                </a:ext>
              </a:extLst>
            </p:cNvPr>
            <p:cNvSpPr/>
            <p:nvPr/>
          </p:nvSpPr>
          <p:spPr>
            <a:xfrm flipH="1">
              <a:off x="8122757" y="1673503"/>
              <a:ext cx="66257" cy="94649"/>
            </a:xfrm>
            <a:custGeom>
              <a:avLst/>
              <a:gdLst/>
              <a:ahLst/>
              <a:cxnLst/>
              <a:rect l="l" t="t" r="r" b="b"/>
              <a:pathLst>
                <a:path w="2364" h="3377" extrusionOk="0">
                  <a:moveTo>
                    <a:pt x="1233" y="0"/>
                  </a:moveTo>
                  <a:cubicBezTo>
                    <a:pt x="502" y="0"/>
                    <a:pt x="1" y="790"/>
                    <a:pt x="95" y="1609"/>
                  </a:cubicBezTo>
                  <a:cubicBezTo>
                    <a:pt x="195" y="2343"/>
                    <a:pt x="629" y="2977"/>
                    <a:pt x="1296" y="3311"/>
                  </a:cubicBezTo>
                  <a:cubicBezTo>
                    <a:pt x="1420" y="3356"/>
                    <a:pt x="1528" y="3377"/>
                    <a:pt x="1624" y="3377"/>
                  </a:cubicBezTo>
                  <a:cubicBezTo>
                    <a:pt x="2094" y="3377"/>
                    <a:pt x="2241" y="2859"/>
                    <a:pt x="2297" y="2110"/>
                  </a:cubicBezTo>
                  <a:cubicBezTo>
                    <a:pt x="2364" y="1309"/>
                    <a:pt x="2130" y="108"/>
                    <a:pt x="1363" y="8"/>
                  </a:cubicBezTo>
                  <a:cubicBezTo>
                    <a:pt x="1319" y="3"/>
                    <a:pt x="1275" y="0"/>
                    <a:pt x="1233" y="0"/>
                  </a:cubicBezTo>
                  <a:close/>
                </a:path>
              </a:pathLst>
            </a:custGeom>
            <a:solidFill>
              <a:srgbClr val="B55B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 name="Google Shape;473;p30">
              <a:extLst>
                <a:ext uri="{FF2B5EF4-FFF2-40B4-BE49-F238E27FC236}">
                  <a16:creationId xmlns:a16="http://schemas.microsoft.com/office/drawing/2014/main" id="{2E47E843-0F43-2D2A-7326-7337BC55FC8F}"/>
                </a:ext>
              </a:extLst>
            </p:cNvPr>
            <p:cNvSpPr/>
            <p:nvPr/>
          </p:nvSpPr>
          <p:spPr>
            <a:xfrm flipH="1">
              <a:off x="8046102" y="2679690"/>
              <a:ext cx="343141" cy="2218601"/>
            </a:xfrm>
            <a:custGeom>
              <a:avLst/>
              <a:gdLst/>
              <a:ahLst/>
              <a:cxnLst/>
              <a:rect l="l" t="t" r="r" b="b"/>
              <a:pathLst>
                <a:path w="12243" h="79158" extrusionOk="0">
                  <a:moveTo>
                    <a:pt x="1" y="1"/>
                  </a:moveTo>
                  <a:cubicBezTo>
                    <a:pt x="1" y="1"/>
                    <a:pt x="2669" y="27420"/>
                    <a:pt x="5271" y="40396"/>
                  </a:cubicBezTo>
                  <a:cubicBezTo>
                    <a:pt x="2603" y="55240"/>
                    <a:pt x="2169" y="78624"/>
                    <a:pt x="2169" y="78624"/>
                  </a:cubicBezTo>
                  <a:lnTo>
                    <a:pt x="4237" y="79157"/>
                  </a:lnTo>
                  <a:cubicBezTo>
                    <a:pt x="4237" y="79157"/>
                    <a:pt x="8407" y="62212"/>
                    <a:pt x="12109" y="41997"/>
                  </a:cubicBezTo>
                  <a:cubicBezTo>
                    <a:pt x="12209" y="41497"/>
                    <a:pt x="12243" y="41030"/>
                    <a:pt x="12243" y="40530"/>
                  </a:cubicBezTo>
                  <a:cubicBezTo>
                    <a:pt x="12009" y="28454"/>
                    <a:pt x="9841" y="1"/>
                    <a:pt x="9841" y="1"/>
                  </a:cubicBezTo>
                  <a:close/>
                </a:path>
              </a:pathLst>
            </a:custGeom>
            <a:solidFill>
              <a:srgbClr val="B55B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 name="Google Shape;474;p30">
              <a:extLst>
                <a:ext uri="{FF2B5EF4-FFF2-40B4-BE49-F238E27FC236}">
                  <a16:creationId xmlns:a16="http://schemas.microsoft.com/office/drawing/2014/main" id="{46ED7BB5-55A6-2258-1D02-59E496B515D5}"/>
                </a:ext>
              </a:extLst>
            </p:cNvPr>
            <p:cNvSpPr/>
            <p:nvPr/>
          </p:nvSpPr>
          <p:spPr>
            <a:xfrm flipH="1">
              <a:off x="8150813" y="2679690"/>
              <a:ext cx="496451" cy="2263473"/>
            </a:xfrm>
            <a:custGeom>
              <a:avLst/>
              <a:gdLst/>
              <a:ahLst/>
              <a:cxnLst/>
              <a:rect l="l" t="t" r="r" b="b"/>
              <a:pathLst>
                <a:path w="17713" h="80759" extrusionOk="0">
                  <a:moveTo>
                    <a:pt x="5871" y="1"/>
                  </a:moveTo>
                  <a:cubicBezTo>
                    <a:pt x="5871" y="1"/>
                    <a:pt x="3169" y="27420"/>
                    <a:pt x="3403" y="40396"/>
                  </a:cubicBezTo>
                  <a:cubicBezTo>
                    <a:pt x="0" y="53606"/>
                    <a:pt x="1668" y="80758"/>
                    <a:pt x="1668" y="80758"/>
                  </a:cubicBezTo>
                  <a:lnTo>
                    <a:pt x="3770" y="80758"/>
                  </a:lnTo>
                  <a:cubicBezTo>
                    <a:pt x="3770" y="80758"/>
                    <a:pt x="7839" y="51704"/>
                    <a:pt x="9941" y="39562"/>
                  </a:cubicBezTo>
                  <a:cubicBezTo>
                    <a:pt x="11942" y="27921"/>
                    <a:pt x="17713" y="1"/>
                    <a:pt x="17713" y="1"/>
                  </a:cubicBezTo>
                  <a:close/>
                </a:path>
              </a:pathLst>
            </a:custGeom>
            <a:solidFill>
              <a:srgbClr val="B55B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 name="Google Shape;475;p30">
              <a:extLst>
                <a:ext uri="{FF2B5EF4-FFF2-40B4-BE49-F238E27FC236}">
                  <a16:creationId xmlns:a16="http://schemas.microsoft.com/office/drawing/2014/main" id="{A612DB42-1A88-410C-D962-3693B645B80F}"/>
                </a:ext>
              </a:extLst>
            </p:cNvPr>
            <p:cNvSpPr/>
            <p:nvPr/>
          </p:nvSpPr>
          <p:spPr>
            <a:xfrm flipH="1">
              <a:off x="7993747" y="2002350"/>
              <a:ext cx="661953" cy="1592663"/>
            </a:xfrm>
            <a:custGeom>
              <a:avLst/>
              <a:gdLst/>
              <a:ahLst/>
              <a:cxnLst/>
              <a:rect l="l" t="t" r="r" b="b"/>
              <a:pathLst>
                <a:path w="23618" h="56825" extrusionOk="0">
                  <a:moveTo>
                    <a:pt x="12647" y="0"/>
                  </a:moveTo>
                  <a:cubicBezTo>
                    <a:pt x="11476" y="0"/>
                    <a:pt x="10308" y="50"/>
                    <a:pt x="9141" y="150"/>
                  </a:cubicBezTo>
                  <a:cubicBezTo>
                    <a:pt x="8240" y="184"/>
                    <a:pt x="7340" y="250"/>
                    <a:pt x="6572" y="351"/>
                  </a:cubicBezTo>
                  <a:cubicBezTo>
                    <a:pt x="4571" y="584"/>
                    <a:pt x="3270" y="2485"/>
                    <a:pt x="3770" y="4420"/>
                  </a:cubicBezTo>
                  <a:cubicBezTo>
                    <a:pt x="6272" y="14661"/>
                    <a:pt x="6139" y="18464"/>
                    <a:pt x="6072" y="24168"/>
                  </a:cubicBezTo>
                  <a:cubicBezTo>
                    <a:pt x="1" y="33508"/>
                    <a:pt x="2236" y="42814"/>
                    <a:pt x="1435" y="56024"/>
                  </a:cubicBezTo>
                  <a:cubicBezTo>
                    <a:pt x="3884" y="56480"/>
                    <a:pt x="6482" y="56585"/>
                    <a:pt x="9132" y="56585"/>
                  </a:cubicBezTo>
                  <a:cubicBezTo>
                    <a:pt x="11368" y="56585"/>
                    <a:pt x="13641" y="56511"/>
                    <a:pt x="15893" y="56511"/>
                  </a:cubicBezTo>
                  <a:cubicBezTo>
                    <a:pt x="17991" y="56511"/>
                    <a:pt x="20070" y="56575"/>
                    <a:pt x="22083" y="56824"/>
                  </a:cubicBezTo>
                  <a:cubicBezTo>
                    <a:pt x="23618" y="41046"/>
                    <a:pt x="21683" y="27003"/>
                    <a:pt x="20916" y="24168"/>
                  </a:cubicBezTo>
                  <a:cubicBezTo>
                    <a:pt x="22484" y="12192"/>
                    <a:pt x="23318" y="6455"/>
                    <a:pt x="23184" y="3653"/>
                  </a:cubicBezTo>
                  <a:cubicBezTo>
                    <a:pt x="23084" y="2185"/>
                    <a:pt x="22017" y="984"/>
                    <a:pt x="20549" y="717"/>
                  </a:cubicBezTo>
                  <a:cubicBezTo>
                    <a:pt x="19315" y="517"/>
                    <a:pt x="17680" y="284"/>
                    <a:pt x="16179" y="150"/>
                  </a:cubicBezTo>
                  <a:cubicBezTo>
                    <a:pt x="14995" y="50"/>
                    <a:pt x="13819" y="0"/>
                    <a:pt x="12647"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 name="Google Shape;476;p30">
              <a:extLst>
                <a:ext uri="{FF2B5EF4-FFF2-40B4-BE49-F238E27FC236}">
                  <a16:creationId xmlns:a16="http://schemas.microsoft.com/office/drawing/2014/main" id="{B3C88BE3-6BC4-C126-F201-44A0E9DE28A3}"/>
                </a:ext>
              </a:extLst>
            </p:cNvPr>
            <p:cNvSpPr/>
            <p:nvPr/>
          </p:nvSpPr>
          <p:spPr>
            <a:xfrm flipH="1">
              <a:off x="8458387" y="2014962"/>
              <a:ext cx="146808" cy="284255"/>
            </a:xfrm>
            <a:custGeom>
              <a:avLst/>
              <a:gdLst/>
              <a:ahLst/>
              <a:cxnLst/>
              <a:rect l="l" t="t" r="r" b="b"/>
              <a:pathLst>
                <a:path w="5238" h="10142" extrusionOk="0">
                  <a:moveTo>
                    <a:pt x="4237" y="1"/>
                  </a:moveTo>
                  <a:lnTo>
                    <a:pt x="4237" y="1"/>
                  </a:lnTo>
                  <a:cubicBezTo>
                    <a:pt x="1568" y="868"/>
                    <a:pt x="0" y="3436"/>
                    <a:pt x="0" y="3436"/>
                  </a:cubicBezTo>
                  <a:cubicBezTo>
                    <a:pt x="0" y="3436"/>
                    <a:pt x="3403" y="8674"/>
                    <a:pt x="3803" y="10141"/>
                  </a:cubicBezTo>
                  <a:cubicBezTo>
                    <a:pt x="5237" y="6305"/>
                    <a:pt x="4237" y="1"/>
                    <a:pt x="4237"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 name="Google Shape;477;p30">
              <a:extLst>
                <a:ext uri="{FF2B5EF4-FFF2-40B4-BE49-F238E27FC236}">
                  <a16:creationId xmlns:a16="http://schemas.microsoft.com/office/drawing/2014/main" id="{813FF072-9669-D5E2-E274-3A2CD6953627}"/>
                </a:ext>
              </a:extLst>
            </p:cNvPr>
            <p:cNvSpPr/>
            <p:nvPr/>
          </p:nvSpPr>
          <p:spPr>
            <a:xfrm flipH="1">
              <a:off x="8026455" y="3475307"/>
              <a:ext cx="587148" cy="45012"/>
            </a:xfrm>
            <a:custGeom>
              <a:avLst/>
              <a:gdLst/>
              <a:ahLst/>
              <a:cxnLst/>
              <a:rect l="l" t="t" r="r" b="b"/>
              <a:pathLst>
                <a:path w="20949" h="1606" extrusionOk="0">
                  <a:moveTo>
                    <a:pt x="0" y="1"/>
                  </a:moveTo>
                  <a:lnTo>
                    <a:pt x="0" y="334"/>
                  </a:lnTo>
                  <a:cubicBezTo>
                    <a:pt x="334" y="368"/>
                    <a:pt x="667" y="501"/>
                    <a:pt x="901" y="801"/>
                  </a:cubicBezTo>
                  <a:cubicBezTo>
                    <a:pt x="1168" y="1135"/>
                    <a:pt x="1568" y="1335"/>
                    <a:pt x="2001" y="1335"/>
                  </a:cubicBezTo>
                  <a:cubicBezTo>
                    <a:pt x="2468" y="1335"/>
                    <a:pt x="2869" y="1168"/>
                    <a:pt x="3202" y="835"/>
                  </a:cubicBezTo>
                  <a:cubicBezTo>
                    <a:pt x="3469" y="568"/>
                    <a:pt x="3803" y="434"/>
                    <a:pt x="4170" y="401"/>
                  </a:cubicBezTo>
                  <a:cubicBezTo>
                    <a:pt x="4537" y="434"/>
                    <a:pt x="4870" y="601"/>
                    <a:pt x="5070" y="868"/>
                  </a:cubicBezTo>
                  <a:cubicBezTo>
                    <a:pt x="5337" y="1201"/>
                    <a:pt x="5771" y="1402"/>
                    <a:pt x="6204" y="1402"/>
                  </a:cubicBezTo>
                  <a:lnTo>
                    <a:pt x="6238" y="1402"/>
                  </a:lnTo>
                  <a:cubicBezTo>
                    <a:pt x="6671" y="1402"/>
                    <a:pt x="7072" y="1201"/>
                    <a:pt x="7405" y="901"/>
                  </a:cubicBezTo>
                  <a:cubicBezTo>
                    <a:pt x="7639" y="634"/>
                    <a:pt x="8006" y="501"/>
                    <a:pt x="8373" y="501"/>
                  </a:cubicBezTo>
                  <a:cubicBezTo>
                    <a:pt x="8706" y="501"/>
                    <a:pt x="9040" y="668"/>
                    <a:pt x="9240" y="935"/>
                  </a:cubicBezTo>
                  <a:cubicBezTo>
                    <a:pt x="9540" y="1268"/>
                    <a:pt x="9940" y="1468"/>
                    <a:pt x="10374" y="1468"/>
                  </a:cubicBezTo>
                  <a:cubicBezTo>
                    <a:pt x="10841" y="1468"/>
                    <a:pt x="11275" y="1302"/>
                    <a:pt x="11575" y="968"/>
                  </a:cubicBezTo>
                  <a:cubicBezTo>
                    <a:pt x="11842" y="701"/>
                    <a:pt x="12175" y="568"/>
                    <a:pt x="12542" y="568"/>
                  </a:cubicBezTo>
                  <a:cubicBezTo>
                    <a:pt x="12909" y="568"/>
                    <a:pt x="13209" y="734"/>
                    <a:pt x="13443" y="1001"/>
                  </a:cubicBezTo>
                  <a:cubicBezTo>
                    <a:pt x="13710" y="1335"/>
                    <a:pt x="14110" y="1535"/>
                    <a:pt x="14577" y="1535"/>
                  </a:cubicBezTo>
                  <a:cubicBezTo>
                    <a:pt x="15011" y="1535"/>
                    <a:pt x="15444" y="1368"/>
                    <a:pt x="15745" y="1035"/>
                  </a:cubicBezTo>
                  <a:cubicBezTo>
                    <a:pt x="16011" y="801"/>
                    <a:pt x="16378" y="634"/>
                    <a:pt x="16745" y="634"/>
                  </a:cubicBezTo>
                  <a:cubicBezTo>
                    <a:pt x="17079" y="634"/>
                    <a:pt x="17412" y="801"/>
                    <a:pt x="17613" y="1068"/>
                  </a:cubicBezTo>
                  <a:cubicBezTo>
                    <a:pt x="17913" y="1402"/>
                    <a:pt x="18313" y="1602"/>
                    <a:pt x="18747" y="1602"/>
                  </a:cubicBezTo>
                  <a:lnTo>
                    <a:pt x="18780" y="1602"/>
                  </a:lnTo>
                  <a:cubicBezTo>
                    <a:pt x="18816" y="1605"/>
                    <a:pt x="18853" y="1606"/>
                    <a:pt x="18889" y="1606"/>
                  </a:cubicBezTo>
                  <a:cubicBezTo>
                    <a:pt x="19286" y="1606"/>
                    <a:pt x="19675" y="1440"/>
                    <a:pt x="19981" y="1135"/>
                  </a:cubicBezTo>
                  <a:cubicBezTo>
                    <a:pt x="20248" y="868"/>
                    <a:pt x="20581" y="734"/>
                    <a:pt x="20948" y="734"/>
                  </a:cubicBezTo>
                  <a:lnTo>
                    <a:pt x="20948" y="401"/>
                  </a:lnTo>
                  <a:cubicBezTo>
                    <a:pt x="20515" y="401"/>
                    <a:pt x="20081" y="568"/>
                    <a:pt x="19747" y="901"/>
                  </a:cubicBezTo>
                  <a:cubicBezTo>
                    <a:pt x="19514" y="1168"/>
                    <a:pt x="19147" y="1302"/>
                    <a:pt x="18780" y="1302"/>
                  </a:cubicBezTo>
                  <a:cubicBezTo>
                    <a:pt x="18413" y="1302"/>
                    <a:pt x="18113" y="1135"/>
                    <a:pt x="17879" y="868"/>
                  </a:cubicBezTo>
                  <a:cubicBezTo>
                    <a:pt x="17613" y="534"/>
                    <a:pt x="17212" y="334"/>
                    <a:pt x="16779" y="334"/>
                  </a:cubicBezTo>
                  <a:cubicBezTo>
                    <a:pt x="16745" y="332"/>
                    <a:pt x="16711" y="331"/>
                    <a:pt x="16677" y="331"/>
                  </a:cubicBezTo>
                  <a:cubicBezTo>
                    <a:pt x="16249" y="331"/>
                    <a:pt x="15856" y="523"/>
                    <a:pt x="15578" y="801"/>
                  </a:cubicBezTo>
                  <a:cubicBezTo>
                    <a:pt x="15311" y="1068"/>
                    <a:pt x="14944" y="1235"/>
                    <a:pt x="14577" y="1235"/>
                  </a:cubicBezTo>
                  <a:cubicBezTo>
                    <a:pt x="14244" y="1235"/>
                    <a:pt x="13910" y="1068"/>
                    <a:pt x="13710" y="801"/>
                  </a:cubicBezTo>
                  <a:cubicBezTo>
                    <a:pt x="13410" y="468"/>
                    <a:pt x="13009" y="267"/>
                    <a:pt x="12576" y="267"/>
                  </a:cubicBezTo>
                  <a:lnTo>
                    <a:pt x="12509" y="267"/>
                  </a:lnTo>
                  <a:cubicBezTo>
                    <a:pt x="12075" y="267"/>
                    <a:pt x="11675" y="434"/>
                    <a:pt x="11341" y="734"/>
                  </a:cubicBezTo>
                  <a:cubicBezTo>
                    <a:pt x="11108" y="1001"/>
                    <a:pt x="10741" y="1168"/>
                    <a:pt x="10374" y="1168"/>
                  </a:cubicBezTo>
                  <a:cubicBezTo>
                    <a:pt x="10041" y="1168"/>
                    <a:pt x="9707" y="1001"/>
                    <a:pt x="9473" y="734"/>
                  </a:cubicBezTo>
                  <a:cubicBezTo>
                    <a:pt x="9207" y="368"/>
                    <a:pt x="8806" y="167"/>
                    <a:pt x="8373" y="167"/>
                  </a:cubicBezTo>
                  <a:cubicBezTo>
                    <a:pt x="7906" y="167"/>
                    <a:pt x="7472" y="334"/>
                    <a:pt x="7172" y="668"/>
                  </a:cubicBezTo>
                  <a:cubicBezTo>
                    <a:pt x="6905" y="935"/>
                    <a:pt x="6571" y="1101"/>
                    <a:pt x="6204" y="1101"/>
                  </a:cubicBezTo>
                  <a:cubicBezTo>
                    <a:pt x="5838" y="1068"/>
                    <a:pt x="5504" y="935"/>
                    <a:pt x="5304" y="634"/>
                  </a:cubicBezTo>
                  <a:cubicBezTo>
                    <a:pt x="5037" y="301"/>
                    <a:pt x="4603" y="101"/>
                    <a:pt x="4170" y="101"/>
                  </a:cubicBezTo>
                  <a:cubicBezTo>
                    <a:pt x="3703" y="101"/>
                    <a:pt x="3302" y="301"/>
                    <a:pt x="3002" y="601"/>
                  </a:cubicBezTo>
                  <a:cubicBezTo>
                    <a:pt x="2735" y="868"/>
                    <a:pt x="2368" y="1001"/>
                    <a:pt x="2001" y="1035"/>
                  </a:cubicBezTo>
                  <a:cubicBezTo>
                    <a:pt x="1668" y="1001"/>
                    <a:pt x="1334" y="835"/>
                    <a:pt x="1134" y="534"/>
                  </a:cubicBezTo>
                  <a:cubicBezTo>
                    <a:pt x="834" y="201"/>
                    <a:pt x="434" y="1"/>
                    <a:pt x="0"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 name="Google Shape;478;p30">
              <a:extLst>
                <a:ext uri="{FF2B5EF4-FFF2-40B4-BE49-F238E27FC236}">
                  <a16:creationId xmlns:a16="http://schemas.microsoft.com/office/drawing/2014/main" id="{E4C47695-7AF3-15AD-8F0D-719AE79E1C53}"/>
                </a:ext>
              </a:extLst>
            </p:cNvPr>
            <p:cNvSpPr/>
            <p:nvPr/>
          </p:nvSpPr>
          <p:spPr>
            <a:xfrm flipH="1">
              <a:off x="8308804" y="3006911"/>
              <a:ext cx="146808" cy="390815"/>
            </a:xfrm>
            <a:custGeom>
              <a:avLst/>
              <a:gdLst/>
              <a:ahLst/>
              <a:cxnLst/>
              <a:rect l="l" t="t" r="r" b="b"/>
              <a:pathLst>
                <a:path w="5238" h="13944" extrusionOk="0">
                  <a:moveTo>
                    <a:pt x="0" y="1"/>
                  </a:moveTo>
                  <a:lnTo>
                    <a:pt x="5237" y="13944"/>
                  </a:lnTo>
                  <a:lnTo>
                    <a:pt x="3870" y="2236"/>
                  </a:lnTo>
                  <a:lnTo>
                    <a:pt x="0" y="1"/>
                  </a:lnTo>
                  <a:close/>
                </a:path>
              </a:pathLst>
            </a:custGeom>
            <a:solidFill>
              <a:srgbClr val="1C242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 name="Google Shape;479;p30">
              <a:extLst>
                <a:ext uri="{FF2B5EF4-FFF2-40B4-BE49-F238E27FC236}">
                  <a16:creationId xmlns:a16="http://schemas.microsoft.com/office/drawing/2014/main" id="{4E960A24-5FC7-D598-B265-06A69847C9B8}"/>
                </a:ext>
              </a:extLst>
            </p:cNvPr>
            <p:cNvSpPr/>
            <p:nvPr/>
          </p:nvSpPr>
          <p:spPr>
            <a:xfrm flipH="1">
              <a:off x="8045149" y="2593674"/>
              <a:ext cx="476832" cy="159897"/>
            </a:xfrm>
            <a:custGeom>
              <a:avLst/>
              <a:gdLst/>
              <a:ahLst/>
              <a:cxnLst/>
              <a:rect l="l" t="t" r="r" b="b"/>
              <a:pathLst>
                <a:path w="17013" h="5705" extrusionOk="0">
                  <a:moveTo>
                    <a:pt x="1168" y="1"/>
                  </a:moveTo>
                  <a:cubicBezTo>
                    <a:pt x="934" y="1"/>
                    <a:pt x="767" y="301"/>
                    <a:pt x="734" y="735"/>
                  </a:cubicBezTo>
                  <a:lnTo>
                    <a:pt x="33" y="3303"/>
                  </a:lnTo>
                  <a:cubicBezTo>
                    <a:pt x="0" y="3803"/>
                    <a:pt x="234" y="4304"/>
                    <a:pt x="500" y="4337"/>
                  </a:cubicBezTo>
                  <a:lnTo>
                    <a:pt x="16512" y="5705"/>
                  </a:lnTo>
                  <a:cubicBezTo>
                    <a:pt x="16745" y="5705"/>
                    <a:pt x="16912" y="5405"/>
                    <a:pt x="16945" y="4971"/>
                  </a:cubicBezTo>
                  <a:lnTo>
                    <a:pt x="17012" y="2302"/>
                  </a:lnTo>
                  <a:cubicBezTo>
                    <a:pt x="17012" y="1769"/>
                    <a:pt x="16779" y="1268"/>
                    <a:pt x="16512" y="1235"/>
                  </a:cubicBezTo>
                  <a:lnTo>
                    <a:pt x="1168" y="1"/>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 name="Google Shape;480;p30">
              <a:extLst>
                <a:ext uri="{FF2B5EF4-FFF2-40B4-BE49-F238E27FC236}">
                  <a16:creationId xmlns:a16="http://schemas.microsoft.com/office/drawing/2014/main" id="{61E2648E-C2EE-E9F1-7686-9B8F621C8199}"/>
                </a:ext>
              </a:extLst>
            </p:cNvPr>
            <p:cNvSpPr/>
            <p:nvPr/>
          </p:nvSpPr>
          <p:spPr>
            <a:xfrm flipH="1">
              <a:off x="7714845" y="2044279"/>
              <a:ext cx="397542" cy="798447"/>
            </a:xfrm>
            <a:custGeom>
              <a:avLst/>
              <a:gdLst/>
              <a:ahLst/>
              <a:cxnLst/>
              <a:rect l="l" t="t" r="r" b="b"/>
              <a:pathLst>
                <a:path w="14184" h="28488" extrusionOk="0">
                  <a:moveTo>
                    <a:pt x="2117" y="0"/>
                  </a:moveTo>
                  <a:cubicBezTo>
                    <a:pt x="1062" y="0"/>
                    <a:pt x="1" y="765"/>
                    <a:pt x="163" y="2157"/>
                  </a:cubicBezTo>
                  <a:cubicBezTo>
                    <a:pt x="263" y="3391"/>
                    <a:pt x="397" y="4592"/>
                    <a:pt x="564" y="5760"/>
                  </a:cubicBezTo>
                  <a:cubicBezTo>
                    <a:pt x="730" y="6960"/>
                    <a:pt x="930" y="8161"/>
                    <a:pt x="1131" y="9362"/>
                  </a:cubicBezTo>
                  <a:cubicBezTo>
                    <a:pt x="1498" y="11730"/>
                    <a:pt x="1965" y="14132"/>
                    <a:pt x="2532" y="16534"/>
                  </a:cubicBezTo>
                  <a:lnTo>
                    <a:pt x="2532" y="16634"/>
                  </a:lnTo>
                  <a:lnTo>
                    <a:pt x="2532" y="16667"/>
                  </a:lnTo>
                  <a:cubicBezTo>
                    <a:pt x="2765" y="17334"/>
                    <a:pt x="3099" y="18002"/>
                    <a:pt x="3499" y="18635"/>
                  </a:cubicBezTo>
                  <a:cubicBezTo>
                    <a:pt x="3833" y="19202"/>
                    <a:pt x="4199" y="19736"/>
                    <a:pt x="4600" y="20270"/>
                  </a:cubicBezTo>
                  <a:cubicBezTo>
                    <a:pt x="5334" y="21271"/>
                    <a:pt x="6134" y="22238"/>
                    <a:pt x="6968" y="23139"/>
                  </a:cubicBezTo>
                  <a:cubicBezTo>
                    <a:pt x="7802" y="24039"/>
                    <a:pt x="8636" y="24940"/>
                    <a:pt x="9537" y="25774"/>
                  </a:cubicBezTo>
                  <a:cubicBezTo>
                    <a:pt x="10404" y="26608"/>
                    <a:pt x="11305" y="27442"/>
                    <a:pt x="12239" y="28242"/>
                  </a:cubicBezTo>
                  <a:cubicBezTo>
                    <a:pt x="12440" y="28414"/>
                    <a:pt x="12657" y="28487"/>
                    <a:pt x="12864" y="28487"/>
                  </a:cubicBezTo>
                  <a:cubicBezTo>
                    <a:pt x="13581" y="28487"/>
                    <a:pt x="14183" y="27607"/>
                    <a:pt x="13640" y="26908"/>
                  </a:cubicBezTo>
                  <a:cubicBezTo>
                    <a:pt x="12906" y="25974"/>
                    <a:pt x="12138" y="25040"/>
                    <a:pt x="11405" y="24106"/>
                  </a:cubicBezTo>
                  <a:cubicBezTo>
                    <a:pt x="10671" y="23172"/>
                    <a:pt x="9937" y="22238"/>
                    <a:pt x="9236" y="21271"/>
                  </a:cubicBezTo>
                  <a:cubicBezTo>
                    <a:pt x="8569" y="20337"/>
                    <a:pt x="7902" y="19369"/>
                    <a:pt x="7268" y="18402"/>
                  </a:cubicBezTo>
                  <a:cubicBezTo>
                    <a:pt x="6968" y="17935"/>
                    <a:pt x="6701" y="17468"/>
                    <a:pt x="6434" y="16968"/>
                  </a:cubicBezTo>
                  <a:cubicBezTo>
                    <a:pt x="6246" y="16592"/>
                    <a:pt x="6088" y="16187"/>
                    <a:pt x="5959" y="15752"/>
                  </a:cubicBezTo>
                  <a:lnTo>
                    <a:pt x="5959" y="15752"/>
                  </a:lnTo>
                  <a:cubicBezTo>
                    <a:pt x="5762" y="14633"/>
                    <a:pt x="5565" y="13482"/>
                    <a:pt x="5400" y="12331"/>
                  </a:cubicBezTo>
                  <a:lnTo>
                    <a:pt x="4900" y="8795"/>
                  </a:lnTo>
                  <a:lnTo>
                    <a:pt x="3999" y="1723"/>
                  </a:lnTo>
                  <a:lnTo>
                    <a:pt x="4033" y="1723"/>
                  </a:lnTo>
                  <a:cubicBezTo>
                    <a:pt x="3895" y="547"/>
                    <a:pt x="3009" y="0"/>
                    <a:pt x="2117" y="0"/>
                  </a:cubicBezTo>
                  <a:close/>
                </a:path>
              </a:pathLst>
            </a:custGeom>
            <a:solidFill>
              <a:srgbClr val="B55B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 name="Google Shape;481;p30">
              <a:extLst>
                <a:ext uri="{FF2B5EF4-FFF2-40B4-BE49-F238E27FC236}">
                  <a16:creationId xmlns:a16="http://schemas.microsoft.com/office/drawing/2014/main" id="{B9D4B008-8ACC-B5E7-E9CF-A5F518DD1248}"/>
                </a:ext>
              </a:extLst>
            </p:cNvPr>
            <p:cNvSpPr/>
            <p:nvPr/>
          </p:nvSpPr>
          <p:spPr>
            <a:xfrm flipH="1">
              <a:off x="7976902" y="2022445"/>
              <a:ext cx="187952" cy="276772"/>
            </a:xfrm>
            <a:custGeom>
              <a:avLst/>
              <a:gdLst/>
              <a:ahLst/>
              <a:cxnLst/>
              <a:rect l="l" t="t" r="r" b="b"/>
              <a:pathLst>
                <a:path w="6706" h="9875" extrusionOk="0">
                  <a:moveTo>
                    <a:pt x="2969" y="0"/>
                  </a:moveTo>
                  <a:cubicBezTo>
                    <a:pt x="2969" y="0"/>
                    <a:pt x="0" y="2836"/>
                    <a:pt x="2169" y="9874"/>
                  </a:cubicBezTo>
                  <a:cubicBezTo>
                    <a:pt x="3003" y="7339"/>
                    <a:pt x="6705" y="2869"/>
                    <a:pt x="6705" y="2869"/>
                  </a:cubicBezTo>
                  <a:cubicBezTo>
                    <a:pt x="6705" y="2869"/>
                    <a:pt x="6105" y="367"/>
                    <a:pt x="2969"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 name="Google Shape;482;p30">
              <a:extLst>
                <a:ext uri="{FF2B5EF4-FFF2-40B4-BE49-F238E27FC236}">
                  <a16:creationId xmlns:a16="http://schemas.microsoft.com/office/drawing/2014/main" id="{532C222E-B29F-32BF-C1D1-263A318D9131}"/>
                </a:ext>
              </a:extLst>
            </p:cNvPr>
            <p:cNvSpPr/>
            <p:nvPr/>
          </p:nvSpPr>
          <p:spPr>
            <a:xfrm flipH="1">
              <a:off x="6851262" y="2393614"/>
              <a:ext cx="953664" cy="529187"/>
            </a:xfrm>
            <a:custGeom>
              <a:avLst/>
              <a:gdLst/>
              <a:ahLst/>
              <a:cxnLst/>
              <a:rect l="l" t="t" r="r" b="b"/>
              <a:pathLst>
                <a:path w="34026" h="18881" extrusionOk="0">
                  <a:moveTo>
                    <a:pt x="33792" y="0"/>
                  </a:moveTo>
                  <a:lnTo>
                    <a:pt x="1" y="18047"/>
                  </a:lnTo>
                  <a:lnTo>
                    <a:pt x="435" y="18880"/>
                  </a:lnTo>
                  <a:lnTo>
                    <a:pt x="34025" y="401"/>
                  </a:lnTo>
                  <a:lnTo>
                    <a:pt x="33792" y="0"/>
                  </a:ln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 name="Google Shape;483;p30">
              <a:extLst>
                <a:ext uri="{FF2B5EF4-FFF2-40B4-BE49-F238E27FC236}">
                  <a16:creationId xmlns:a16="http://schemas.microsoft.com/office/drawing/2014/main" id="{6647B739-B98E-957D-6CB2-5FFBD55276E8}"/>
                </a:ext>
              </a:extLst>
            </p:cNvPr>
            <p:cNvSpPr/>
            <p:nvPr/>
          </p:nvSpPr>
          <p:spPr>
            <a:xfrm flipH="1">
              <a:off x="7650634" y="2777871"/>
              <a:ext cx="150536" cy="88847"/>
            </a:xfrm>
            <a:custGeom>
              <a:avLst/>
              <a:gdLst/>
              <a:ahLst/>
              <a:cxnLst/>
              <a:rect l="l" t="t" r="r" b="b"/>
              <a:pathLst>
                <a:path w="5371" h="3170" extrusionOk="0">
                  <a:moveTo>
                    <a:pt x="1602" y="0"/>
                  </a:moveTo>
                  <a:lnTo>
                    <a:pt x="0" y="734"/>
                  </a:lnTo>
                  <a:cubicBezTo>
                    <a:pt x="167" y="2302"/>
                    <a:pt x="2435" y="3169"/>
                    <a:pt x="2435" y="3169"/>
                  </a:cubicBezTo>
                  <a:lnTo>
                    <a:pt x="5371" y="601"/>
                  </a:lnTo>
                  <a:lnTo>
                    <a:pt x="1602" y="0"/>
                  </a:lnTo>
                  <a:close/>
                </a:path>
              </a:pathLst>
            </a:custGeom>
            <a:solidFill>
              <a:srgbClr val="B55B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 name="Google Shape;484;p30">
              <a:extLst>
                <a:ext uri="{FF2B5EF4-FFF2-40B4-BE49-F238E27FC236}">
                  <a16:creationId xmlns:a16="http://schemas.microsoft.com/office/drawing/2014/main" id="{800753EA-2926-D748-4C75-A8027642D92E}"/>
                </a:ext>
              </a:extLst>
            </p:cNvPr>
            <p:cNvSpPr/>
            <p:nvPr/>
          </p:nvSpPr>
          <p:spPr>
            <a:xfrm flipH="1">
              <a:off x="7717452" y="2765230"/>
              <a:ext cx="53813" cy="40836"/>
            </a:xfrm>
            <a:custGeom>
              <a:avLst/>
              <a:gdLst/>
              <a:ahLst/>
              <a:cxnLst/>
              <a:rect l="l" t="t" r="r" b="b"/>
              <a:pathLst>
                <a:path w="1920" h="1457" extrusionOk="0">
                  <a:moveTo>
                    <a:pt x="975" y="0"/>
                  </a:moveTo>
                  <a:cubicBezTo>
                    <a:pt x="810" y="0"/>
                    <a:pt x="643" y="51"/>
                    <a:pt x="501" y="151"/>
                  </a:cubicBezTo>
                  <a:cubicBezTo>
                    <a:pt x="1" y="585"/>
                    <a:pt x="234" y="1385"/>
                    <a:pt x="868" y="1452"/>
                  </a:cubicBezTo>
                  <a:cubicBezTo>
                    <a:pt x="896" y="1455"/>
                    <a:pt x="924" y="1456"/>
                    <a:pt x="952" y="1456"/>
                  </a:cubicBezTo>
                  <a:cubicBezTo>
                    <a:pt x="1539" y="1456"/>
                    <a:pt x="1919" y="794"/>
                    <a:pt x="1569" y="284"/>
                  </a:cubicBezTo>
                  <a:cubicBezTo>
                    <a:pt x="1415" y="93"/>
                    <a:pt x="1196" y="0"/>
                    <a:pt x="975"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 name="Google Shape;485;p30">
              <a:extLst>
                <a:ext uri="{FF2B5EF4-FFF2-40B4-BE49-F238E27FC236}">
                  <a16:creationId xmlns:a16="http://schemas.microsoft.com/office/drawing/2014/main" id="{E087E9F3-48B9-8E53-9D14-6584E51182A5}"/>
                </a:ext>
              </a:extLst>
            </p:cNvPr>
            <p:cNvSpPr/>
            <p:nvPr/>
          </p:nvSpPr>
          <p:spPr>
            <a:xfrm flipH="1">
              <a:off x="7736623" y="2773134"/>
              <a:ext cx="71106" cy="44031"/>
            </a:xfrm>
            <a:custGeom>
              <a:avLst/>
              <a:gdLst/>
              <a:ahLst/>
              <a:cxnLst/>
              <a:rect l="l" t="t" r="r" b="b"/>
              <a:pathLst>
                <a:path w="2537" h="1571" extrusionOk="0">
                  <a:moveTo>
                    <a:pt x="2321" y="1"/>
                  </a:moveTo>
                  <a:cubicBezTo>
                    <a:pt x="2250" y="1"/>
                    <a:pt x="2179" y="38"/>
                    <a:pt x="2136" y="102"/>
                  </a:cubicBezTo>
                  <a:cubicBezTo>
                    <a:pt x="1556" y="1034"/>
                    <a:pt x="825" y="1148"/>
                    <a:pt x="473" y="1148"/>
                  </a:cubicBezTo>
                  <a:cubicBezTo>
                    <a:pt x="358" y="1148"/>
                    <a:pt x="284" y="1136"/>
                    <a:pt x="268" y="1136"/>
                  </a:cubicBezTo>
                  <a:cubicBezTo>
                    <a:pt x="250" y="1131"/>
                    <a:pt x="231" y="1128"/>
                    <a:pt x="212" y="1128"/>
                  </a:cubicBezTo>
                  <a:cubicBezTo>
                    <a:pt x="125" y="1128"/>
                    <a:pt x="34" y="1188"/>
                    <a:pt x="34" y="1270"/>
                  </a:cubicBezTo>
                  <a:cubicBezTo>
                    <a:pt x="1" y="1370"/>
                    <a:pt x="68" y="1503"/>
                    <a:pt x="168" y="1537"/>
                  </a:cubicBezTo>
                  <a:cubicBezTo>
                    <a:pt x="268" y="1537"/>
                    <a:pt x="401" y="1570"/>
                    <a:pt x="501" y="1570"/>
                  </a:cubicBezTo>
                  <a:cubicBezTo>
                    <a:pt x="1335" y="1537"/>
                    <a:pt x="2102" y="1070"/>
                    <a:pt x="2503" y="303"/>
                  </a:cubicBezTo>
                  <a:cubicBezTo>
                    <a:pt x="2536" y="202"/>
                    <a:pt x="2503" y="69"/>
                    <a:pt x="2436" y="36"/>
                  </a:cubicBezTo>
                  <a:cubicBezTo>
                    <a:pt x="2401" y="12"/>
                    <a:pt x="2361" y="1"/>
                    <a:pt x="2321"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3" name="Google Shape;486;p30">
              <a:extLst>
                <a:ext uri="{FF2B5EF4-FFF2-40B4-BE49-F238E27FC236}">
                  <a16:creationId xmlns:a16="http://schemas.microsoft.com/office/drawing/2014/main" id="{E1640DB7-6BF1-BD36-ACC9-57C99A848CDE}"/>
                </a:ext>
              </a:extLst>
            </p:cNvPr>
            <p:cNvSpPr/>
            <p:nvPr/>
          </p:nvSpPr>
          <p:spPr>
            <a:xfrm flipH="1">
              <a:off x="7604388" y="2794687"/>
              <a:ext cx="130916" cy="115277"/>
            </a:xfrm>
            <a:custGeom>
              <a:avLst/>
              <a:gdLst/>
              <a:ahLst/>
              <a:cxnLst/>
              <a:rect l="l" t="t" r="r" b="b"/>
              <a:pathLst>
                <a:path w="4671" h="4113" extrusionOk="0">
                  <a:moveTo>
                    <a:pt x="2936" y="1"/>
                  </a:moveTo>
                  <a:lnTo>
                    <a:pt x="0" y="2569"/>
                  </a:lnTo>
                  <a:lnTo>
                    <a:pt x="1768" y="3903"/>
                  </a:lnTo>
                  <a:cubicBezTo>
                    <a:pt x="1973" y="4045"/>
                    <a:pt x="2200" y="4113"/>
                    <a:pt x="2425" y="4113"/>
                  </a:cubicBezTo>
                  <a:cubicBezTo>
                    <a:pt x="2676" y="4113"/>
                    <a:pt x="2925" y="4028"/>
                    <a:pt x="3136" y="3870"/>
                  </a:cubicBezTo>
                  <a:lnTo>
                    <a:pt x="4103" y="3103"/>
                  </a:lnTo>
                  <a:cubicBezTo>
                    <a:pt x="4604" y="2702"/>
                    <a:pt x="4670" y="1969"/>
                    <a:pt x="4237" y="1502"/>
                  </a:cubicBezTo>
                  <a:lnTo>
                    <a:pt x="2936" y="1"/>
                  </a:lnTo>
                  <a:close/>
                </a:path>
              </a:pathLst>
            </a:custGeom>
            <a:solidFill>
              <a:srgbClr val="B55B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 name="Google Shape;487;p30">
              <a:extLst>
                <a:ext uri="{FF2B5EF4-FFF2-40B4-BE49-F238E27FC236}">
                  <a16:creationId xmlns:a16="http://schemas.microsoft.com/office/drawing/2014/main" id="{D52E6F31-5D64-E843-3319-E22A239450C0}"/>
                </a:ext>
              </a:extLst>
            </p:cNvPr>
            <p:cNvSpPr/>
            <p:nvPr/>
          </p:nvSpPr>
          <p:spPr>
            <a:xfrm flipH="1">
              <a:off x="8123234" y="4872674"/>
              <a:ext cx="248240" cy="145351"/>
            </a:xfrm>
            <a:custGeom>
              <a:avLst/>
              <a:gdLst/>
              <a:ahLst/>
              <a:cxnLst/>
              <a:rect l="l" t="t" r="r" b="b"/>
              <a:pathLst>
                <a:path w="8857" h="5186" extrusionOk="0">
                  <a:moveTo>
                    <a:pt x="1408" y="1"/>
                  </a:moveTo>
                  <a:cubicBezTo>
                    <a:pt x="1309" y="1"/>
                    <a:pt x="1219" y="44"/>
                    <a:pt x="1168" y="146"/>
                  </a:cubicBezTo>
                  <a:lnTo>
                    <a:pt x="134" y="2348"/>
                  </a:lnTo>
                  <a:cubicBezTo>
                    <a:pt x="1" y="2648"/>
                    <a:pt x="134" y="2981"/>
                    <a:pt x="468" y="3082"/>
                  </a:cubicBezTo>
                  <a:cubicBezTo>
                    <a:pt x="1768" y="3415"/>
                    <a:pt x="2135" y="3382"/>
                    <a:pt x="3770" y="3882"/>
                  </a:cubicBezTo>
                  <a:cubicBezTo>
                    <a:pt x="5171" y="4282"/>
                    <a:pt x="5171" y="5016"/>
                    <a:pt x="7473" y="5183"/>
                  </a:cubicBezTo>
                  <a:cubicBezTo>
                    <a:pt x="7512" y="5185"/>
                    <a:pt x="7551" y="5186"/>
                    <a:pt x="7588" y="5186"/>
                  </a:cubicBezTo>
                  <a:cubicBezTo>
                    <a:pt x="8856" y="5186"/>
                    <a:pt x="8556" y="4112"/>
                    <a:pt x="7973" y="3982"/>
                  </a:cubicBezTo>
                  <a:cubicBezTo>
                    <a:pt x="5905" y="3549"/>
                    <a:pt x="5705" y="2848"/>
                    <a:pt x="4504" y="1314"/>
                  </a:cubicBezTo>
                  <a:cubicBezTo>
                    <a:pt x="4370" y="1080"/>
                    <a:pt x="4237" y="746"/>
                    <a:pt x="3937" y="680"/>
                  </a:cubicBezTo>
                  <a:lnTo>
                    <a:pt x="1502" y="13"/>
                  </a:lnTo>
                  <a:cubicBezTo>
                    <a:pt x="1470" y="5"/>
                    <a:pt x="1439" y="1"/>
                    <a:pt x="1408"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 name="Google Shape;488;p30">
              <a:extLst>
                <a:ext uri="{FF2B5EF4-FFF2-40B4-BE49-F238E27FC236}">
                  <a16:creationId xmlns:a16="http://schemas.microsoft.com/office/drawing/2014/main" id="{8D52FFB3-4575-07FB-35D9-5B733D9F97B5}"/>
                </a:ext>
              </a:extLst>
            </p:cNvPr>
            <p:cNvSpPr/>
            <p:nvPr/>
          </p:nvSpPr>
          <p:spPr>
            <a:xfrm flipH="1">
              <a:off x="8425679" y="4925226"/>
              <a:ext cx="194483" cy="91790"/>
            </a:xfrm>
            <a:custGeom>
              <a:avLst/>
              <a:gdLst/>
              <a:ahLst/>
              <a:cxnLst/>
              <a:rect l="l" t="t" r="r" b="b"/>
              <a:pathLst>
                <a:path w="6939" h="3275" extrusionOk="0">
                  <a:moveTo>
                    <a:pt x="560" y="0"/>
                  </a:moveTo>
                  <a:cubicBezTo>
                    <a:pt x="447" y="0"/>
                    <a:pt x="364" y="120"/>
                    <a:pt x="334" y="239"/>
                  </a:cubicBezTo>
                  <a:lnTo>
                    <a:pt x="34" y="2674"/>
                  </a:lnTo>
                  <a:cubicBezTo>
                    <a:pt x="1" y="2974"/>
                    <a:pt x="234" y="3275"/>
                    <a:pt x="568" y="3275"/>
                  </a:cubicBezTo>
                  <a:cubicBezTo>
                    <a:pt x="1012" y="3264"/>
                    <a:pt x="1261" y="3260"/>
                    <a:pt x="1457" y="3260"/>
                  </a:cubicBezTo>
                  <a:cubicBezTo>
                    <a:pt x="1850" y="3260"/>
                    <a:pt x="2035" y="3275"/>
                    <a:pt x="3169" y="3275"/>
                  </a:cubicBezTo>
                  <a:lnTo>
                    <a:pt x="5571" y="3275"/>
                  </a:lnTo>
                  <a:cubicBezTo>
                    <a:pt x="6939" y="3275"/>
                    <a:pt x="6505" y="2174"/>
                    <a:pt x="5905" y="2040"/>
                  </a:cubicBezTo>
                  <a:cubicBezTo>
                    <a:pt x="4737" y="1774"/>
                    <a:pt x="4437" y="1373"/>
                    <a:pt x="3837" y="473"/>
                  </a:cubicBezTo>
                  <a:cubicBezTo>
                    <a:pt x="3703" y="206"/>
                    <a:pt x="3403" y="39"/>
                    <a:pt x="3103" y="6"/>
                  </a:cubicBezTo>
                  <a:lnTo>
                    <a:pt x="601" y="6"/>
                  </a:lnTo>
                  <a:cubicBezTo>
                    <a:pt x="587" y="2"/>
                    <a:pt x="573" y="0"/>
                    <a:pt x="560"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rotWithShape="1">
          <a:blip r:embed="rId2">
            <a:duotone>
              <a:schemeClr val="bg2">
                <a:shade val="18000"/>
                <a:satMod val="160000"/>
                <a:lumMod val="28000"/>
              </a:schemeClr>
              <a:schemeClr val="bg2">
                <a:tint val="95000"/>
                <a:satMod val="160000"/>
                <a:lumMod val="116000"/>
              </a:schemeClr>
            </a:duotone>
          </a:blip>
          <a:stretch/>
        </a:blipFill>
        <a:effectLst/>
      </p:bgPr>
    </p:bg>
    <p:spTree>
      <p:nvGrpSpPr>
        <p:cNvPr id="1" name=""/>
        <p:cNvGrpSpPr/>
        <p:nvPr/>
      </p:nvGrpSpPr>
      <p:grpSpPr>
        <a:xfrm>
          <a:off x="0" y="0"/>
          <a:ext cx="0" cy="0"/>
          <a:chOff x="0" y="0"/>
          <a:chExt cx="0" cy="0"/>
        </a:xfrm>
      </p:grpSpPr>
      <p:sp useBgFill="1">
        <p:nvSpPr>
          <p:cNvPr id="36" name="Rectangle 35">
            <a:extLst>
              <a:ext uri="{FF2B5EF4-FFF2-40B4-BE49-F238E27FC236}">
                <a16:creationId xmlns:a16="http://schemas.microsoft.com/office/drawing/2014/main" id="{137AAE58-B7D3-483F-829E-637C98F7FD9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a:extLst>
              <a:ext uri="{FF2B5EF4-FFF2-40B4-BE49-F238E27FC236}">
                <a16:creationId xmlns:a16="http://schemas.microsoft.com/office/drawing/2014/main" id="{31A2DEE6-EDD1-16B1-B94C-4D7626B0D094}"/>
              </a:ext>
            </a:extLst>
          </p:cNvPr>
          <p:cNvSpPr>
            <a:spLocks noGrp="1"/>
          </p:cNvSpPr>
          <p:nvPr>
            <p:ph type="title"/>
          </p:nvPr>
        </p:nvSpPr>
        <p:spPr>
          <a:xfrm>
            <a:off x="685345" y="3904090"/>
            <a:ext cx="3886655" cy="1075176"/>
          </a:xfrm>
        </p:spPr>
        <p:txBody>
          <a:bodyPr vert="horz" lIns="91440" tIns="45720" rIns="91440" bIns="45720" rtlCol="0" anchor="b">
            <a:normAutofit fontScale="90000"/>
          </a:bodyPr>
          <a:lstStyle/>
          <a:p>
            <a:pPr defTabSz="914400">
              <a:spcBef>
                <a:spcPct val="0"/>
              </a:spcBef>
            </a:pPr>
            <a:r>
              <a:rPr lang="en-US" sz="3300"/>
              <a:t>Problem Identification</a:t>
            </a:r>
          </a:p>
        </p:txBody>
      </p:sp>
      <p:pic>
        <p:nvPicPr>
          <p:cNvPr id="3" name="Picture 2">
            <a:extLst>
              <a:ext uri="{FF2B5EF4-FFF2-40B4-BE49-F238E27FC236}">
                <a16:creationId xmlns:a16="http://schemas.microsoft.com/office/drawing/2014/main" id="{7033B2F1-AF6A-AD16-28F8-EACDABD8086E}"/>
              </a:ext>
            </a:extLst>
          </p:cNvPr>
          <p:cNvPicPr>
            <a:picLocks noChangeAspect="1"/>
          </p:cNvPicPr>
          <p:nvPr/>
        </p:nvPicPr>
        <p:blipFill>
          <a:blip r:embed="rId3"/>
          <a:stretch>
            <a:fillRect/>
          </a:stretch>
        </p:blipFill>
        <p:spPr>
          <a:xfrm>
            <a:off x="688321" y="765478"/>
            <a:ext cx="3827141" cy="3138612"/>
          </a:xfrm>
          <a:prstGeom prst="rect">
            <a:avLst/>
          </a:prstGeom>
        </p:spPr>
      </p:pic>
      <p:pic>
        <p:nvPicPr>
          <p:cNvPr id="7" name="Picture 6">
            <a:extLst>
              <a:ext uri="{FF2B5EF4-FFF2-40B4-BE49-F238E27FC236}">
                <a16:creationId xmlns:a16="http://schemas.microsoft.com/office/drawing/2014/main" id="{F19E891F-638F-B2DE-3771-0E48239E9DBD}"/>
              </a:ext>
            </a:extLst>
          </p:cNvPr>
          <p:cNvPicPr>
            <a:picLocks noChangeAspect="1"/>
          </p:cNvPicPr>
          <p:nvPr/>
        </p:nvPicPr>
        <p:blipFill>
          <a:blip r:embed="rId4"/>
          <a:stretch>
            <a:fillRect/>
          </a:stretch>
        </p:blipFill>
        <p:spPr>
          <a:xfrm>
            <a:off x="4728462" y="765478"/>
            <a:ext cx="3827141" cy="3138612"/>
          </a:xfrm>
          <a:prstGeom prst="rect">
            <a:avLst/>
          </a:prstGeom>
        </p:spPr>
      </p:pic>
      <p:sp>
        <p:nvSpPr>
          <p:cNvPr id="8" name="Title 4">
            <a:extLst>
              <a:ext uri="{FF2B5EF4-FFF2-40B4-BE49-F238E27FC236}">
                <a16:creationId xmlns:a16="http://schemas.microsoft.com/office/drawing/2014/main" id="{5D637963-E7F0-874F-ECDB-559D2B9483CE}"/>
              </a:ext>
            </a:extLst>
          </p:cNvPr>
          <p:cNvSpPr txBox="1">
            <a:spLocks/>
          </p:cNvSpPr>
          <p:nvPr/>
        </p:nvSpPr>
        <p:spPr>
          <a:xfrm>
            <a:off x="4569024" y="3900943"/>
            <a:ext cx="3886655" cy="1075176"/>
          </a:xfrm>
          <a:prstGeom prst="rect">
            <a:avLst/>
          </a:prstGeom>
        </p:spPr>
        <p:txBody>
          <a:bodyPr spcFirstLastPara="1" vert="horz" wrap="square" lIns="91440" tIns="45720" rIns="91440" bIns="45720" rtlCol="0" anchor="b" anchorCtr="0">
            <a:normAutofit fontScale="97500"/>
          </a:bodyPr>
          <a:lstStyle>
            <a:lvl1pPr lvl="0" algn="ctr" defTabSz="685800" rtl="0" eaLnBrk="1" latinLnBrk="0" hangingPunct="1">
              <a:lnSpc>
                <a:spcPct val="90000"/>
              </a:lnSpc>
              <a:spcBef>
                <a:spcPts val="0"/>
              </a:spcBef>
              <a:spcAft>
                <a:spcPts val="0"/>
              </a:spcAft>
              <a:buSzPts val="2800"/>
              <a:buNone/>
              <a:defRPr sz="3000" b="1" i="0" kern="1200" cap="all">
                <a:solidFill>
                  <a:schemeClr val="tx1"/>
                </a:solidFill>
                <a:effectLst>
                  <a:outerShdw blurRad="50800" dist="63500" dir="2700000" algn="tl" rotWithShape="0">
                    <a:srgbClr val="000000">
                      <a:alpha val="48000"/>
                    </a:srgbClr>
                  </a:outerShdw>
                </a:effectLst>
                <a:latin typeface="+mj-lt"/>
                <a:ea typeface="+mj-ea"/>
                <a:cs typeface="+mj-cs"/>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pPr defTabSz="914400">
              <a:spcBef>
                <a:spcPct val="0"/>
              </a:spcBef>
            </a:pPr>
            <a:r>
              <a:rPr lang="en-US" sz="3300"/>
              <a:t>Forecasted Outcome</a:t>
            </a:r>
          </a:p>
        </p:txBody>
      </p:sp>
    </p:spTree>
    <p:extLst>
      <p:ext uri="{BB962C8B-B14F-4D97-AF65-F5344CB8AC3E}">
        <p14:creationId xmlns:p14="http://schemas.microsoft.com/office/powerpoint/2010/main" val="13707395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403"/>
        <p:cNvGrpSpPr/>
        <p:nvPr/>
      </p:nvGrpSpPr>
      <p:grpSpPr>
        <a:xfrm>
          <a:off x="0" y="0"/>
          <a:ext cx="0" cy="0"/>
          <a:chOff x="0" y="0"/>
          <a:chExt cx="0" cy="0"/>
        </a:xfrm>
      </p:grpSpPr>
      <p:sp>
        <p:nvSpPr>
          <p:cNvPr id="404" name="Google Shape;404;p30"/>
          <p:cNvSpPr txBox="1">
            <a:spLocks noGrp="1"/>
          </p:cNvSpPr>
          <p:nvPr>
            <p:ph type="ctrTitle"/>
          </p:nvPr>
        </p:nvSpPr>
        <p:spPr>
          <a:xfrm>
            <a:off x="719999" y="2101463"/>
            <a:ext cx="3062995" cy="12906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Analysis Overview</a:t>
            </a:r>
            <a:endParaRPr/>
          </a:p>
        </p:txBody>
      </p:sp>
      <p:sp>
        <p:nvSpPr>
          <p:cNvPr id="405" name="Google Shape;405;p30"/>
          <p:cNvSpPr txBox="1">
            <a:spLocks noGrp="1"/>
          </p:cNvSpPr>
          <p:nvPr>
            <p:ph type="subTitle" idx="1"/>
          </p:nvPr>
        </p:nvSpPr>
        <p:spPr>
          <a:xfrm>
            <a:off x="720000" y="3580324"/>
            <a:ext cx="2736878" cy="588159"/>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Charateristics of your customer base</a:t>
            </a:r>
            <a:endParaRPr/>
          </a:p>
        </p:txBody>
      </p:sp>
      <p:sp>
        <p:nvSpPr>
          <p:cNvPr id="406" name="Google Shape;406;p30"/>
          <p:cNvSpPr txBox="1">
            <a:spLocks noGrp="1"/>
          </p:cNvSpPr>
          <p:nvPr>
            <p:ph type="title" idx="2"/>
          </p:nvPr>
        </p:nvSpPr>
        <p:spPr>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03</a:t>
            </a:r>
            <a:endParaRPr/>
          </a:p>
        </p:txBody>
      </p:sp>
      <p:sp>
        <p:nvSpPr>
          <p:cNvPr id="489" name="Google Shape;489;p30"/>
          <p:cNvSpPr/>
          <p:nvPr/>
        </p:nvSpPr>
        <p:spPr>
          <a:xfrm rot="-10189978" flipH="1">
            <a:off x="4276173" y="1248422"/>
            <a:ext cx="328487" cy="328248"/>
          </a:xfrm>
          <a:custGeom>
            <a:avLst/>
            <a:gdLst/>
            <a:ahLst/>
            <a:cxnLst/>
            <a:rect l="l" t="t" r="r" b="b"/>
            <a:pathLst>
              <a:path w="45300" h="45267" extrusionOk="0">
                <a:moveTo>
                  <a:pt x="22629" y="6872"/>
                </a:moveTo>
                <a:cubicBezTo>
                  <a:pt x="26731" y="6872"/>
                  <a:pt x="30760" y="8466"/>
                  <a:pt x="33792" y="11476"/>
                </a:cubicBezTo>
                <a:cubicBezTo>
                  <a:pt x="38295" y="16012"/>
                  <a:pt x="39629" y="22784"/>
                  <a:pt x="37194" y="28688"/>
                </a:cubicBezTo>
                <a:cubicBezTo>
                  <a:pt x="34759" y="34559"/>
                  <a:pt x="29021" y="38428"/>
                  <a:pt x="22617" y="38428"/>
                </a:cubicBezTo>
                <a:lnTo>
                  <a:pt x="22617" y="38395"/>
                </a:lnTo>
                <a:cubicBezTo>
                  <a:pt x="13911" y="38395"/>
                  <a:pt x="6872" y="31356"/>
                  <a:pt x="6872" y="22650"/>
                </a:cubicBezTo>
                <a:cubicBezTo>
                  <a:pt x="6839" y="16279"/>
                  <a:pt x="10708" y="10508"/>
                  <a:pt x="16579" y="8073"/>
                </a:cubicBezTo>
                <a:cubicBezTo>
                  <a:pt x="18538" y="7265"/>
                  <a:pt x="20592" y="6872"/>
                  <a:pt x="22629" y="6872"/>
                </a:cubicBezTo>
                <a:close/>
                <a:moveTo>
                  <a:pt x="20916" y="1"/>
                </a:moveTo>
                <a:lnTo>
                  <a:pt x="20315" y="2102"/>
                </a:lnTo>
                <a:cubicBezTo>
                  <a:pt x="19148" y="2236"/>
                  <a:pt x="18014" y="2469"/>
                  <a:pt x="16913" y="2769"/>
                </a:cubicBezTo>
                <a:lnTo>
                  <a:pt x="15545" y="1068"/>
                </a:lnTo>
                <a:lnTo>
                  <a:pt x="12376" y="2369"/>
                </a:lnTo>
                <a:lnTo>
                  <a:pt x="12643" y="4571"/>
                </a:lnTo>
                <a:cubicBezTo>
                  <a:pt x="11609" y="5104"/>
                  <a:pt x="10642" y="5771"/>
                  <a:pt x="9741" y="6472"/>
                </a:cubicBezTo>
                <a:lnTo>
                  <a:pt x="7806" y="5405"/>
                </a:lnTo>
                <a:lnTo>
                  <a:pt x="5405" y="7840"/>
                </a:lnTo>
                <a:lnTo>
                  <a:pt x="6472" y="9774"/>
                </a:lnTo>
                <a:cubicBezTo>
                  <a:pt x="5772" y="10675"/>
                  <a:pt x="5104" y="11642"/>
                  <a:pt x="4537" y="12643"/>
                </a:cubicBezTo>
                <a:lnTo>
                  <a:pt x="2369" y="12410"/>
                </a:lnTo>
                <a:lnTo>
                  <a:pt x="1068" y="15545"/>
                </a:lnTo>
                <a:lnTo>
                  <a:pt x="2769" y="16913"/>
                </a:lnTo>
                <a:cubicBezTo>
                  <a:pt x="2436" y="18047"/>
                  <a:pt x="2236" y="19181"/>
                  <a:pt x="2102" y="20315"/>
                </a:cubicBezTo>
                <a:lnTo>
                  <a:pt x="1" y="20916"/>
                </a:lnTo>
                <a:lnTo>
                  <a:pt x="1" y="24351"/>
                </a:lnTo>
                <a:lnTo>
                  <a:pt x="2102" y="24952"/>
                </a:lnTo>
                <a:cubicBezTo>
                  <a:pt x="2236" y="26086"/>
                  <a:pt x="2469" y="27220"/>
                  <a:pt x="2769" y="28354"/>
                </a:cubicBezTo>
                <a:lnTo>
                  <a:pt x="1068" y="29722"/>
                </a:lnTo>
                <a:lnTo>
                  <a:pt x="2369" y="32857"/>
                </a:lnTo>
                <a:lnTo>
                  <a:pt x="4537" y="32624"/>
                </a:lnTo>
                <a:cubicBezTo>
                  <a:pt x="5104" y="33625"/>
                  <a:pt x="5772" y="34592"/>
                  <a:pt x="6472" y="35493"/>
                </a:cubicBezTo>
                <a:lnTo>
                  <a:pt x="5405" y="37427"/>
                </a:lnTo>
                <a:lnTo>
                  <a:pt x="7840" y="39863"/>
                </a:lnTo>
                <a:lnTo>
                  <a:pt x="9774" y="38795"/>
                </a:lnTo>
                <a:cubicBezTo>
                  <a:pt x="10675" y="39496"/>
                  <a:pt x="11642" y="40163"/>
                  <a:pt x="12643" y="40730"/>
                </a:cubicBezTo>
                <a:lnTo>
                  <a:pt x="12410" y="42898"/>
                </a:lnTo>
                <a:lnTo>
                  <a:pt x="15545" y="44199"/>
                </a:lnTo>
                <a:lnTo>
                  <a:pt x="16913" y="42498"/>
                </a:lnTo>
                <a:cubicBezTo>
                  <a:pt x="18047" y="42798"/>
                  <a:pt x="19181" y="43031"/>
                  <a:pt x="20349" y="43165"/>
                </a:cubicBezTo>
                <a:lnTo>
                  <a:pt x="20916" y="45266"/>
                </a:lnTo>
                <a:lnTo>
                  <a:pt x="24318" y="45266"/>
                </a:lnTo>
                <a:lnTo>
                  <a:pt x="24952" y="43165"/>
                </a:lnTo>
                <a:cubicBezTo>
                  <a:pt x="26086" y="43031"/>
                  <a:pt x="27220" y="42798"/>
                  <a:pt x="28354" y="42498"/>
                </a:cubicBezTo>
                <a:lnTo>
                  <a:pt x="29722" y="44199"/>
                </a:lnTo>
                <a:lnTo>
                  <a:pt x="32858" y="42898"/>
                </a:lnTo>
                <a:lnTo>
                  <a:pt x="32624" y="40730"/>
                </a:lnTo>
                <a:cubicBezTo>
                  <a:pt x="33625" y="40163"/>
                  <a:pt x="34592" y="39496"/>
                  <a:pt x="35493" y="38795"/>
                </a:cubicBezTo>
                <a:lnTo>
                  <a:pt x="37427" y="39863"/>
                </a:lnTo>
                <a:lnTo>
                  <a:pt x="39863" y="37461"/>
                </a:lnTo>
                <a:lnTo>
                  <a:pt x="38795" y="35526"/>
                </a:lnTo>
                <a:cubicBezTo>
                  <a:pt x="39496" y="34625"/>
                  <a:pt x="40163" y="33658"/>
                  <a:pt x="40730" y="32657"/>
                </a:cubicBezTo>
                <a:lnTo>
                  <a:pt x="42898" y="32891"/>
                </a:lnTo>
                <a:lnTo>
                  <a:pt x="44199" y="29722"/>
                </a:lnTo>
                <a:lnTo>
                  <a:pt x="42498" y="28354"/>
                </a:lnTo>
                <a:cubicBezTo>
                  <a:pt x="42798" y="27253"/>
                  <a:pt x="43031" y="26119"/>
                  <a:pt x="43165" y="24952"/>
                </a:cubicBezTo>
                <a:lnTo>
                  <a:pt x="45300" y="24351"/>
                </a:lnTo>
                <a:lnTo>
                  <a:pt x="45300" y="20916"/>
                </a:lnTo>
                <a:lnTo>
                  <a:pt x="43165" y="20315"/>
                </a:lnTo>
                <a:cubicBezTo>
                  <a:pt x="43031" y="19181"/>
                  <a:pt x="42798" y="18047"/>
                  <a:pt x="42498" y="16913"/>
                </a:cubicBezTo>
                <a:lnTo>
                  <a:pt x="44199" y="15545"/>
                </a:lnTo>
                <a:lnTo>
                  <a:pt x="42898" y="12376"/>
                </a:lnTo>
                <a:lnTo>
                  <a:pt x="40730" y="12643"/>
                </a:lnTo>
                <a:cubicBezTo>
                  <a:pt x="40163" y="11642"/>
                  <a:pt x="39496" y="10675"/>
                  <a:pt x="38795" y="9774"/>
                </a:cubicBezTo>
                <a:lnTo>
                  <a:pt x="39863" y="7840"/>
                </a:lnTo>
                <a:lnTo>
                  <a:pt x="37427" y="5405"/>
                </a:lnTo>
                <a:lnTo>
                  <a:pt x="35493" y="6472"/>
                </a:lnTo>
                <a:cubicBezTo>
                  <a:pt x="34592" y="5771"/>
                  <a:pt x="33658" y="5104"/>
                  <a:pt x="32624" y="4571"/>
                </a:cubicBezTo>
                <a:lnTo>
                  <a:pt x="32891" y="2369"/>
                </a:lnTo>
                <a:lnTo>
                  <a:pt x="29722" y="1068"/>
                </a:lnTo>
                <a:lnTo>
                  <a:pt x="28354" y="2769"/>
                </a:lnTo>
                <a:cubicBezTo>
                  <a:pt x="27220" y="2469"/>
                  <a:pt x="26086" y="2236"/>
                  <a:pt x="24952" y="2102"/>
                </a:cubicBezTo>
                <a:lnTo>
                  <a:pt x="24318" y="1"/>
                </a:lnTo>
                <a:close/>
              </a:path>
            </a:pathLst>
          </a:custGeom>
          <a:solidFill>
            <a:srgbClr val="C3FF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 name="Google Shape;490;p30"/>
          <p:cNvSpPr/>
          <p:nvPr/>
        </p:nvSpPr>
        <p:spPr>
          <a:xfrm rot="-10189508" flipH="1">
            <a:off x="4640637" y="839847"/>
            <a:ext cx="513511" cy="513137"/>
          </a:xfrm>
          <a:custGeom>
            <a:avLst/>
            <a:gdLst/>
            <a:ahLst/>
            <a:cxnLst/>
            <a:rect l="l" t="t" r="r" b="b"/>
            <a:pathLst>
              <a:path w="45300" h="45267" extrusionOk="0">
                <a:moveTo>
                  <a:pt x="22629" y="6872"/>
                </a:moveTo>
                <a:cubicBezTo>
                  <a:pt x="26731" y="6872"/>
                  <a:pt x="30760" y="8466"/>
                  <a:pt x="33792" y="11476"/>
                </a:cubicBezTo>
                <a:cubicBezTo>
                  <a:pt x="38295" y="16012"/>
                  <a:pt x="39629" y="22784"/>
                  <a:pt x="37194" y="28688"/>
                </a:cubicBezTo>
                <a:cubicBezTo>
                  <a:pt x="34759" y="34559"/>
                  <a:pt x="29021" y="38428"/>
                  <a:pt x="22617" y="38428"/>
                </a:cubicBezTo>
                <a:lnTo>
                  <a:pt x="22617" y="38395"/>
                </a:lnTo>
                <a:cubicBezTo>
                  <a:pt x="13911" y="38395"/>
                  <a:pt x="6872" y="31356"/>
                  <a:pt x="6872" y="22650"/>
                </a:cubicBezTo>
                <a:cubicBezTo>
                  <a:pt x="6839" y="16279"/>
                  <a:pt x="10708" y="10508"/>
                  <a:pt x="16579" y="8073"/>
                </a:cubicBezTo>
                <a:cubicBezTo>
                  <a:pt x="18538" y="7265"/>
                  <a:pt x="20592" y="6872"/>
                  <a:pt x="22629" y="6872"/>
                </a:cubicBezTo>
                <a:close/>
                <a:moveTo>
                  <a:pt x="20916" y="1"/>
                </a:moveTo>
                <a:lnTo>
                  <a:pt x="20315" y="2102"/>
                </a:lnTo>
                <a:cubicBezTo>
                  <a:pt x="19148" y="2236"/>
                  <a:pt x="18014" y="2469"/>
                  <a:pt x="16913" y="2769"/>
                </a:cubicBezTo>
                <a:lnTo>
                  <a:pt x="15545" y="1068"/>
                </a:lnTo>
                <a:lnTo>
                  <a:pt x="12376" y="2369"/>
                </a:lnTo>
                <a:lnTo>
                  <a:pt x="12643" y="4571"/>
                </a:lnTo>
                <a:cubicBezTo>
                  <a:pt x="11609" y="5104"/>
                  <a:pt x="10642" y="5771"/>
                  <a:pt x="9741" y="6472"/>
                </a:cubicBezTo>
                <a:lnTo>
                  <a:pt x="7806" y="5405"/>
                </a:lnTo>
                <a:lnTo>
                  <a:pt x="5405" y="7840"/>
                </a:lnTo>
                <a:lnTo>
                  <a:pt x="6472" y="9774"/>
                </a:lnTo>
                <a:cubicBezTo>
                  <a:pt x="5772" y="10675"/>
                  <a:pt x="5104" y="11642"/>
                  <a:pt x="4537" y="12643"/>
                </a:cubicBezTo>
                <a:lnTo>
                  <a:pt x="2369" y="12410"/>
                </a:lnTo>
                <a:lnTo>
                  <a:pt x="1068" y="15545"/>
                </a:lnTo>
                <a:lnTo>
                  <a:pt x="2769" y="16913"/>
                </a:lnTo>
                <a:cubicBezTo>
                  <a:pt x="2436" y="18047"/>
                  <a:pt x="2236" y="19181"/>
                  <a:pt x="2102" y="20315"/>
                </a:cubicBezTo>
                <a:lnTo>
                  <a:pt x="1" y="20916"/>
                </a:lnTo>
                <a:lnTo>
                  <a:pt x="1" y="24351"/>
                </a:lnTo>
                <a:lnTo>
                  <a:pt x="2102" y="24952"/>
                </a:lnTo>
                <a:cubicBezTo>
                  <a:pt x="2236" y="26086"/>
                  <a:pt x="2469" y="27220"/>
                  <a:pt x="2769" y="28354"/>
                </a:cubicBezTo>
                <a:lnTo>
                  <a:pt x="1068" y="29722"/>
                </a:lnTo>
                <a:lnTo>
                  <a:pt x="2369" y="32857"/>
                </a:lnTo>
                <a:lnTo>
                  <a:pt x="4537" y="32624"/>
                </a:lnTo>
                <a:cubicBezTo>
                  <a:pt x="5104" y="33625"/>
                  <a:pt x="5772" y="34592"/>
                  <a:pt x="6472" y="35493"/>
                </a:cubicBezTo>
                <a:lnTo>
                  <a:pt x="5405" y="37427"/>
                </a:lnTo>
                <a:lnTo>
                  <a:pt x="7840" y="39863"/>
                </a:lnTo>
                <a:lnTo>
                  <a:pt x="9774" y="38795"/>
                </a:lnTo>
                <a:cubicBezTo>
                  <a:pt x="10675" y="39496"/>
                  <a:pt x="11642" y="40163"/>
                  <a:pt x="12643" y="40730"/>
                </a:cubicBezTo>
                <a:lnTo>
                  <a:pt x="12410" y="42898"/>
                </a:lnTo>
                <a:lnTo>
                  <a:pt x="15545" y="44199"/>
                </a:lnTo>
                <a:lnTo>
                  <a:pt x="16913" y="42498"/>
                </a:lnTo>
                <a:cubicBezTo>
                  <a:pt x="18047" y="42798"/>
                  <a:pt x="19181" y="43031"/>
                  <a:pt x="20349" y="43165"/>
                </a:cubicBezTo>
                <a:lnTo>
                  <a:pt x="20916" y="45266"/>
                </a:lnTo>
                <a:lnTo>
                  <a:pt x="24318" y="45266"/>
                </a:lnTo>
                <a:lnTo>
                  <a:pt x="24952" y="43165"/>
                </a:lnTo>
                <a:cubicBezTo>
                  <a:pt x="26086" y="43031"/>
                  <a:pt x="27220" y="42798"/>
                  <a:pt x="28354" y="42498"/>
                </a:cubicBezTo>
                <a:lnTo>
                  <a:pt x="29722" y="44199"/>
                </a:lnTo>
                <a:lnTo>
                  <a:pt x="32858" y="42898"/>
                </a:lnTo>
                <a:lnTo>
                  <a:pt x="32624" y="40730"/>
                </a:lnTo>
                <a:cubicBezTo>
                  <a:pt x="33625" y="40163"/>
                  <a:pt x="34592" y="39496"/>
                  <a:pt x="35493" y="38795"/>
                </a:cubicBezTo>
                <a:lnTo>
                  <a:pt x="37427" y="39863"/>
                </a:lnTo>
                <a:lnTo>
                  <a:pt x="39863" y="37461"/>
                </a:lnTo>
                <a:lnTo>
                  <a:pt x="38795" y="35526"/>
                </a:lnTo>
                <a:cubicBezTo>
                  <a:pt x="39496" y="34625"/>
                  <a:pt x="40163" y="33658"/>
                  <a:pt x="40730" y="32657"/>
                </a:cubicBezTo>
                <a:lnTo>
                  <a:pt x="42898" y="32891"/>
                </a:lnTo>
                <a:lnTo>
                  <a:pt x="44199" y="29722"/>
                </a:lnTo>
                <a:lnTo>
                  <a:pt x="42498" y="28354"/>
                </a:lnTo>
                <a:cubicBezTo>
                  <a:pt x="42798" y="27253"/>
                  <a:pt x="43031" y="26119"/>
                  <a:pt x="43165" y="24952"/>
                </a:cubicBezTo>
                <a:lnTo>
                  <a:pt x="45300" y="24351"/>
                </a:lnTo>
                <a:lnTo>
                  <a:pt x="45300" y="20916"/>
                </a:lnTo>
                <a:lnTo>
                  <a:pt x="43165" y="20315"/>
                </a:lnTo>
                <a:cubicBezTo>
                  <a:pt x="43031" y="19181"/>
                  <a:pt x="42798" y="18047"/>
                  <a:pt x="42498" y="16913"/>
                </a:cubicBezTo>
                <a:lnTo>
                  <a:pt x="44199" y="15545"/>
                </a:lnTo>
                <a:lnTo>
                  <a:pt x="42898" y="12376"/>
                </a:lnTo>
                <a:lnTo>
                  <a:pt x="40730" y="12643"/>
                </a:lnTo>
                <a:cubicBezTo>
                  <a:pt x="40163" y="11642"/>
                  <a:pt x="39496" y="10675"/>
                  <a:pt x="38795" y="9774"/>
                </a:cubicBezTo>
                <a:lnTo>
                  <a:pt x="39863" y="7840"/>
                </a:lnTo>
                <a:lnTo>
                  <a:pt x="37427" y="5405"/>
                </a:lnTo>
                <a:lnTo>
                  <a:pt x="35493" y="6472"/>
                </a:lnTo>
                <a:cubicBezTo>
                  <a:pt x="34592" y="5771"/>
                  <a:pt x="33658" y="5104"/>
                  <a:pt x="32624" y="4571"/>
                </a:cubicBezTo>
                <a:lnTo>
                  <a:pt x="32891" y="2369"/>
                </a:lnTo>
                <a:lnTo>
                  <a:pt x="29722" y="1068"/>
                </a:lnTo>
                <a:lnTo>
                  <a:pt x="28354" y="2769"/>
                </a:lnTo>
                <a:cubicBezTo>
                  <a:pt x="27220" y="2469"/>
                  <a:pt x="26086" y="2236"/>
                  <a:pt x="24952" y="2102"/>
                </a:cubicBezTo>
                <a:lnTo>
                  <a:pt x="24318"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 name="Google Shape;2500;p58">
            <a:extLst>
              <a:ext uri="{FF2B5EF4-FFF2-40B4-BE49-F238E27FC236}">
                <a16:creationId xmlns:a16="http://schemas.microsoft.com/office/drawing/2014/main" id="{9AA41BB5-F427-6372-8B1E-3153EB2A4659}"/>
              </a:ext>
            </a:extLst>
          </p:cNvPr>
          <p:cNvGrpSpPr/>
          <p:nvPr/>
        </p:nvGrpSpPr>
        <p:grpSpPr>
          <a:xfrm>
            <a:off x="4621896" y="1802586"/>
            <a:ext cx="4115454" cy="2892009"/>
            <a:chOff x="1190200" y="1032025"/>
            <a:chExt cx="5212075" cy="3662625"/>
          </a:xfrm>
        </p:grpSpPr>
        <p:sp>
          <p:nvSpPr>
            <p:cNvPr id="3" name="Google Shape;2501;p58">
              <a:extLst>
                <a:ext uri="{FF2B5EF4-FFF2-40B4-BE49-F238E27FC236}">
                  <a16:creationId xmlns:a16="http://schemas.microsoft.com/office/drawing/2014/main" id="{4F2C70D6-2FA4-441B-4902-43C55B8E4502}"/>
                </a:ext>
              </a:extLst>
            </p:cNvPr>
            <p:cNvSpPr/>
            <p:nvPr/>
          </p:nvSpPr>
          <p:spPr>
            <a:xfrm>
              <a:off x="1190200" y="4224300"/>
              <a:ext cx="5212075" cy="2525"/>
            </a:xfrm>
            <a:custGeom>
              <a:avLst/>
              <a:gdLst/>
              <a:ahLst/>
              <a:cxnLst/>
              <a:rect l="l" t="t" r="r" b="b"/>
              <a:pathLst>
                <a:path w="208483" h="101" extrusionOk="0">
                  <a:moveTo>
                    <a:pt x="0" y="0"/>
                  </a:moveTo>
                  <a:lnTo>
                    <a:pt x="0" y="101"/>
                  </a:lnTo>
                  <a:lnTo>
                    <a:pt x="208482" y="101"/>
                  </a:lnTo>
                  <a:lnTo>
                    <a:pt x="208482" y="0"/>
                  </a:lnTo>
                  <a:close/>
                </a:path>
              </a:pathLst>
            </a:custGeom>
            <a:solidFill>
              <a:srgbClr val="EBEBE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Google Shape;2502;p58">
              <a:extLst>
                <a:ext uri="{FF2B5EF4-FFF2-40B4-BE49-F238E27FC236}">
                  <a16:creationId xmlns:a16="http://schemas.microsoft.com/office/drawing/2014/main" id="{53371438-DA83-A276-5097-7F2F65282D32}"/>
                </a:ext>
              </a:extLst>
            </p:cNvPr>
            <p:cNvSpPr/>
            <p:nvPr/>
          </p:nvSpPr>
          <p:spPr>
            <a:xfrm>
              <a:off x="5534950" y="4391925"/>
              <a:ext cx="345275" cy="2525"/>
            </a:xfrm>
            <a:custGeom>
              <a:avLst/>
              <a:gdLst/>
              <a:ahLst/>
              <a:cxnLst/>
              <a:rect l="l" t="t" r="r" b="b"/>
              <a:pathLst>
                <a:path w="13811" h="101" extrusionOk="0">
                  <a:moveTo>
                    <a:pt x="1" y="0"/>
                  </a:moveTo>
                  <a:lnTo>
                    <a:pt x="1" y="100"/>
                  </a:lnTo>
                  <a:lnTo>
                    <a:pt x="13811" y="100"/>
                  </a:lnTo>
                  <a:lnTo>
                    <a:pt x="13811" y="0"/>
                  </a:lnTo>
                  <a:close/>
                </a:path>
              </a:pathLst>
            </a:custGeom>
            <a:solidFill>
              <a:srgbClr val="EBEBE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2503;p58">
              <a:extLst>
                <a:ext uri="{FF2B5EF4-FFF2-40B4-BE49-F238E27FC236}">
                  <a16:creationId xmlns:a16="http://schemas.microsoft.com/office/drawing/2014/main" id="{EA70F7C1-9A91-1E5D-2C2F-E6D67B443550}"/>
                </a:ext>
              </a:extLst>
            </p:cNvPr>
            <p:cNvSpPr/>
            <p:nvPr/>
          </p:nvSpPr>
          <p:spPr>
            <a:xfrm>
              <a:off x="4552600" y="4420275"/>
              <a:ext cx="90075" cy="2525"/>
            </a:xfrm>
            <a:custGeom>
              <a:avLst/>
              <a:gdLst/>
              <a:ahLst/>
              <a:cxnLst/>
              <a:rect l="l" t="t" r="r" b="b"/>
              <a:pathLst>
                <a:path w="3603" h="101" extrusionOk="0">
                  <a:moveTo>
                    <a:pt x="0" y="0"/>
                  </a:moveTo>
                  <a:lnTo>
                    <a:pt x="0" y="100"/>
                  </a:lnTo>
                  <a:lnTo>
                    <a:pt x="3603" y="100"/>
                  </a:lnTo>
                  <a:lnTo>
                    <a:pt x="3603" y="0"/>
                  </a:lnTo>
                  <a:close/>
                </a:path>
              </a:pathLst>
            </a:custGeom>
            <a:solidFill>
              <a:srgbClr val="EBEBE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2504;p58">
              <a:extLst>
                <a:ext uri="{FF2B5EF4-FFF2-40B4-BE49-F238E27FC236}">
                  <a16:creationId xmlns:a16="http://schemas.microsoft.com/office/drawing/2014/main" id="{5D48463F-7E80-FBBB-E9A6-DF06914BBFF7}"/>
                </a:ext>
              </a:extLst>
            </p:cNvPr>
            <p:cNvSpPr/>
            <p:nvPr/>
          </p:nvSpPr>
          <p:spPr>
            <a:xfrm>
              <a:off x="5323975" y="4295175"/>
              <a:ext cx="200175" cy="2525"/>
            </a:xfrm>
            <a:custGeom>
              <a:avLst/>
              <a:gdLst/>
              <a:ahLst/>
              <a:cxnLst/>
              <a:rect l="l" t="t" r="r" b="b"/>
              <a:pathLst>
                <a:path w="8007" h="101" extrusionOk="0">
                  <a:moveTo>
                    <a:pt x="0" y="1"/>
                  </a:moveTo>
                  <a:lnTo>
                    <a:pt x="0" y="101"/>
                  </a:lnTo>
                  <a:lnTo>
                    <a:pt x="8006" y="101"/>
                  </a:lnTo>
                  <a:lnTo>
                    <a:pt x="8006" y="1"/>
                  </a:lnTo>
                  <a:close/>
                </a:path>
              </a:pathLst>
            </a:custGeom>
            <a:solidFill>
              <a:srgbClr val="EBEBE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2505;p58">
              <a:extLst>
                <a:ext uri="{FF2B5EF4-FFF2-40B4-BE49-F238E27FC236}">
                  <a16:creationId xmlns:a16="http://schemas.microsoft.com/office/drawing/2014/main" id="{15AED15C-0817-A9CF-DED8-D36AC8D25BC2}"/>
                </a:ext>
              </a:extLst>
            </p:cNvPr>
            <p:cNvSpPr/>
            <p:nvPr/>
          </p:nvSpPr>
          <p:spPr>
            <a:xfrm>
              <a:off x="1737250" y="4312700"/>
              <a:ext cx="450350" cy="2525"/>
            </a:xfrm>
            <a:custGeom>
              <a:avLst/>
              <a:gdLst/>
              <a:ahLst/>
              <a:cxnLst/>
              <a:rect l="l" t="t" r="r" b="b"/>
              <a:pathLst>
                <a:path w="18014" h="101" extrusionOk="0">
                  <a:moveTo>
                    <a:pt x="0" y="0"/>
                  </a:moveTo>
                  <a:lnTo>
                    <a:pt x="0" y="100"/>
                  </a:lnTo>
                  <a:lnTo>
                    <a:pt x="18013" y="100"/>
                  </a:lnTo>
                  <a:lnTo>
                    <a:pt x="18013" y="0"/>
                  </a:lnTo>
                  <a:close/>
                </a:path>
              </a:pathLst>
            </a:custGeom>
            <a:solidFill>
              <a:srgbClr val="EBEBE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2506;p58">
              <a:extLst>
                <a:ext uri="{FF2B5EF4-FFF2-40B4-BE49-F238E27FC236}">
                  <a16:creationId xmlns:a16="http://schemas.microsoft.com/office/drawing/2014/main" id="{4866E938-0E17-5C44-F7EF-19D8279A8A42}"/>
                </a:ext>
              </a:extLst>
            </p:cNvPr>
            <p:cNvSpPr/>
            <p:nvPr/>
          </p:nvSpPr>
          <p:spPr>
            <a:xfrm>
              <a:off x="2280125" y="4312700"/>
              <a:ext cx="65925" cy="2525"/>
            </a:xfrm>
            <a:custGeom>
              <a:avLst/>
              <a:gdLst/>
              <a:ahLst/>
              <a:cxnLst/>
              <a:rect l="l" t="t" r="r" b="b"/>
              <a:pathLst>
                <a:path w="2637" h="101" extrusionOk="0">
                  <a:moveTo>
                    <a:pt x="1" y="0"/>
                  </a:moveTo>
                  <a:lnTo>
                    <a:pt x="1" y="100"/>
                  </a:lnTo>
                  <a:lnTo>
                    <a:pt x="2636" y="100"/>
                  </a:lnTo>
                  <a:lnTo>
                    <a:pt x="2636" y="0"/>
                  </a:lnTo>
                  <a:close/>
                </a:path>
              </a:pathLst>
            </a:custGeom>
            <a:solidFill>
              <a:srgbClr val="EBEBE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2507;p58">
              <a:extLst>
                <a:ext uri="{FF2B5EF4-FFF2-40B4-BE49-F238E27FC236}">
                  <a16:creationId xmlns:a16="http://schemas.microsoft.com/office/drawing/2014/main" id="{D86D9C4C-D88E-013D-161E-3C7A5A3214AB}"/>
                </a:ext>
              </a:extLst>
            </p:cNvPr>
            <p:cNvSpPr/>
            <p:nvPr/>
          </p:nvSpPr>
          <p:spPr>
            <a:xfrm>
              <a:off x="2560325" y="4356900"/>
              <a:ext cx="976575" cy="2525"/>
            </a:xfrm>
            <a:custGeom>
              <a:avLst/>
              <a:gdLst/>
              <a:ahLst/>
              <a:cxnLst/>
              <a:rect l="l" t="t" r="r" b="b"/>
              <a:pathLst>
                <a:path w="39063" h="101" extrusionOk="0">
                  <a:moveTo>
                    <a:pt x="1" y="0"/>
                  </a:moveTo>
                  <a:lnTo>
                    <a:pt x="1" y="100"/>
                  </a:lnTo>
                  <a:lnTo>
                    <a:pt x="39062" y="100"/>
                  </a:lnTo>
                  <a:lnTo>
                    <a:pt x="39062" y="0"/>
                  </a:lnTo>
                  <a:close/>
                </a:path>
              </a:pathLst>
            </a:custGeom>
            <a:solidFill>
              <a:srgbClr val="EBEBE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2508;p58">
              <a:extLst>
                <a:ext uri="{FF2B5EF4-FFF2-40B4-BE49-F238E27FC236}">
                  <a16:creationId xmlns:a16="http://schemas.microsoft.com/office/drawing/2014/main" id="{C4F530E1-2ED2-557A-0F7C-2A7C764B8E35}"/>
                </a:ext>
              </a:extLst>
            </p:cNvPr>
            <p:cNvSpPr/>
            <p:nvPr/>
          </p:nvSpPr>
          <p:spPr>
            <a:xfrm>
              <a:off x="3981350" y="2861650"/>
              <a:ext cx="366125" cy="1362675"/>
            </a:xfrm>
            <a:custGeom>
              <a:avLst/>
              <a:gdLst/>
              <a:ahLst/>
              <a:cxnLst/>
              <a:rect l="l" t="t" r="r" b="b"/>
              <a:pathLst>
                <a:path w="14645" h="54507" extrusionOk="0">
                  <a:moveTo>
                    <a:pt x="0" y="1"/>
                  </a:moveTo>
                  <a:lnTo>
                    <a:pt x="0" y="54506"/>
                  </a:lnTo>
                  <a:lnTo>
                    <a:pt x="14644" y="54506"/>
                  </a:lnTo>
                  <a:lnTo>
                    <a:pt x="14644" y="1"/>
                  </a:lnTo>
                  <a:close/>
                </a:path>
              </a:pathLst>
            </a:custGeom>
            <a:solidFill>
              <a:srgbClr val="E6E6E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2509;p58">
              <a:extLst>
                <a:ext uri="{FF2B5EF4-FFF2-40B4-BE49-F238E27FC236}">
                  <a16:creationId xmlns:a16="http://schemas.microsoft.com/office/drawing/2014/main" id="{81573761-2792-3D01-9371-55D4F0721049}"/>
                </a:ext>
              </a:extLst>
            </p:cNvPr>
            <p:cNvSpPr/>
            <p:nvPr/>
          </p:nvSpPr>
          <p:spPr>
            <a:xfrm>
              <a:off x="3981350" y="4101700"/>
              <a:ext cx="125100" cy="122625"/>
            </a:xfrm>
            <a:custGeom>
              <a:avLst/>
              <a:gdLst/>
              <a:ahLst/>
              <a:cxnLst/>
              <a:rect l="l" t="t" r="r" b="b"/>
              <a:pathLst>
                <a:path w="5004" h="4905" extrusionOk="0">
                  <a:moveTo>
                    <a:pt x="0" y="1"/>
                  </a:moveTo>
                  <a:lnTo>
                    <a:pt x="0" y="4904"/>
                  </a:lnTo>
                  <a:lnTo>
                    <a:pt x="2435" y="4904"/>
                  </a:lnTo>
                  <a:lnTo>
                    <a:pt x="5004"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2510;p58">
              <a:extLst>
                <a:ext uri="{FF2B5EF4-FFF2-40B4-BE49-F238E27FC236}">
                  <a16:creationId xmlns:a16="http://schemas.microsoft.com/office/drawing/2014/main" id="{3B0BA4E5-695C-94FC-5977-AA2752FE097B}"/>
                </a:ext>
              </a:extLst>
            </p:cNvPr>
            <p:cNvSpPr/>
            <p:nvPr/>
          </p:nvSpPr>
          <p:spPr>
            <a:xfrm>
              <a:off x="5470750" y="2861650"/>
              <a:ext cx="366125" cy="1362675"/>
            </a:xfrm>
            <a:custGeom>
              <a:avLst/>
              <a:gdLst/>
              <a:ahLst/>
              <a:cxnLst/>
              <a:rect l="l" t="t" r="r" b="b"/>
              <a:pathLst>
                <a:path w="14645" h="54507" extrusionOk="0">
                  <a:moveTo>
                    <a:pt x="0" y="1"/>
                  </a:moveTo>
                  <a:lnTo>
                    <a:pt x="0" y="54506"/>
                  </a:lnTo>
                  <a:lnTo>
                    <a:pt x="14644" y="54506"/>
                  </a:lnTo>
                  <a:lnTo>
                    <a:pt x="14644" y="1"/>
                  </a:lnTo>
                  <a:close/>
                </a:path>
              </a:pathLst>
            </a:custGeom>
            <a:solidFill>
              <a:srgbClr val="E6E6E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2511;p58">
              <a:extLst>
                <a:ext uri="{FF2B5EF4-FFF2-40B4-BE49-F238E27FC236}">
                  <a16:creationId xmlns:a16="http://schemas.microsoft.com/office/drawing/2014/main" id="{8287CA65-8B56-587F-41B8-E01A74682F1A}"/>
                </a:ext>
              </a:extLst>
            </p:cNvPr>
            <p:cNvSpPr/>
            <p:nvPr/>
          </p:nvSpPr>
          <p:spPr>
            <a:xfrm>
              <a:off x="3981350" y="2861650"/>
              <a:ext cx="1542800" cy="1315975"/>
            </a:xfrm>
            <a:custGeom>
              <a:avLst/>
              <a:gdLst/>
              <a:ahLst/>
              <a:cxnLst/>
              <a:rect l="l" t="t" r="r" b="b"/>
              <a:pathLst>
                <a:path w="61712" h="52639" extrusionOk="0">
                  <a:moveTo>
                    <a:pt x="0" y="1"/>
                  </a:moveTo>
                  <a:lnTo>
                    <a:pt x="0" y="52638"/>
                  </a:lnTo>
                  <a:lnTo>
                    <a:pt x="61711" y="52638"/>
                  </a:lnTo>
                  <a:lnTo>
                    <a:pt x="61711"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2512;p58">
              <a:extLst>
                <a:ext uri="{FF2B5EF4-FFF2-40B4-BE49-F238E27FC236}">
                  <a16:creationId xmlns:a16="http://schemas.microsoft.com/office/drawing/2014/main" id="{6A87C9BA-0023-6728-0809-80205C5BB788}"/>
                </a:ext>
              </a:extLst>
            </p:cNvPr>
            <p:cNvSpPr/>
            <p:nvPr/>
          </p:nvSpPr>
          <p:spPr>
            <a:xfrm>
              <a:off x="4028875" y="2920025"/>
              <a:ext cx="1447725" cy="360300"/>
            </a:xfrm>
            <a:custGeom>
              <a:avLst/>
              <a:gdLst/>
              <a:ahLst/>
              <a:cxnLst/>
              <a:rect l="l" t="t" r="r" b="b"/>
              <a:pathLst>
                <a:path w="57909" h="14412" extrusionOk="0">
                  <a:moveTo>
                    <a:pt x="1" y="1"/>
                  </a:moveTo>
                  <a:lnTo>
                    <a:pt x="1" y="14411"/>
                  </a:lnTo>
                  <a:lnTo>
                    <a:pt x="57909" y="14411"/>
                  </a:lnTo>
                  <a:lnTo>
                    <a:pt x="57909" y="1"/>
                  </a:lnTo>
                  <a:close/>
                </a:path>
              </a:pathLst>
            </a:custGeom>
            <a:solidFill>
              <a:srgbClr val="E6E6E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2513;p58">
              <a:extLst>
                <a:ext uri="{FF2B5EF4-FFF2-40B4-BE49-F238E27FC236}">
                  <a16:creationId xmlns:a16="http://schemas.microsoft.com/office/drawing/2014/main" id="{5ED18640-4DB8-177B-D5F6-2141E619EA8F}"/>
                </a:ext>
              </a:extLst>
            </p:cNvPr>
            <p:cNvSpPr/>
            <p:nvPr/>
          </p:nvSpPr>
          <p:spPr>
            <a:xfrm>
              <a:off x="4527575" y="2908350"/>
              <a:ext cx="450350" cy="123450"/>
            </a:xfrm>
            <a:custGeom>
              <a:avLst/>
              <a:gdLst/>
              <a:ahLst/>
              <a:cxnLst/>
              <a:rect l="l" t="t" r="r" b="b"/>
              <a:pathLst>
                <a:path w="18014" h="4938" extrusionOk="0">
                  <a:moveTo>
                    <a:pt x="0" y="1"/>
                  </a:moveTo>
                  <a:cubicBezTo>
                    <a:pt x="1635" y="3170"/>
                    <a:pt x="3903" y="4938"/>
                    <a:pt x="6271" y="4938"/>
                  </a:cubicBezTo>
                  <a:lnTo>
                    <a:pt x="11742" y="4938"/>
                  </a:lnTo>
                  <a:cubicBezTo>
                    <a:pt x="14110" y="4938"/>
                    <a:pt x="16379" y="3170"/>
                    <a:pt x="18013" y="1"/>
                  </a:cubicBez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2514;p58">
              <a:extLst>
                <a:ext uri="{FF2B5EF4-FFF2-40B4-BE49-F238E27FC236}">
                  <a16:creationId xmlns:a16="http://schemas.microsoft.com/office/drawing/2014/main" id="{707A607C-2915-CE2A-E45F-440654803C64}"/>
                </a:ext>
              </a:extLst>
            </p:cNvPr>
            <p:cNvSpPr/>
            <p:nvPr/>
          </p:nvSpPr>
          <p:spPr>
            <a:xfrm>
              <a:off x="5399025" y="4101700"/>
              <a:ext cx="125125" cy="122625"/>
            </a:xfrm>
            <a:custGeom>
              <a:avLst/>
              <a:gdLst/>
              <a:ahLst/>
              <a:cxnLst/>
              <a:rect l="l" t="t" r="r" b="b"/>
              <a:pathLst>
                <a:path w="5005" h="4905" extrusionOk="0">
                  <a:moveTo>
                    <a:pt x="1" y="1"/>
                  </a:moveTo>
                  <a:lnTo>
                    <a:pt x="2569" y="4904"/>
                  </a:lnTo>
                  <a:lnTo>
                    <a:pt x="5004" y="4904"/>
                  </a:lnTo>
                  <a:lnTo>
                    <a:pt x="5004"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2515;p58">
              <a:extLst>
                <a:ext uri="{FF2B5EF4-FFF2-40B4-BE49-F238E27FC236}">
                  <a16:creationId xmlns:a16="http://schemas.microsoft.com/office/drawing/2014/main" id="{227AF13F-9A65-906E-BC32-CD8BED21A564}"/>
                </a:ext>
              </a:extLst>
            </p:cNvPr>
            <p:cNvSpPr/>
            <p:nvPr/>
          </p:nvSpPr>
          <p:spPr>
            <a:xfrm>
              <a:off x="4028875" y="3338675"/>
              <a:ext cx="1447725" cy="361100"/>
            </a:xfrm>
            <a:custGeom>
              <a:avLst/>
              <a:gdLst/>
              <a:ahLst/>
              <a:cxnLst/>
              <a:rect l="l" t="t" r="r" b="b"/>
              <a:pathLst>
                <a:path w="57909" h="14444" extrusionOk="0">
                  <a:moveTo>
                    <a:pt x="1" y="0"/>
                  </a:moveTo>
                  <a:lnTo>
                    <a:pt x="1" y="14444"/>
                  </a:lnTo>
                  <a:lnTo>
                    <a:pt x="57909" y="14444"/>
                  </a:lnTo>
                  <a:lnTo>
                    <a:pt x="57909" y="0"/>
                  </a:lnTo>
                  <a:close/>
                </a:path>
              </a:pathLst>
            </a:custGeom>
            <a:solidFill>
              <a:srgbClr val="E6E6E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2516;p58">
              <a:extLst>
                <a:ext uri="{FF2B5EF4-FFF2-40B4-BE49-F238E27FC236}">
                  <a16:creationId xmlns:a16="http://schemas.microsoft.com/office/drawing/2014/main" id="{8278C36C-3E81-224E-81BA-EC0E063F4BA5}"/>
                </a:ext>
              </a:extLst>
            </p:cNvPr>
            <p:cNvSpPr/>
            <p:nvPr/>
          </p:nvSpPr>
          <p:spPr>
            <a:xfrm>
              <a:off x="4527575" y="3327825"/>
              <a:ext cx="450350" cy="123450"/>
            </a:xfrm>
            <a:custGeom>
              <a:avLst/>
              <a:gdLst/>
              <a:ahLst/>
              <a:cxnLst/>
              <a:rect l="l" t="t" r="r" b="b"/>
              <a:pathLst>
                <a:path w="18014" h="4938" extrusionOk="0">
                  <a:moveTo>
                    <a:pt x="0" y="0"/>
                  </a:moveTo>
                  <a:cubicBezTo>
                    <a:pt x="1635" y="3169"/>
                    <a:pt x="3903" y="4937"/>
                    <a:pt x="6271" y="4937"/>
                  </a:cubicBezTo>
                  <a:lnTo>
                    <a:pt x="11742" y="4937"/>
                  </a:lnTo>
                  <a:cubicBezTo>
                    <a:pt x="14110" y="4937"/>
                    <a:pt x="16379" y="3136"/>
                    <a:pt x="18013" y="0"/>
                  </a:cubicBez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2517;p58">
              <a:extLst>
                <a:ext uri="{FF2B5EF4-FFF2-40B4-BE49-F238E27FC236}">
                  <a16:creationId xmlns:a16="http://schemas.microsoft.com/office/drawing/2014/main" id="{E76709F8-747E-B95F-A6BF-F1E3C561DC6C}"/>
                </a:ext>
              </a:extLst>
            </p:cNvPr>
            <p:cNvSpPr/>
            <p:nvPr/>
          </p:nvSpPr>
          <p:spPr>
            <a:xfrm>
              <a:off x="4028875" y="3758125"/>
              <a:ext cx="1447725" cy="361125"/>
            </a:xfrm>
            <a:custGeom>
              <a:avLst/>
              <a:gdLst/>
              <a:ahLst/>
              <a:cxnLst/>
              <a:rect l="l" t="t" r="r" b="b"/>
              <a:pathLst>
                <a:path w="57909" h="14445" extrusionOk="0">
                  <a:moveTo>
                    <a:pt x="1" y="1"/>
                  </a:moveTo>
                  <a:lnTo>
                    <a:pt x="1" y="14444"/>
                  </a:lnTo>
                  <a:lnTo>
                    <a:pt x="57909" y="14444"/>
                  </a:lnTo>
                  <a:lnTo>
                    <a:pt x="57909" y="1"/>
                  </a:lnTo>
                  <a:close/>
                </a:path>
              </a:pathLst>
            </a:custGeom>
            <a:solidFill>
              <a:srgbClr val="E6E6E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2518;p58">
              <a:extLst>
                <a:ext uri="{FF2B5EF4-FFF2-40B4-BE49-F238E27FC236}">
                  <a16:creationId xmlns:a16="http://schemas.microsoft.com/office/drawing/2014/main" id="{09365547-EF3B-D84D-99E5-6425BC0B3C41}"/>
                </a:ext>
              </a:extLst>
            </p:cNvPr>
            <p:cNvSpPr/>
            <p:nvPr/>
          </p:nvSpPr>
          <p:spPr>
            <a:xfrm>
              <a:off x="4527575" y="3747300"/>
              <a:ext cx="450350" cy="122600"/>
            </a:xfrm>
            <a:custGeom>
              <a:avLst/>
              <a:gdLst/>
              <a:ahLst/>
              <a:cxnLst/>
              <a:rect l="l" t="t" r="r" b="b"/>
              <a:pathLst>
                <a:path w="18014" h="4904" extrusionOk="0">
                  <a:moveTo>
                    <a:pt x="0" y="0"/>
                  </a:moveTo>
                  <a:cubicBezTo>
                    <a:pt x="1635" y="3136"/>
                    <a:pt x="3903" y="4904"/>
                    <a:pt x="6271" y="4904"/>
                  </a:cubicBezTo>
                  <a:lnTo>
                    <a:pt x="11742" y="4904"/>
                  </a:lnTo>
                  <a:cubicBezTo>
                    <a:pt x="14110" y="4904"/>
                    <a:pt x="16379" y="3136"/>
                    <a:pt x="18013" y="0"/>
                  </a:cubicBez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2519;p58">
              <a:extLst>
                <a:ext uri="{FF2B5EF4-FFF2-40B4-BE49-F238E27FC236}">
                  <a16:creationId xmlns:a16="http://schemas.microsoft.com/office/drawing/2014/main" id="{4514820D-20A9-6C22-68D8-FE2DB7984B64}"/>
                </a:ext>
              </a:extLst>
            </p:cNvPr>
            <p:cNvSpPr/>
            <p:nvPr/>
          </p:nvSpPr>
          <p:spPr>
            <a:xfrm>
              <a:off x="2003275" y="1138750"/>
              <a:ext cx="1396850" cy="1413550"/>
            </a:xfrm>
            <a:custGeom>
              <a:avLst/>
              <a:gdLst/>
              <a:ahLst/>
              <a:cxnLst/>
              <a:rect l="l" t="t" r="r" b="b"/>
              <a:pathLst>
                <a:path w="55874" h="56542" extrusionOk="0">
                  <a:moveTo>
                    <a:pt x="0" y="1"/>
                  </a:moveTo>
                  <a:lnTo>
                    <a:pt x="0" y="56541"/>
                  </a:lnTo>
                  <a:lnTo>
                    <a:pt x="55873" y="56541"/>
                  </a:lnTo>
                  <a:lnTo>
                    <a:pt x="55873" y="1"/>
                  </a:lnTo>
                  <a:close/>
                </a:path>
              </a:pathLst>
            </a:custGeom>
            <a:solidFill>
              <a:srgbClr val="E6E6E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2520;p58">
              <a:extLst>
                <a:ext uri="{FF2B5EF4-FFF2-40B4-BE49-F238E27FC236}">
                  <a16:creationId xmlns:a16="http://schemas.microsoft.com/office/drawing/2014/main" id="{1BD797DD-5586-E419-AC10-386FAF24AB19}"/>
                </a:ext>
              </a:extLst>
            </p:cNvPr>
            <p:cNvSpPr/>
            <p:nvPr/>
          </p:nvSpPr>
          <p:spPr>
            <a:xfrm>
              <a:off x="1905700" y="1138750"/>
              <a:ext cx="1468575" cy="1413550"/>
            </a:xfrm>
            <a:custGeom>
              <a:avLst/>
              <a:gdLst/>
              <a:ahLst/>
              <a:cxnLst/>
              <a:rect l="l" t="t" r="r" b="b"/>
              <a:pathLst>
                <a:path w="58743" h="56542" extrusionOk="0">
                  <a:moveTo>
                    <a:pt x="0" y="1"/>
                  </a:moveTo>
                  <a:lnTo>
                    <a:pt x="0" y="56541"/>
                  </a:lnTo>
                  <a:lnTo>
                    <a:pt x="58742" y="56541"/>
                  </a:lnTo>
                  <a:lnTo>
                    <a:pt x="58742"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2521;p58">
              <a:extLst>
                <a:ext uri="{FF2B5EF4-FFF2-40B4-BE49-F238E27FC236}">
                  <a16:creationId xmlns:a16="http://schemas.microsoft.com/office/drawing/2014/main" id="{2CBED906-C8BE-520A-E4DA-851CF4E7B32A}"/>
                </a:ext>
              </a:extLst>
            </p:cNvPr>
            <p:cNvSpPr/>
            <p:nvPr/>
          </p:nvSpPr>
          <p:spPr>
            <a:xfrm>
              <a:off x="2029125" y="1261350"/>
              <a:ext cx="1222550" cy="1168350"/>
            </a:xfrm>
            <a:custGeom>
              <a:avLst/>
              <a:gdLst/>
              <a:ahLst/>
              <a:cxnLst/>
              <a:rect l="l" t="t" r="r" b="b"/>
              <a:pathLst>
                <a:path w="48902" h="46734" extrusionOk="0">
                  <a:moveTo>
                    <a:pt x="0" y="0"/>
                  </a:moveTo>
                  <a:lnTo>
                    <a:pt x="0" y="46734"/>
                  </a:lnTo>
                  <a:lnTo>
                    <a:pt x="48902" y="46734"/>
                  </a:lnTo>
                  <a:lnTo>
                    <a:pt x="48902"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2522;p58">
              <a:extLst>
                <a:ext uri="{FF2B5EF4-FFF2-40B4-BE49-F238E27FC236}">
                  <a16:creationId xmlns:a16="http://schemas.microsoft.com/office/drawing/2014/main" id="{1771AC76-4626-A926-5327-680ED754CF45}"/>
                </a:ext>
              </a:extLst>
            </p:cNvPr>
            <p:cNvSpPr/>
            <p:nvPr/>
          </p:nvSpPr>
          <p:spPr>
            <a:xfrm>
              <a:off x="2295150" y="1412700"/>
              <a:ext cx="690500" cy="865650"/>
            </a:xfrm>
            <a:custGeom>
              <a:avLst/>
              <a:gdLst/>
              <a:ahLst/>
              <a:cxnLst/>
              <a:rect l="l" t="t" r="r" b="b"/>
              <a:pathLst>
                <a:path w="27620" h="34626" extrusionOk="0">
                  <a:moveTo>
                    <a:pt x="5171" y="9791"/>
                  </a:moveTo>
                  <a:lnTo>
                    <a:pt x="5171" y="24835"/>
                  </a:lnTo>
                  <a:cubicBezTo>
                    <a:pt x="1034" y="20665"/>
                    <a:pt x="1034" y="13927"/>
                    <a:pt x="5171" y="9791"/>
                  </a:cubicBezTo>
                  <a:close/>
                  <a:moveTo>
                    <a:pt x="22450" y="9791"/>
                  </a:moveTo>
                  <a:cubicBezTo>
                    <a:pt x="26586" y="13961"/>
                    <a:pt x="26586" y="20665"/>
                    <a:pt x="22450" y="24835"/>
                  </a:cubicBezTo>
                  <a:lnTo>
                    <a:pt x="22450" y="9791"/>
                  </a:lnTo>
                  <a:close/>
                  <a:moveTo>
                    <a:pt x="13823" y="1"/>
                  </a:moveTo>
                  <a:cubicBezTo>
                    <a:pt x="13702" y="1"/>
                    <a:pt x="13577" y="51"/>
                    <a:pt x="13477" y="151"/>
                  </a:cubicBezTo>
                  <a:lnTo>
                    <a:pt x="4503" y="9124"/>
                  </a:lnTo>
                  <a:cubicBezTo>
                    <a:pt x="0" y="13660"/>
                    <a:pt x="0" y="20966"/>
                    <a:pt x="4503" y="25502"/>
                  </a:cubicBezTo>
                  <a:lnTo>
                    <a:pt x="13477" y="34475"/>
                  </a:lnTo>
                  <a:cubicBezTo>
                    <a:pt x="13577" y="34575"/>
                    <a:pt x="13693" y="34625"/>
                    <a:pt x="13810" y="34625"/>
                  </a:cubicBezTo>
                  <a:cubicBezTo>
                    <a:pt x="13927" y="34625"/>
                    <a:pt x="14044" y="34575"/>
                    <a:pt x="14144" y="34475"/>
                  </a:cubicBezTo>
                  <a:lnTo>
                    <a:pt x="23117" y="25502"/>
                  </a:lnTo>
                  <a:cubicBezTo>
                    <a:pt x="27620" y="20966"/>
                    <a:pt x="27620" y="13660"/>
                    <a:pt x="23117" y="9124"/>
                  </a:cubicBezTo>
                  <a:lnTo>
                    <a:pt x="14144" y="151"/>
                  </a:lnTo>
                  <a:cubicBezTo>
                    <a:pt x="14060" y="51"/>
                    <a:pt x="13944" y="1"/>
                    <a:pt x="13823" y="1"/>
                  </a:cubicBez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2523;p58">
              <a:extLst>
                <a:ext uri="{FF2B5EF4-FFF2-40B4-BE49-F238E27FC236}">
                  <a16:creationId xmlns:a16="http://schemas.microsoft.com/office/drawing/2014/main" id="{93AA4227-C787-37A6-FE94-DC806A47BEA8}"/>
                </a:ext>
              </a:extLst>
            </p:cNvPr>
            <p:cNvSpPr/>
            <p:nvPr/>
          </p:nvSpPr>
          <p:spPr>
            <a:xfrm>
              <a:off x="4605950" y="2375475"/>
              <a:ext cx="825625" cy="460350"/>
            </a:xfrm>
            <a:custGeom>
              <a:avLst/>
              <a:gdLst/>
              <a:ahLst/>
              <a:cxnLst/>
              <a:rect l="l" t="t" r="r" b="b"/>
              <a:pathLst>
                <a:path w="33025" h="18414" extrusionOk="0">
                  <a:moveTo>
                    <a:pt x="1802" y="1"/>
                  </a:moveTo>
                  <a:lnTo>
                    <a:pt x="1" y="18414"/>
                  </a:lnTo>
                  <a:lnTo>
                    <a:pt x="31223" y="18414"/>
                  </a:lnTo>
                  <a:lnTo>
                    <a:pt x="33024" y="1"/>
                  </a:lnTo>
                  <a:close/>
                </a:path>
              </a:pathLst>
            </a:custGeom>
            <a:solidFill>
              <a:srgbClr val="E6E6E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2524;p58">
              <a:extLst>
                <a:ext uri="{FF2B5EF4-FFF2-40B4-BE49-F238E27FC236}">
                  <a16:creationId xmlns:a16="http://schemas.microsoft.com/office/drawing/2014/main" id="{EE4E190A-AD40-86B7-7716-05112EE9C5F7}"/>
                </a:ext>
              </a:extLst>
            </p:cNvPr>
            <p:cNvSpPr/>
            <p:nvPr/>
          </p:nvSpPr>
          <p:spPr>
            <a:xfrm>
              <a:off x="4602625" y="2835800"/>
              <a:ext cx="783925" cy="25875"/>
            </a:xfrm>
            <a:custGeom>
              <a:avLst/>
              <a:gdLst/>
              <a:ahLst/>
              <a:cxnLst/>
              <a:rect l="l" t="t" r="r" b="b"/>
              <a:pathLst>
                <a:path w="31357" h="1035" extrusionOk="0">
                  <a:moveTo>
                    <a:pt x="134" y="1"/>
                  </a:moveTo>
                  <a:lnTo>
                    <a:pt x="0" y="1035"/>
                  </a:lnTo>
                  <a:lnTo>
                    <a:pt x="31256" y="1035"/>
                  </a:lnTo>
                  <a:lnTo>
                    <a:pt x="31356" y="1"/>
                  </a:lnTo>
                  <a:close/>
                </a:path>
              </a:pathLst>
            </a:custGeom>
            <a:solidFill>
              <a:srgbClr val="E6E6E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2525;p58">
              <a:extLst>
                <a:ext uri="{FF2B5EF4-FFF2-40B4-BE49-F238E27FC236}">
                  <a16:creationId xmlns:a16="http://schemas.microsoft.com/office/drawing/2014/main" id="{45679CBD-DAD9-744B-0B04-DD050789F3B3}"/>
                </a:ext>
              </a:extLst>
            </p:cNvPr>
            <p:cNvSpPr/>
            <p:nvPr/>
          </p:nvSpPr>
          <p:spPr>
            <a:xfrm>
              <a:off x="4581775" y="2375475"/>
              <a:ext cx="825625" cy="460350"/>
            </a:xfrm>
            <a:custGeom>
              <a:avLst/>
              <a:gdLst/>
              <a:ahLst/>
              <a:cxnLst/>
              <a:rect l="l" t="t" r="r" b="b"/>
              <a:pathLst>
                <a:path w="33025" h="18414" extrusionOk="0">
                  <a:moveTo>
                    <a:pt x="1802" y="1"/>
                  </a:moveTo>
                  <a:lnTo>
                    <a:pt x="1" y="18414"/>
                  </a:lnTo>
                  <a:lnTo>
                    <a:pt x="31223" y="18414"/>
                  </a:lnTo>
                  <a:lnTo>
                    <a:pt x="33024"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2526;p58">
              <a:extLst>
                <a:ext uri="{FF2B5EF4-FFF2-40B4-BE49-F238E27FC236}">
                  <a16:creationId xmlns:a16="http://schemas.microsoft.com/office/drawing/2014/main" id="{294B93DA-5A43-BC5C-F17E-0A5B605873B8}"/>
                </a:ext>
              </a:extLst>
            </p:cNvPr>
            <p:cNvSpPr/>
            <p:nvPr/>
          </p:nvSpPr>
          <p:spPr>
            <a:xfrm>
              <a:off x="4609300" y="2396225"/>
              <a:ext cx="770575" cy="418750"/>
            </a:xfrm>
            <a:custGeom>
              <a:avLst/>
              <a:gdLst/>
              <a:ahLst/>
              <a:cxnLst/>
              <a:rect l="l" t="t" r="r" b="b"/>
              <a:pathLst>
                <a:path w="30823" h="16750" extrusionOk="0">
                  <a:moveTo>
                    <a:pt x="1650" y="0"/>
                  </a:moveTo>
                  <a:cubicBezTo>
                    <a:pt x="1474" y="0"/>
                    <a:pt x="1335" y="155"/>
                    <a:pt x="1335" y="338"/>
                  </a:cubicBezTo>
                  <a:lnTo>
                    <a:pt x="0" y="16316"/>
                  </a:lnTo>
                  <a:cubicBezTo>
                    <a:pt x="0" y="16550"/>
                    <a:pt x="167" y="16750"/>
                    <a:pt x="401" y="16750"/>
                  </a:cubicBezTo>
                  <a:lnTo>
                    <a:pt x="29088" y="16750"/>
                  </a:lnTo>
                  <a:cubicBezTo>
                    <a:pt x="29321" y="16750"/>
                    <a:pt x="29488" y="16583"/>
                    <a:pt x="29521" y="16383"/>
                  </a:cubicBezTo>
                  <a:lnTo>
                    <a:pt x="30822" y="405"/>
                  </a:lnTo>
                  <a:cubicBezTo>
                    <a:pt x="30822" y="171"/>
                    <a:pt x="30656" y="4"/>
                    <a:pt x="30422" y="4"/>
                  </a:cubicBezTo>
                  <a:lnTo>
                    <a:pt x="1702" y="4"/>
                  </a:lnTo>
                  <a:cubicBezTo>
                    <a:pt x="1684" y="2"/>
                    <a:pt x="1667" y="0"/>
                    <a:pt x="1650"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2527;p58">
              <a:extLst>
                <a:ext uri="{FF2B5EF4-FFF2-40B4-BE49-F238E27FC236}">
                  <a16:creationId xmlns:a16="http://schemas.microsoft.com/office/drawing/2014/main" id="{D7710185-543F-A6FE-B16A-304D649E7E9F}"/>
                </a:ext>
              </a:extLst>
            </p:cNvPr>
            <p:cNvSpPr/>
            <p:nvPr/>
          </p:nvSpPr>
          <p:spPr>
            <a:xfrm>
              <a:off x="4296575" y="2835800"/>
              <a:ext cx="863150" cy="25875"/>
            </a:xfrm>
            <a:custGeom>
              <a:avLst/>
              <a:gdLst/>
              <a:ahLst/>
              <a:cxnLst/>
              <a:rect l="l" t="t" r="r" b="b"/>
              <a:pathLst>
                <a:path w="34526" h="1035" extrusionOk="0">
                  <a:moveTo>
                    <a:pt x="134" y="1"/>
                  </a:moveTo>
                  <a:lnTo>
                    <a:pt x="0" y="1035"/>
                  </a:lnTo>
                  <a:lnTo>
                    <a:pt x="34392" y="1035"/>
                  </a:lnTo>
                  <a:lnTo>
                    <a:pt x="34525"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528;p58">
              <a:extLst>
                <a:ext uri="{FF2B5EF4-FFF2-40B4-BE49-F238E27FC236}">
                  <a16:creationId xmlns:a16="http://schemas.microsoft.com/office/drawing/2014/main" id="{25E583ED-CC9D-508D-2685-DE09C01123B4}"/>
                </a:ext>
              </a:extLst>
            </p:cNvPr>
            <p:cNvSpPr/>
            <p:nvPr/>
          </p:nvSpPr>
          <p:spPr>
            <a:xfrm>
              <a:off x="4109775" y="1153775"/>
              <a:ext cx="1466075" cy="974875"/>
            </a:xfrm>
            <a:custGeom>
              <a:avLst/>
              <a:gdLst/>
              <a:ahLst/>
              <a:cxnLst/>
              <a:rect l="l" t="t" r="r" b="b"/>
              <a:pathLst>
                <a:path w="58643" h="38995" extrusionOk="0">
                  <a:moveTo>
                    <a:pt x="0" y="0"/>
                  </a:moveTo>
                  <a:lnTo>
                    <a:pt x="0" y="38995"/>
                  </a:lnTo>
                  <a:lnTo>
                    <a:pt x="58642" y="38995"/>
                  </a:lnTo>
                  <a:lnTo>
                    <a:pt x="58642" y="0"/>
                  </a:lnTo>
                  <a:close/>
                </a:path>
              </a:pathLst>
            </a:custGeom>
            <a:solidFill>
              <a:srgbClr val="E6E6E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529;p58">
              <a:extLst>
                <a:ext uri="{FF2B5EF4-FFF2-40B4-BE49-F238E27FC236}">
                  <a16:creationId xmlns:a16="http://schemas.microsoft.com/office/drawing/2014/main" id="{1E922442-E9DB-348A-F0BD-51AA99D03544}"/>
                </a:ext>
              </a:extLst>
            </p:cNvPr>
            <p:cNvSpPr/>
            <p:nvPr/>
          </p:nvSpPr>
          <p:spPr>
            <a:xfrm>
              <a:off x="4077250" y="1153775"/>
              <a:ext cx="1466075" cy="974875"/>
            </a:xfrm>
            <a:custGeom>
              <a:avLst/>
              <a:gdLst/>
              <a:ahLst/>
              <a:cxnLst/>
              <a:rect l="l" t="t" r="r" b="b"/>
              <a:pathLst>
                <a:path w="58643" h="38995" extrusionOk="0">
                  <a:moveTo>
                    <a:pt x="0" y="0"/>
                  </a:moveTo>
                  <a:lnTo>
                    <a:pt x="0" y="38995"/>
                  </a:lnTo>
                  <a:lnTo>
                    <a:pt x="58642" y="38995"/>
                  </a:lnTo>
                  <a:lnTo>
                    <a:pt x="58642" y="0"/>
                  </a:lnTo>
                  <a:close/>
                </a:path>
              </a:pathLst>
            </a:custGeom>
            <a:solidFill>
              <a:srgbClr val="F5F5F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530;p58">
              <a:extLst>
                <a:ext uri="{FF2B5EF4-FFF2-40B4-BE49-F238E27FC236}">
                  <a16:creationId xmlns:a16="http://schemas.microsoft.com/office/drawing/2014/main" id="{6ABED9D0-D197-DB3F-6D0B-B02ABC068FCC}"/>
                </a:ext>
              </a:extLst>
            </p:cNvPr>
            <p:cNvSpPr/>
            <p:nvPr/>
          </p:nvSpPr>
          <p:spPr>
            <a:xfrm>
              <a:off x="4135625" y="1219650"/>
              <a:ext cx="1349325" cy="843125"/>
            </a:xfrm>
            <a:custGeom>
              <a:avLst/>
              <a:gdLst/>
              <a:ahLst/>
              <a:cxnLst/>
              <a:rect l="l" t="t" r="r" b="b"/>
              <a:pathLst>
                <a:path w="53973" h="33725" extrusionOk="0">
                  <a:moveTo>
                    <a:pt x="0" y="0"/>
                  </a:moveTo>
                  <a:lnTo>
                    <a:pt x="0" y="33725"/>
                  </a:lnTo>
                  <a:lnTo>
                    <a:pt x="53972" y="33725"/>
                  </a:lnTo>
                  <a:lnTo>
                    <a:pt x="53972"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2531;p58">
              <a:extLst>
                <a:ext uri="{FF2B5EF4-FFF2-40B4-BE49-F238E27FC236}">
                  <a16:creationId xmlns:a16="http://schemas.microsoft.com/office/drawing/2014/main" id="{8CC15130-B04D-6F14-4672-9D35D80CD089}"/>
                </a:ext>
              </a:extLst>
            </p:cNvPr>
            <p:cNvSpPr/>
            <p:nvPr/>
          </p:nvSpPr>
          <p:spPr>
            <a:xfrm>
              <a:off x="4135625" y="1219650"/>
              <a:ext cx="25050" cy="843125"/>
            </a:xfrm>
            <a:custGeom>
              <a:avLst/>
              <a:gdLst/>
              <a:ahLst/>
              <a:cxnLst/>
              <a:rect l="l" t="t" r="r" b="b"/>
              <a:pathLst>
                <a:path w="1002" h="33725" extrusionOk="0">
                  <a:moveTo>
                    <a:pt x="0" y="0"/>
                  </a:moveTo>
                  <a:lnTo>
                    <a:pt x="0" y="33725"/>
                  </a:lnTo>
                  <a:lnTo>
                    <a:pt x="1001" y="33725"/>
                  </a:lnTo>
                  <a:lnTo>
                    <a:pt x="1001" y="0"/>
                  </a:lnTo>
                  <a:close/>
                </a:path>
              </a:pathLst>
            </a:custGeom>
            <a:solidFill>
              <a:srgbClr val="E6E6E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2532;p58">
              <a:extLst>
                <a:ext uri="{FF2B5EF4-FFF2-40B4-BE49-F238E27FC236}">
                  <a16:creationId xmlns:a16="http://schemas.microsoft.com/office/drawing/2014/main" id="{2369B752-7DB6-0B9E-E846-2BB946B62E2A}"/>
                </a:ext>
              </a:extLst>
            </p:cNvPr>
            <p:cNvSpPr/>
            <p:nvPr/>
          </p:nvSpPr>
          <p:spPr>
            <a:xfrm>
              <a:off x="4101425" y="1862600"/>
              <a:ext cx="1417700" cy="88425"/>
            </a:xfrm>
            <a:custGeom>
              <a:avLst/>
              <a:gdLst/>
              <a:ahLst/>
              <a:cxnLst/>
              <a:rect l="l" t="t" r="r" b="b"/>
              <a:pathLst>
                <a:path w="56708" h="3537" extrusionOk="0">
                  <a:moveTo>
                    <a:pt x="1" y="1"/>
                  </a:moveTo>
                  <a:lnTo>
                    <a:pt x="1" y="3537"/>
                  </a:lnTo>
                  <a:lnTo>
                    <a:pt x="56708" y="3537"/>
                  </a:lnTo>
                  <a:lnTo>
                    <a:pt x="56708" y="1"/>
                  </a:lnTo>
                  <a:close/>
                </a:path>
              </a:pathLst>
            </a:custGeom>
            <a:solidFill>
              <a:srgbClr val="F5F5F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2533;p58">
              <a:extLst>
                <a:ext uri="{FF2B5EF4-FFF2-40B4-BE49-F238E27FC236}">
                  <a16:creationId xmlns:a16="http://schemas.microsoft.com/office/drawing/2014/main" id="{464016E1-9439-EC47-8913-981F476AF555}"/>
                </a:ext>
              </a:extLst>
            </p:cNvPr>
            <p:cNvSpPr/>
            <p:nvPr/>
          </p:nvSpPr>
          <p:spPr>
            <a:xfrm>
              <a:off x="4004700" y="1045350"/>
              <a:ext cx="1643700" cy="18375"/>
            </a:xfrm>
            <a:custGeom>
              <a:avLst/>
              <a:gdLst/>
              <a:ahLst/>
              <a:cxnLst/>
              <a:rect l="l" t="t" r="r" b="b"/>
              <a:pathLst>
                <a:path w="65748" h="735" extrusionOk="0">
                  <a:moveTo>
                    <a:pt x="367" y="1"/>
                  </a:moveTo>
                  <a:cubicBezTo>
                    <a:pt x="167" y="1"/>
                    <a:pt x="0" y="168"/>
                    <a:pt x="0" y="368"/>
                  </a:cubicBezTo>
                  <a:cubicBezTo>
                    <a:pt x="0" y="568"/>
                    <a:pt x="167" y="735"/>
                    <a:pt x="367" y="735"/>
                  </a:cubicBezTo>
                  <a:lnTo>
                    <a:pt x="65414" y="735"/>
                  </a:lnTo>
                  <a:cubicBezTo>
                    <a:pt x="65614" y="735"/>
                    <a:pt x="65747" y="568"/>
                    <a:pt x="65747" y="368"/>
                  </a:cubicBezTo>
                  <a:cubicBezTo>
                    <a:pt x="65747" y="168"/>
                    <a:pt x="65614" y="1"/>
                    <a:pt x="65414" y="1"/>
                  </a:cubicBezTo>
                  <a:close/>
                </a:path>
              </a:pathLst>
            </a:custGeom>
            <a:solidFill>
              <a:srgbClr val="E6E6E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2534;p58">
              <a:extLst>
                <a:ext uri="{FF2B5EF4-FFF2-40B4-BE49-F238E27FC236}">
                  <a16:creationId xmlns:a16="http://schemas.microsoft.com/office/drawing/2014/main" id="{DC55CDBA-8713-FED8-F0AD-AE81019BCF40}"/>
                </a:ext>
              </a:extLst>
            </p:cNvPr>
            <p:cNvSpPr/>
            <p:nvPr/>
          </p:nvSpPr>
          <p:spPr>
            <a:xfrm>
              <a:off x="3982175" y="1032025"/>
              <a:ext cx="52575" cy="45025"/>
            </a:xfrm>
            <a:custGeom>
              <a:avLst/>
              <a:gdLst/>
              <a:ahLst/>
              <a:cxnLst/>
              <a:rect l="l" t="t" r="r" b="b"/>
              <a:pathLst>
                <a:path w="2103" h="1801" extrusionOk="0">
                  <a:moveTo>
                    <a:pt x="901" y="0"/>
                  </a:moveTo>
                  <a:cubicBezTo>
                    <a:pt x="401" y="0"/>
                    <a:pt x="1" y="400"/>
                    <a:pt x="1" y="901"/>
                  </a:cubicBezTo>
                  <a:cubicBezTo>
                    <a:pt x="1" y="1442"/>
                    <a:pt x="443" y="1800"/>
                    <a:pt x="905" y="1800"/>
                  </a:cubicBezTo>
                  <a:cubicBezTo>
                    <a:pt x="1126" y="1800"/>
                    <a:pt x="1352" y="1718"/>
                    <a:pt x="1535" y="1534"/>
                  </a:cubicBezTo>
                  <a:cubicBezTo>
                    <a:pt x="2102" y="967"/>
                    <a:pt x="1702" y="0"/>
                    <a:pt x="901" y="0"/>
                  </a:cubicBezTo>
                  <a:close/>
                </a:path>
              </a:pathLst>
            </a:custGeom>
            <a:solidFill>
              <a:srgbClr val="E6E6E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535;p58">
              <a:extLst>
                <a:ext uri="{FF2B5EF4-FFF2-40B4-BE49-F238E27FC236}">
                  <a16:creationId xmlns:a16="http://schemas.microsoft.com/office/drawing/2014/main" id="{ED45A448-2441-8203-88F6-645AD8E4D244}"/>
                </a:ext>
              </a:extLst>
            </p:cNvPr>
            <p:cNvSpPr/>
            <p:nvPr/>
          </p:nvSpPr>
          <p:spPr>
            <a:xfrm>
              <a:off x="5551625" y="1054525"/>
              <a:ext cx="24225" cy="50075"/>
            </a:xfrm>
            <a:custGeom>
              <a:avLst/>
              <a:gdLst/>
              <a:ahLst/>
              <a:cxnLst/>
              <a:rect l="l" t="t" r="r" b="b"/>
              <a:pathLst>
                <a:path w="969" h="2003" extrusionOk="0">
                  <a:moveTo>
                    <a:pt x="468" y="1"/>
                  </a:moveTo>
                  <a:cubicBezTo>
                    <a:pt x="201" y="1"/>
                    <a:pt x="1" y="234"/>
                    <a:pt x="1" y="501"/>
                  </a:cubicBezTo>
                  <a:lnTo>
                    <a:pt x="1" y="1535"/>
                  </a:lnTo>
                  <a:cubicBezTo>
                    <a:pt x="1" y="1802"/>
                    <a:pt x="201" y="2002"/>
                    <a:pt x="468" y="2002"/>
                  </a:cubicBezTo>
                  <a:cubicBezTo>
                    <a:pt x="735" y="2002"/>
                    <a:pt x="968" y="1802"/>
                    <a:pt x="968" y="1535"/>
                  </a:cubicBezTo>
                  <a:lnTo>
                    <a:pt x="968" y="501"/>
                  </a:lnTo>
                  <a:cubicBezTo>
                    <a:pt x="968" y="234"/>
                    <a:pt x="735" y="1"/>
                    <a:pt x="468" y="1"/>
                  </a:cubicBezTo>
                  <a:close/>
                </a:path>
              </a:pathLst>
            </a:custGeom>
            <a:solidFill>
              <a:srgbClr val="E6E6E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536;p58">
              <a:extLst>
                <a:ext uri="{FF2B5EF4-FFF2-40B4-BE49-F238E27FC236}">
                  <a16:creationId xmlns:a16="http://schemas.microsoft.com/office/drawing/2014/main" id="{672CC5D0-AEF1-466D-713B-3651D8C06D35}"/>
                </a:ext>
              </a:extLst>
            </p:cNvPr>
            <p:cNvSpPr/>
            <p:nvPr/>
          </p:nvSpPr>
          <p:spPr>
            <a:xfrm>
              <a:off x="4136450" y="1054525"/>
              <a:ext cx="25050" cy="50150"/>
            </a:xfrm>
            <a:custGeom>
              <a:avLst/>
              <a:gdLst/>
              <a:ahLst/>
              <a:cxnLst/>
              <a:rect l="l" t="t" r="r" b="b"/>
              <a:pathLst>
                <a:path w="1002" h="2006" extrusionOk="0">
                  <a:moveTo>
                    <a:pt x="501" y="1"/>
                  </a:moveTo>
                  <a:cubicBezTo>
                    <a:pt x="234" y="1"/>
                    <a:pt x="1" y="234"/>
                    <a:pt x="1" y="501"/>
                  </a:cubicBezTo>
                  <a:lnTo>
                    <a:pt x="1" y="1535"/>
                  </a:lnTo>
                  <a:cubicBezTo>
                    <a:pt x="32" y="1785"/>
                    <a:pt x="209" y="2005"/>
                    <a:pt x="451" y="2005"/>
                  </a:cubicBezTo>
                  <a:cubicBezTo>
                    <a:pt x="467" y="2005"/>
                    <a:pt x="484" y="2004"/>
                    <a:pt x="501" y="2002"/>
                  </a:cubicBezTo>
                  <a:cubicBezTo>
                    <a:pt x="768" y="2002"/>
                    <a:pt x="968" y="1802"/>
                    <a:pt x="1002" y="1535"/>
                  </a:cubicBezTo>
                  <a:lnTo>
                    <a:pt x="1002" y="501"/>
                  </a:lnTo>
                  <a:cubicBezTo>
                    <a:pt x="1002" y="234"/>
                    <a:pt x="768" y="1"/>
                    <a:pt x="501" y="1"/>
                  </a:cubicBezTo>
                  <a:close/>
                </a:path>
              </a:pathLst>
            </a:custGeom>
            <a:solidFill>
              <a:srgbClr val="E6E6E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537;p58">
              <a:extLst>
                <a:ext uri="{FF2B5EF4-FFF2-40B4-BE49-F238E27FC236}">
                  <a16:creationId xmlns:a16="http://schemas.microsoft.com/office/drawing/2014/main" id="{B489C74D-C07F-A58E-FA9F-FECDA54767B0}"/>
                </a:ext>
              </a:extLst>
            </p:cNvPr>
            <p:cNvSpPr/>
            <p:nvPr/>
          </p:nvSpPr>
          <p:spPr>
            <a:xfrm>
              <a:off x="4016375" y="1054525"/>
              <a:ext cx="1502750" cy="946550"/>
            </a:xfrm>
            <a:custGeom>
              <a:avLst/>
              <a:gdLst/>
              <a:ahLst/>
              <a:cxnLst/>
              <a:rect l="l" t="t" r="r" b="b"/>
              <a:pathLst>
                <a:path w="60110" h="37862" extrusionOk="0">
                  <a:moveTo>
                    <a:pt x="0" y="1"/>
                  </a:moveTo>
                  <a:lnTo>
                    <a:pt x="0" y="37861"/>
                  </a:lnTo>
                  <a:lnTo>
                    <a:pt x="60110" y="37861"/>
                  </a:lnTo>
                  <a:lnTo>
                    <a:pt x="60110" y="1"/>
                  </a:lnTo>
                  <a:close/>
                </a:path>
              </a:pathLst>
            </a:custGeom>
            <a:solidFill>
              <a:srgbClr val="E0E0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538;p58">
              <a:extLst>
                <a:ext uri="{FF2B5EF4-FFF2-40B4-BE49-F238E27FC236}">
                  <a16:creationId xmlns:a16="http://schemas.microsoft.com/office/drawing/2014/main" id="{566AD968-93B3-952C-7900-D9DEAA355AB8}"/>
                </a:ext>
              </a:extLst>
            </p:cNvPr>
            <p:cNvSpPr/>
            <p:nvPr/>
          </p:nvSpPr>
          <p:spPr>
            <a:xfrm>
              <a:off x="5396525" y="1032025"/>
              <a:ext cx="52550" cy="45025"/>
            </a:xfrm>
            <a:custGeom>
              <a:avLst/>
              <a:gdLst/>
              <a:ahLst/>
              <a:cxnLst/>
              <a:rect l="l" t="t" r="r" b="b"/>
              <a:pathLst>
                <a:path w="2102" h="1801" extrusionOk="0">
                  <a:moveTo>
                    <a:pt x="901" y="0"/>
                  </a:moveTo>
                  <a:cubicBezTo>
                    <a:pt x="401" y="0"/>
                    <a:pt x="0" y="400"/>
                    <a:pt x="0" y="901"/>
                  </a:cubicBezTo>
                  <a:cubicBezTo>
                    <a:pt x="0" y="1442"/>
                    <a:pt x="443" y="1800"/>
                    <a:pt x="905" y="1800"/>
                  </a:cubicBezTo>
                  <a:cubicBezTo>
                    <a:pt x="1126" y="1800"/>
                    <a:pt x="1351" y="1718"/>
                    <a:pt x="1535" y="1534"/>
                  </a:cubicBezTo>
                  <a:cubicBezTo>
                    <a:pt x="2102" y="967"/>
                    <a:pt x="1702" y="0"/>
                    <a:pt x="901" y="0"/>
                  </a:cubicBezTo>
                  <a:close/>
                </a:path>
              </a:pathLst>
            </a:custGeom>
            <a:solidFill>
              <a:srgbClr val="E6E6E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539;p58">
              <a:extLst>
                <a:ext uri="{FF2B5EF4-FFF2-40B4-BE49-F238E27FC236}">
                  <a16:creationId xmlns:a16="http://schemas.microsoft.com/office/drawing/2014/main" id="{39D465B0-4976-89D8-0D9E-3C5FF8145166}"/>
                </a:ext>
              </a:extLst>
            </p:cNvPr>
            <p:cNvSpPr/>
            <p:nvPr/>
          </p:nvSpPr>
          <p:spPr>
            <a:xfrm>
              <a:off x="3270000" y="3111825"/>
              <a:ext cx="120125" cy="1044950"/>
            </a:xfrm>
            <a:custGeom>
              <a:avLst/>
              <a:gdLst/>
              <a:ahLst/>
              <a:cxnLst/>
              <a:rect l="l" t="t" r="r" b="b"/>
              <a:pathLst>
                <a:path w="4805" h="41798" extrusionOk="0">
                  <a:moveTo>
                    <a:pt x="1" y="1"/>
                  </a:moveTo>
                  <a:lnTo>
                    <a:pt x="1" y="41798"/>
                  </a:lnTo>
                  <a:lnTo>
                    <a:pt x="4804" y="41798"/>
                  </a:lnTo>
                  <a:lnTo>
                    <a:pt x="4804"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540;p58">
              <a:extLst>
                <a:ext uri="{FF2B5EF4-FFF2-40B4-BE49-F238E27FC236}">
                  <a16:creationId xmlns:a16="http://schemas.microsoft.com/office/drawing/2014/main" id="{BF69135C-2855-7D5A-D836-9CFAD2D6ED50}"/>
                </a:ext>
              </a:extLst>
            </p:cNvPr>
            <p:cNvSpPr/>
            <p:nvPr/>
          </p:nvSpPr>
          <p:spPr>
            <a:xfrm>
              <a:off x="1962400" y="4156750"/>
              <a:ext cx="1381850" cy="65900"/>
            </a:xfrm>
            <a:custGeom>
              <a:avLst/>
              <a:gdLst/>
              <a:ahLst/>
              <a:cxnLst/>
              <a:rect l="l" t="t" r="r" b="b"/>
              <a:pathLst>
                <a:path w="55274" h="2636" extrusionOk="0">
                  <a:moveTo>
                    <a:pt x="1" y="1"/>
                  </a:moveTo>
                  <a:lnTo>
                    <a:pt x="1" y="2636"/>
                  </a:lnTo>
                  <a:lnTo>
                    <a:pt x="55274" y="2636"/>
                  </a:lnTo>
                  <a:lnTo>
                    <a:pt x="55274" y="1"/>
                  </a:ln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541;p58">
              <a:extLst>
                <a:ext uri="{FF2B5EF4-FFF2-40B4-BE49-F238E27FC236}">
                  <a16:creationId xmlns:a16="http://schemas.microsoft.com/office/drawing/2014/main" id="{4DE2D59C-CB45-3B5E-C3BC-3C26B525384E}"/>
                </a:ext>
              </a:extLst>
            </p:cNvPr>
            <p:cNvSpPr/>
            <p:nvPr/>
          </p:nvSpPr>
          <p:spPr>
            <a:xfrm>
              <a:off x="1916550" y="3111825"/>
              <a:ext cx="1353475" cy="1044950"/>
            </a:xfrm>
            <a:custGeom>
              <a:avLst/>
              <a:gdLst/>
              <a:ahLst/>
              <a:cxnLst/>
              <a:rect l="l" t="t" r="r" b="b"/>
              <a:pathLst>
                <a:path w="54139" h="41798" extrusionOk="0">
                  <a:moveTo>
                    <a:pt x="0" y="1"/>
                  </a:moveTo>
                  <a:lnTo>
                    <a:pt x="0" y="41798"/>
                  </a:lnTo>
                  <a:lnTo>
                    <a:pt x="54139" y="41798"/>
                  </a:lnTo>
                  <a:lnTo>
                    <a:pt x="54139" y="1"/>
                  </a:lnTo>
                  <a:close/>
                </a:path>
              </a:pathLst>
            </a:custGeom>
            <a:solidFill>
              <a:srgbClr val="F5F5F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542;p58">
              <a:extLst>
                <a:ext uri="{FF2B5EF4-FFF2-40B4-BE49-F238E27FC236}">
                  <a16:creationId xmlns:a16="http://schemas.microsoft.com/office/drawing/2014/main" id="{6EBDBD6E-834F-1523-1C19-60CA59980EB0}"/>
                </a:ext>
              </a:extLst>
            </p:cNvPr>
            <p:cNvSpPr/>
            <p:nvPr/>
          </p:nvSpPr>
          <p:spPr>
            <a:xfrm>
              <a:off x="2010775" y="3240250"/>
              <a:ext cx="1164200" cy="342775"/>
            </a:xfrm>
            <a:custGeom>
              <a:avLst/>
              <a:gdLst/>
              <a:ahLst/>
              <a:cxnLst/>
              <a:rect l="l" t="t" r="r" b="b"/>
              <a:pathLst>
                <a:path w="46568" h="13711" extrusionOk="0">
                  <a:moveTo>
                    <a:pt x="2969" y="1"/>
                  </a:moveTo>
                  <a:cubicBezTo>
                    <a:pt x="1335" y="1"/>
                    <a:pt x="0" y="1335"/>
                    <a:pt x="0" y="2970"/>
                  </a:cubicBezTo>
                  <a:lnTo>
                    <a:pt x="0" y="10742"/>
                  </a:lnTo>
                  <a:cubicBezTo>
                    <a:pt x="0" y="12376"/>
                    <a:pt x="1335" y="13711"/>
                    <a:pt x="2969" y="13711"/>
                  </a:cubicBezTo>
                  <a:lnTo>
                    <a:pt x="43598" y="13711"/>
                  </a:lnTo>
                  <a:cubicBezTo>
                    <a:pt x="45233" y="13711"/>
                    <a:pt x="46567" y="12376"/>
                    <a:pt x="46567" y="10742"/>
                  </a:cubicBezTo>
                  <a:lnTo>
                    <a:pt x="46567" y="2970"/>
                  </a:lnTo>
                  <a:cubicBezTo>
                    <a:pt x="46567" y="1335"/>
                    <a:pt x="45233" y="1"/>
                    <a:pt x="43598" y="1"/>
                  </a:cubicBez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543;p58">
              <a:extLst>
                <a:ext uri="{FF2B5EF4-FFF2-40B4-BE49-F238E27FC236}">
                  <a16:creationId xmlns:a16="http://schemas.microsoft.com/office/drawing/2014/main" id="{899ADEDE-2EAD-0CC4-FC99-FFB58A45A6A5}"/>
                </a:ext>
              </a:extLst>
            </p:cNvPr>
            <p:cNvSpPr/>
            <p:nvPr/>
          </p:nvSpPr>
          <p:spPr>
            <a:xfrm>
              <a:off x="2010775" y="3685575"/>
              <a:ext cx="1164200" cy="342775"/>
            </a:xfrm>
            <a:custGeom>
              <a:avLst/>
              <a:gdLst/>
              <a:ahLst/>
              <a:cxnLst/>
              <a:rect l="l" t="t" r="r" b="b"/>
              <a:pathLst>
                <a:path w="46568" h="13711" extrusionOk="0">
                  <a:moveTo>
                    <a:pt x="2969" y="1"/>
                  </a:moveTo>
                  <a:cubicBezTo>
                    <a:pt x="1335" y="1"/>
                    <a:pt x="0" y="1302"/>
                    <a:pt x="0" y="2970"/>
                  </a:cubicBezTo>
                  <a:lnTo>
                    <a:pt x="0" y="10742"/>
                  </a:lnTo>
                  <a:cubicBezTo>
                    <a:pt x="0" y="12376"/>
                    <a:pt x="1335" y="13711"/>
                    <a:pt x="2969" y="13711"/>
                  </a:cubicBezTo>
                  <a:lnTo>
                    <a:pt x="43598" y="13711"/>
                  </a:lnTo>
                  <a:cubicBezTo>
                    <a:pt x="45233" y="13711"/>
                    <a:pt x="46567" y="12376"/>
                    <a:pt x="46567" y="10742"/>
                  </a:cubicBezTo>
                  <a:lnTo>
                    <a:pt x="46567" y="2970"/>
                  </a:lnTo>
                  <a:cubicBezTo>
                    <a:pt x="46567" y="1302"/>
                    <a:pt x="45233" y="1"/>
                    <a:pt x="43598" y="1"/>
                  </a:cubicBezTo>
                  <a:close/>
                </a:path>
              </a:pathLst>
            </a:custGeom>
            <a:solidFill>
              <a:srgbClr val="F0F0F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544;p58">
              <a:extLst>
                <a:ext uri="{FF2B5EF4-FFF2-40B4-BE49-F238E27FC236}">
                  <a16:creationId xmlns:a16="http://schemas.microsoft.com/office/drawing/2014/main" id="{9677FE0E-C761-19FF-807B-6D5F79104C40}"/>
                </a:ext>
              </a:extLst>
            </p:cNvPr>
            <p:cNvSpPr/>
            <p:nvPr/>
          </p:nvSpPr>
          <p:spPr>
            <a:xfrm>
              <a:off x="2317650" y="3387875"/>
              <a:ext cx="551250" cy="47550"/>
            </a:xfrm>
            <a:custGeom>
              <a:avLst/>
              <a:gdLst/>
              <a:ahLst/>
              <a:cxnLst/>
              <a:rect l="l" t="t" r="r" b="b"/>
              <a:pathLst>
                <a:path w="22050" h="1902" extrusionOk="0">
                  <a:moveTo>
                    <a:pt x="935" y="0"/>
                  </a:moveTo>
                  <a:cubicBezTo>
                    <a:pt x="401" y="0"/>
                    <a:pt x="1" y="434"/>
                    <a:pt x="1" y="968"/>
                  </a:cubicBezTo>
                  <a:cubicBezTo>
                    <a:pt x="1" y="1468"/>
                    <a:pt x="401" y="1902"/>
                    <a:pt x="935" y="1902"/>
                  </a:cubicBezTo>
                  <a:lnTo>
                    <a:pt x="21116" y="1902"/>
                  </a:lnTo>
                  <a:cubicBezTo>
                    <a:pt x="21616" y="1902"/>
                    <a:pt x="22050" y="1468"/>
                    <a:pt x="22050" y="968"/>
                  </a:cubicBezTo>
                  <a:cubicBezTo>
                    <a:pt x="22050" y="434"/>
                    <a:pt x="21616" y="0"/>
                    <a:pt x="21116" y="0"/>
                  </a:cubicBezTo>
                  <a:close/>
                </a:path>
              </a:pathLst>
            </a:custGeom>
            <a:solidFill>
              <a:srgbClr val="F5F5F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545;p58">
              <a:extLst>
                <a:ext uri="{FF2B5EF4-FFF2-40B4-BE49-F238E27FC236}">
                  <a16:creationId xmlns:a16="http://schemas.microsoft.com/office/drawing/2014/main" id="{62EA7118-1730-45F1-82C5-9C39B658902C}"/>
                </a:ext>
              </a:extLst>
            </p:cNvPr>
            <p:cNvSpPr/>
            <p:nvPr/>
          </p:nvSpPr>
          <p:spPr>
            <a:xfrm>
              <a:off x="2317650" y="3833175"/>
              <a:ext cx="551250" cy="46725"/>
            </a:xfrm>
            <a:custGeom>
              <a:avLst/>
              <a:gdLst/>
              <a:ahLst/>
              <a:cxnLst/>
              <a:rect l="l" t="t" r="r" b="b"/>
              <a:pathLst>
                <a:path w="22050" h="1869" extrusionOk="0">
                  <a:moveTo>
                    <a:pt x="935" y="1"/>
                  </a:moveTo>
                  <a:cubicBezTo>
                    <a:pt x="401" y="1"/>
                    <a:pt x="1" y="435"/>
                    <a:pt x="1" y="935"/>
                  </a:cubicBezTo>
                  <a:cubicBezTo>
                    <a:pt x="1" y="1469"/>
                    <a:pt x="401" y="1869"/>
                    <a:pt x="935" y="1869"/>
                  </a:cubicBezTo>
                  <a:lnTo>
                    <a:pt x="21116" y="1869"/>
                  </a:lnTo>
                  <a:cubicBezTo>
                    <a:pt x="21616" y="1869"/>
                    <a:pt x="22050" y="1469"/>
                    <a:pt x="22050" y="935"/>
                  </a:cubicBezTo>
                  <a:cubicBezTo>
                    <a:pt x="22050" y="435"/>
                    <a:pt x="21616" y="1"/>
                    <a:pt x="21116" y="1"/>
                  </a:cubicBezTo>
                  <a:close/>
                </a:path>
              </a:pathLst>
            </a:custGeom>
            <a:solidFill>
              <a:srgbClr val="F5F5F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546;p58">
              <a:extLst>
                <a:ext uri="{FF2B5EF4-FFF2-40B4-BE49-F238E27FC236}">
                  <a16:creationId xmlns:a16="http://schemas.microsoft.com/office/drawing/2014/main" id="{D8E0D32C-D911-C3AA-C18D-64BC47749819}"/>
                </a:ext>
              </a:extLst>
            </p:cNvPr>
            <p:cNvSpPr/>
            <p:nvPr/>
          </p:nvSpPr>
          <p:spPr>
            <a:xfrm>
              <a:off x="1774775" y="4458625"/>
              <a:ext cx="4042900" cy="236025"/>
            </a:xfrm>
            <a:custGeom>
              <a:avLst/>
              <a:gdLst/>
              <a:ahLst/>
              <a:cxnLst/>
              <a:rect l="l" t="t" r="r" b="b"/>
              <a:pathLst>
                <a:path w="161716" h="9441" extrusionOk="0">
                  <a:moveTo>
                    <a:pt x="80858" y="1"/>
                  </a:moveTo>
                  <a:cubicBezTo>
                    <a:pt x="36193" y="1"/>
                    <a:pt x="0" y="2136"/>
                    <a:pt x="0" y="4738"/>
                  </a:cubicBezTo>
                  <a:cubicBezTo>
                    <a:pt x="0" y="7339"/>
                    <a:pt x="36193" y="9441"/>
                    <a:pt x="80858" y="9441"/>
                  </a:cubicBezTo>
                  <a:cubicBezTo>
                    <a:pt x="125523" y="9441"/>
                    <a:pt x="161716" y="7339"/>
                    <a:pt x="161716" y="4738"/>
                  </a:cubicBezTo>
                  <a:cubicBezTo>
                    <a:pt x="161716" y="2136"/>
                    <a:pt x="125523" y="1"/>
                    <a:pt x="80858" y="1"/>
                  </a:cubicBezTo>
                  <a:close/>
                </a:path>
              </a:pathLst>
            </a:custGeom>
            <a:solidFill>
              <a:srgbClr val="F5F5F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547;p58">
              <a:extLst>
                <a:ext uri="{FF2B5EF4-FFF2-40B4-BE49-F238E27FC236}">
                  <a16:creationId xmlns:a16="http://schemas.microsoft.com/office/drawing/2014/main" id="{B237162C-66C3-2D83-139E-97C119CCE870}"/>
                </a:ext>
              </a:extLst>
            </p:cNvPr>
            <p:cNvSpPr/>
            <p:nvPr/>
          </p:nvSpPr>
          <p:spPr>
            <a:xfrm>
              <a:off x="2316825" y="1295525"/>
              <a:ext cx="2075675" cy="2623575"/>
            </a:xfrm>
            <a:custGeom>
              <a:avLst/>
              <a:gdLst/>
              <a:ahLst/>
              <a:cxnLst/>
              <a:rect l="l" t="t" r="r" b="b"/>
              <a:pathLst>
                <a:path w="83027" h="104943" extrusionOk="0">
                  <a:moveTo>
                    <a:pt x="1" y="1"/>
                  </a:moveTo>
                  <a:lnTo>
                    <a:pt x="5971" y="104943"/>
                  </a:lnTo>
                  <a:lnTo>
                    <a:pt x="83026" y="104943"/>
                  </a:lnTo>
                  <a:lnTo>
                    <a:pt x="77056" y="1"/>
                  </a:lnTo>
                  <a:close/>
                </a:path>
              </a:pathLst>
            </a:custGeom>
            <a:solidFill>
              <a:srgbClr val="2167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548;p58">
              <a:extLst>
                <a:ext uri="{FF2B5EF4-FFF2-40B4-BE49-F238E27FC236}">
                  <a16:creationId xmlns:a16="http://schemas.microsoft.com/office/drawing/2014/main" id="{EB0ED04B-616F-8A48-1C14-E57AA817E803}"/>
                </a:ext>
              </a:extLst>
            </p:cNvPr>
            <p:cNvSpPr/>
            <p:nvPr/>
          </p:nvSpPr>
          <p:spPr>
            <a:xfrm>
              <a:off x="2354350" y="1295525"/>
              <a:ext cx="2075675" cy="2623575"/>
            </a:xfrm>
            <a:custGeom>
              <a:avLst/>
              <a:gdLst/>
              <a:ahLst/>
              <a:cxnLst/>
              <a:rect l="l" t="t" r="r" b="b"/>
              <a:pathLst>
                <a:path w="83027" h="104943" extrusionOk="0">
                  <a:moveTo>
                    <a:pt x="1" y="1"/>
                  </a:moveTo>
                  <a:lnTo>
                    <a:pt x="5972" y="104943"/>
                  </a:lnTo>
                  <a:lnTo>
                    <a:pt x="83027" y="104943"/>
                  </a:lnTo>
                  <a:lnTo>
                    <a:pt x="77056" y="1"/>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549;p58">
              <a:extLst>
                <a:ext uri="{FF2B5EF4-FFF2-40B4-BE49-F238E27FC236}">
                  <a16:creationId xmlns:a16="http://schemas.microsoft.com/office/drawing/2014/main" id="{48E8DD53-18E0-8E0C-094D-1BF1132C1130}"/>
                </a:ext>
              </a:extLst>
            </p:cNvPr>
            <p:cNvSpPr/>
            <p:nvPr/>
          </p:nvSpPr>
          <p:spPr>
            <a:xfrm>
              <a:off x="2441925" y="1383925"/>
              <a:ext cx="1872175" cy="2375075"/>
            </a:xfrm>
            <a:custGeom>
              <a:avLst/>
              <a:gdLst/>
              <a:ahLst/>
              <a:cxnLst/>
              <a:rect l="l" t="t" r="r" b="b"/>
              <a:pathLst>
                <a:path w="74887" h="95003" extrusionOk="0">
                  <a:moveTo>
                    <a:pt x="0" y="1"/>
                  </a:moveTo>
                  <a:lnTo>
                    <a:pt x="4904" y="95002"/>
                  </a:lnTo>
                  <a:lnTo>
                    <a:pt x="74887" y="95002"/>
                  </a:lnTo>
                  <a:lnTo>
                    <a:pt x="68215" y="1"/>
                  </a:lnTo>
                  <a:close/>
                </a:path>
              </a:pathLst>
            </a:custGeom>
            <a:solidFill>
              <a:srgbClr val="2B806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550;p58">
              <a:extLst>
                <a:ext uri="{FF2B5EF4-FFF2-40B4-BE49-F238E27FC236}">
                  <a16:creationId xmlns:a16="http://schemas.microsoft.com/office/drawing/2014/main" id="{03F6888E-3F24-0EB6-F06B-4AF0CCA6518D}"/>
                </a:ext>
              </a:extLst>
            </p:cNvPr>
            <p:cNvSpPr/>
            <p:nvPr/>
          </p:nvSpPr>
          <p:spPr>
            <a:xfrm>
              <a:off x="2441925" y="1383925"/>
              <a:ext cx="1916375" cy="2375075"/>
            </a:xfrm>
            <a:custGeom>
              <a:avLst/>
              <a:gdLst/>
              <a:ahLst/>
              <a:cxnLst/>
              <a:rect l="l" t="t" r="r" b="b"/>
              <a:pathLst>
                <a:path w="76655" h="95003" extrusionOk="0">
                  <a:moveTo>
                    <a:pt x="0" y="1"/>
                  </a:moveTo>
                  <a:cubicBezTo>
                    <a:pt x="5070" y="31657"/>
                    <a:pt x="1601" y="63313"/>
                    <a:pt x="6672" y="95002"/>
                  </a:cubicBezTo>
                  <a:lnTo>
                    <a:pt x="76655" y="95002"/>
                  </a:lnTo>
                  <a:cubicBezTo>
                    <a:pt x="71585" y="63313"/>
                    <a:pt x="75087" y="31657"/>
                    <a:pt x="69983"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551;p58">
              <a:extLst>
                <a:ext uri="{FF2B5EF4-FFF2-40B4-BE49-F238E27FC236}">
                  <a16:creationId xmlns:a16="http://schemas.microsoft.com/office/drawing/2014/main" id="{3812102A-92E2-2C4B-7BA4-1AB9E097EC8E}"/>
                </a:ext>
              </a:extLst>
            </p:cNvPr>
            <p:cNvSpPr/>
            <p:nvPr/>
          </p:nvSpPr>
          <p:spPr>
            <a:xfrm>
              <a:off x="2627900" y="2066075"/>
              <a:ext cx="355250" cy="346950"/>
            </a:xfrm>
            <a:custGeom>
              <a:avLst/>
              <a:gdLst/>
              <a:ahLst/>
              <a:cxnLst/>
              <a:rect l="l" t="t" r="r" b="b"/>
              <a:pathLst>
                <a:path w="14210" h="13878" extrusionOk="0">
                  <a:moveTo>
                    <a:pt x="6871" y="1169"/>
                  </a:moveTo>
                  <a:cubicBezTo>
                    <a:pt x="10074" y="1202"/>
                    <a:pt x="12709" y="3737"/>
                    <a:pt x="12842" y="6939"/>
                  </a:cubicBezTo>
                  <a:cubicBezTo>
                    <a:pt x="12975" y="10055"/>
                    <a:pt x="10506" y="12644"/>
                    <a:pt x="7398" y="12644"/>
                  </a:cubicBezTo>
                  <a:cubicBezTo>
                    <a:pt x="7378" y="12644"/>
                    <a:pt x="7358" y="12644"/>
                    <a:pt x="7338" y="12643"/>
                  </a:cubicBezTo>
                  <a:cubicBezTo>
                    <a:pt x="4136" y="12610"/>
                    <a:pt x="1534" y="10108"/>
                    <a:pt x="1401" y="6906"/>
                  </a:cubicBezTo>
                  <a:cubicBezTo>
                    <a:pt x="1334" y="5405"/>
                    <a:pt x="1868" y="3937"/>
                    <a:pt x="2902" y="2870"/>
                  </a:cubicBezTo>
                  <a:cubicBezTo>
                    <a:pt x="3936" y="1802"/>
                    <a:pt x="5370" y="1202"/>
                    <a:pt x="6871" y="1202"/>
                  </a:cubicBezTo>
                  <a:lnTo>
                    <a:pt x="6871" y="1169"/>
                  </a:lnTo>
                  <a:close/>
                  <a:moveTo>
                    <a:pt x="6778" y="1"/>
                  </a:moveTo>
                  <a:cubicBezTo>
                    <a:pt x="3004" y="1"/>
                    <a:pt x="1" y="3156"/>
                    <a:pt x="200" y="6939"/>
                  </a:cubicBezTo>
                  <a:cubicBezTo>
                    <a:pt x="333" y="10775"/>
                    <a:pt x="3502" y="13844"/>
                    <a:pt x="7338" y="13878"/>
                  </a:cubicBezTo>
                  <a:cubicBezTo>
                    <a:pt x="11141" y="13878"/>
                    <a:pt x="14210" y="10742"/>
                    <a:pt x="14076" y="6939"/>
                  </a:cubicBezTo>
                  <a:cubicBezTo>
                    <a:pt x="13876" y="3070"/>
                    <a:pt x="10707" y="1"/>
                    <a:pt x="6838" y="1"/>
                  </a:cubicBezTo>
                  <a:cubicBezTo>
                    <a:pt x="6818" y="1"/>
                    <a:pt x="6798" y="1"/>
                    <a:pt x="6778" y="1"/>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552;p58">
              <a:extLst>
                <a:ext uri="{FF2B5EF4-FFF2-40B4-BE49-F238E27FC236}">
                  <a16:creationId xmlns:a16="http://schemas.microsoft.com/office/drawing/2014/main" id="{1A46A084-2EE3-0D70-FDF0-58A38E76DCFC}"/>
                </a:ext>
              </a:extLst>
            </p:cNvPr>
            <p:cNvSpPr/>
            <p:nvPr/>
          </p:nvSpPr>
          <p:spPr>
            <a:xfrm>
              <a:off x="3183350" y="3396175"/>
              <a:ext cx="621175" cy="64300"/>
            </a:xfrm>
            <a:custGeom>
              <a:avLst/>
              <a:gdLst/>
              <a:ahLst/>
              <a:cxnLst/>
              <a:rect l="l" t="t" r="r" b="b"/>
              <a:pathLst>
                <a:path w="24847" h="2572" extrusionOk="0">
                  <a:moveTo>
                    <a:pt x="1210" y="0"/>
                  </a:moveTo>
                  <a:cubicBezTo>
                    <a:pt x="535" y="0"/>
                    <a:pt x="0" y="587"/>
                    <a:pt x="98" y="1269"/>
                  </a:cubicBezTo>
                  <a:cubicBezTo>
                    <a:pt x="164" y="2003"/>
                    <a:pt x="765" y="2570"/>
                    <a:pt x="1499" y="2570"/>
                  </a:cubicBezTo>
                  <a:lnTo>
                    <a:pt x="23614" y="2570"/>
                  </a:lnTo>
                  <a:cubicBezTo>
                    <a:pt x="23632" y="2571"/>
                    <a:pt x="23650" y="2572"/>
                    <a:pt x="23667" y="2572"/>
                  </a:cubicBezTo>
                  <a:cubicBezTo>
                    <a:pt x="24342" y="2572"/>
                    <a:pt x="24847" y="1952"/>
                    <a:pt x="24782" y="1269"/>
                  </a:cubicBezTo>
                  <a:cubicBezTo>
                    <a:pt x="24682" y="569"/>
                    <a:pt x="24081" y="2"/>
                    <a:pt x="23348" y="2"/>
                  </a:cubicBezTo>
                  <a:lnTo>
                    <a:pt x="1265" y="2"/>
                  </a:lnTo>
                  <a:cubicBezTo>
                    <a:pt x="1247" y="1"/>
                    <a:pt x="1228" y="0"/>
                    <a:pt x="1210" y="0"/>
                  </a:cubicBezTo>
                  <a:close/>
                </a:path>
              </a:pathLst>
            </a:custGeom>
            <a:solidFill>
              <a:srgbClr val="E0E0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553;p58">
              <a:extLst>
                <a:ext uri="{FF2B5EF4-FFF2-40B4-BE49-F238E27FC236}">
                  <a16:creationId xmlns:a16="http://schemas.microsoft.com/office/drawing/2014/main" id="{0D2ABC1A-28B0-8315-710D-5A8B3027CB74}"/>
                </a:ext>
              </a:extLst>
            </p:cNvPr>
            <p:cNvSpPr/>
            <p:nvPr/>
          </p:nvSpPr>
          <p:spPr>
            <a:xfrm>
              <a:off x="3171600" y="3259450"/>
              <a:ext cx="927300" cy="65100"/>
            </a:xfrm>
            <a:custGeom>
              <a:avLst/>
              <a:gdLst/>
              <a:ahLst/>
              <a:cxnLst/>
              <a:rect l="l" t="t" r="r" b="b"/>
              <a:pathLst>
                <a:path w="37092" h="2604" extrusionOk="0">
                  <a:moveTo>
                    <a:pt x="1268" y="0"/>
                  </a:moveTo>
                  <a:cubicBezTo>
                    <a:pt x="568" y="0"/>
                    <a:pt x="1" y="601"/>
                    <a:pt x="101" y="1301"/>
                  </a:cubicBezTo>
                  <a:cubicBezTo>
                    <a:pt x="134" y="2035"/>
                    <a:pt x="734" y="2602"/>
                    <a:pt x="1468" y="2602"/>
                  </a:cubicBezTo>
                  <a:lnTo>
                    <a:pt x="35826" y="2602"/>
                  </a:lnTo>
                  <a:cubicBezTo>
                    <a:pt x="35845" y="2603"/>
                    <a:pt x="35863" y="2603"/>
                    <a:pt x="35882" y="2603"/>
                  </a:cubicBezTo>
                  <a:cubicBezTo>
                    <a:pt x="36556" y="2603"/>
                    <a:pt x="37092" y="2016"/>
                    <a:pt x="37027" y="1334"/>
                  </a:cubicBezTo>
                  <a:cubicBezTo>
                    <a:pt x="36994" y="601"/>
                    <a:pt x="36393" y="34"/>
                    <a:pt x="35659" y="0"/>
                  </a:cubicBezTo>
                  <a:close/>
                </a:path>
              </a:pathLst>
            </a:custGeom>
            <a:solidFill>
              <a:srgbClr val="E0E0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554;p58">
              <a:extLst>
                <a:ext uri="{FF2B5EF4-FFF2-40B4-BE49-F238E27FC236}">
                  <a16:creationId xmlns:a16="http://schemas.microsoft.com/office/drawing/2014/main" id="{62F05293-31DF-A737-9526-D11B1C0B74C8}"/>
                </a:ext>
              </a:extLst>
            </p:cNvPr>
            <p:cNvSpPr/>
            <p:nvPr/>
          </p:nvSpPr>
          <p:spPr>
            <a:xfrm>
              <a:off x="2645400" y="2626475"/>
              <a:ext cx="353600" cy="346950"/>
            </a:xfrm>
            <a:custGeom>
              <a:avLst/>
              <a:gdLst/>
              <a:ahLst/>
              <a:cxnLst/>
              <a:rect l="l" t="t" r="r" b="b"/>
              <a:pathLst>
                <a:path w="14144" h="13878" extrusionOk="0">
                  <a:moveTo>
                    <a:pt x="6812" y="1202"/>
                  </a:moveTo>
                  <a:cubicBezTo>
                    <a:pt x="6832" y="1202"/>
                    <a:pt x="6852" y="1202"/>
                    <a:pt x="6872" y="1202"/>
                  </a:cubicBezTo>
                  <a:cubicBezTo>
                    <a:pt x="10074" y="1235"/>
                    <a:pt x="12676" y="3770"/>
                    <a:pt x="12776" y="6939"/>
                  </a:cubicBezTo>
                  <a:cubicBezTo>
                    <a:pt x="12843" y="8440"/>
                    <a:pt x="12276" y="9908"/>
                    <a:pt x="11242" y="10976"/>
                  </a:cubicBezTo>
                  <a:cubicBezTo>
                    <a:pt x="10235" y="12047"/>
                    <a:pt x="8849" y="12645"/>
                    <a:pt x="7391" y="12645"/>
                  </a:cubicBezTo>
                  <a:cubicBezTo>
                    <a:pt x="7351" y="12645"/>
                    <a:pt x="7312" y="12644"/>
                    <a:pt x="7272" y="12643"/>
                  </a:cubicBezTo>
                  <a:cubicBezTo>
                    <a:pt x="4070" y="12643"/>
                    <a:pt x="1468" y="10108"/>
                    <a:pt x="1335" y="6906"/>
                  </a:cubicBezTo>
                  <a:cubicBezTo>
                    <a:pt x="1235" y="3790"/>
                    <a:pt x="3705" y="1202"/>
                    <a:pt x="6812" y="1202"/>
                  </a:cubicBezTo>
                  <a:close/>
                  <a:moveTo>
                    <a:pt x="6812" y="1"/>
                  </a:moveTo>
                  <a:cubicBezTo>
                    <a:pt x="3037" y="1"/>
                    <a:pt x="1" y="3124"/>
                    <a:pt x="134" y="6939"/>
                  </a:cubicBezTo>
                  <a:cubicBezTo>
                    <a:pt x="300" y="10775"/>
                    <a:pt x="3436" y="13844"/>
                    <a:pt x="7305" y="13878"/>
                  </a:cubicBezTo>
                  <a:cubicBezTo>
                    <a:pt x="11108" y="13878"/>
                    <a:pt x="14144" y="10709"/>
                    <a:pt x="14010" y="6939"/>
                  </a:cubicBezTo>
                  <a:cubicBezTo>
                    <a:pt x="13877" y="3070"/>
                    <a:pt x="10741" y="1"/>
                    <a:pt x="6872" y="1"/>
                  </a:cubicBezTo>
                  <a:cubicBezTo>
                    <a:pt x="6852" y="1"/>
                    <a:pt x="6832" y="1"/>
                    <a:pt x="6812" y="1"/>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555;p58">
              <a:extLst>
                <a:ext uri="{FF2B5EF4-FFF2-40B4-BE49-F238E27FC236}">
                  <a16:creationId xmlns:a16="http://schemas.microsoft.com/office/drawing/2014/main" id="{7FEEDBBF-61AE-CD10-8C5A-14EA20E30A73}"/>
                </a:ext>
              </a:extLst>
            </p:cNvPr>
            <p:cNvSpPr/>
            <p:nvPr/>
          </p:nvSpPr>
          <p:spPr>
            <a:xfrm>
              <a:off x="3130750" y="2138600"/>
              <a:ext cx="361950" cy="64275"/>
            </a:xfrm>
            <a:custGeom>
              <a:avLst/>
              <a:gdLst/>
              <a:ahLst/>
              <a:cxnLst/>
              <a:rect l="l" t="t" r="r" b="b"/>
              <a:pathLst>
                <a:path w="14478" h="2571" extrusionOk="0">
                  <a:moveTo>
                    <a:pt x="1212" y="1"/>
                  </a:moveTo>
                  <a:cubicBezTo>
                    <a:pt x="537" y="1"/>
                    <a:pt x="1" y="588"/>
                    <a:pt x="33" y="1270"/>
                  </a:cubicBezTo>
                  <a:cubicBezTo>
                    <a:pt x="67" y="2004"/>
                    <a:pt x="634" y="2571"/>
                    <a:pt x="1368" y="2571"/>
                  </a:cubicBezTo>
                  <a:lnTo>
                    <a:pt x="13210" y="2571"/>
                  </a:lnTo>
                  <a:cubicBezTo>
                    <a:pt x="13910" y="2571"/>
                    <a:pt x="14477" y="2004"/>
                    <a:pt x="14444" y="1270"/>
                  </a:cubicBezTo>
                  <a:cubicBezTo>
                    <a:pt x="14410" y="569"/>
                    <a:pt x="13810" y="2"/>
                    <a:pt x="13109" y="2"/>
                  </a:cubicBezTo>
                  <a:lnTo>
                    <a:pt x="1268" y="2"/>
                  </a:lnTo>
                  <a:cubicBezTo>
                    <a:pt x="1249" y="1"/>
                    <a:pt x="1230" y="1"/>
                    <a:pt x="1212" y="1"/>
                  </a:cubicBezTo>
                  <a:close/>
                </a:path>
              </a:pathLst>
            </a:custGeom>
            <a:solidFill>
              <a:srgbClr val="E0E0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556;p58">
              <a:extLst>
                <a:ext uri="{FF2B5EF4-FFF2-40B4-BE49-F238E27FC236}">
                  <a16:creationId xmlns:a16="http://schemas.microsoft.com/office/drawing/2014/main" id="{401688E8-1AEF-28E5-929F-9B5641DAEBE1}"/>
                </a:ext>
              </a:extLst>
            </p:cNvPr>
            <p:cNvSpPr/>
            <p:nvPr/>
          </p:nvSpPr>
          <p:spPr>
            <a:xfrm>
              <a:off x="3566900" y="2138600"/>
              <a:ext cx="266875" cy="64275"/>
            </a:xfrm>
            <a:custGeom>
              <a:avLst/>
              <a:gdLst/>
              <a:ahLst/>
              <a:cxnLst/>
              <a:rect l="l" t="t" r="r" b="b"/>
              <a:pathLst>
                <a:path w="10675" h="2571" extrusionOk="0">
                  <a:moveTo>
                    <a:pt x="1243" y="1"/>
                  </a:moveTo>
                  <a:cubicBezTo>
                    <a:pt x="537" y="1"/>
                    <a:pt x="1" y="588"/>
                    <a:pt x="33" y="1270"/>
                  </a:cubicBezTo>
                  <a:cubicBezTo>
                    <a:pt x="67" y="2004"/>
                    <a:pt x="667" y="2571"/>
                    <a:pt x="1401" y="2571"/>
                  </a:cubicBezTo>
                  <a:lnTo>
                    <a:pt x="9407" y="2571"/>
                  </a:lnTo>
                  <a:cubicBezTo>
                    <a:pt x="10107" y="2571"/>
                    <a:pt x="10674" y="2004"/>
                    <a:pt x="10641" y="1270"/>
                  </a:cubicBezTo>
                  <a:cubicBezTo>
                    <a:pt x="10607" y="569"/>
                    <a:pt x="10007" y="2"/>
                    <a:pt x="9307" y="2"/>
                  </a:cubicBezTo>
                  <a:lnTo>
                    <a:pt x="1301" y="2"/>
                  </a:lnTo>
                  <a:cubicBezTo>
                    <a:pt x="1281" y="1"/>
                    <a:pt x="1262" y="1"/>
                    <a:pt x="1243" y="1"/>
                  </a:cubicBezTo>
                  <a:close/>
                </a:path>
              </a:pathLst>
            </a:custGeom>
            <a:solidFill>
              <a:srgbClr val="E0E0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557;p58">
              <a:extLst>
                <a:ext uri="{FF2B5EF4-FFF2-40B4-BE49-F238E27FC236}">
                  <a16:creationId xmlns:a16="http://schemas.microsoft.com/office/drawing/2014/main" id="{B360CAE1-FB2F-2B0D-F569-62C25514B3A3}"/>
                </a:ext>
              </a:extLst>
            </p:cNvPr>
            <p:cNvSpPr/>
            <p:nvPr/>
          </p:nvSpPr>
          <p:spPr>
            <a:xfrm>
              <a:off x="3135750" y="2274575"/>
              <a:ext cx="858975" cy="64225"/>
            </a:xfrm>
            <a:custGeom>
              <a:avLst/>
              <a:gdLst/>
              <a:ahLst/>
              <a:cxnLst/>
              <a:rect l="l" t="t" r="r" b="b"/>
              <a:pathLst>
                <a:path w="34359" h="2569" extrusionOk="0">
                  <a:moveTo>
                    <a:pt x="1268" y="0"/>
                  </a:moveTo>
                  <a:cubicBezTo>
                    <a:pt x="567" y="0"/>
                    <a:pt x="0" y="567"/>
                    <a:pt x="34" y="1268"/>
                  </a:cubicBezTo>
                  <a:cubicBezTo>
                    <a:pt x="34" y="2002"/>
                    <a:pt x="634" y="2569"/>
                    <a:pt x="1368" y="2569"/>
                  </a:cubicBezTo>
                  <a:lnTo>
                    <a:pt x="33091" y="2569"/>
                  </a:lnTo>
                  <a:cubicBezTo>
                    <a:pt x="33791" y="2569"/>
                    <a:pt x="34358" y="2002"/>
                    <a:pt x="34325" y="1268"/>
                  </a:cubicBezTo>
                  <a:cubicBezTo>
                    <a:pt x="34291" y="567"/>
                    <a:pt x="33724" y="0"/>
                    <a:pt x="32990" y="0"/>
                  </a:cubicBezTo>
                  <a:close/>
                </a:path>
              </a:pathLst>
            </a:custGeom>
            <a:solidFill>
              <a:srgbClr val="E0E0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558;p58">
              <a:extLst>
                <a:ext uri="{FF2B5EF4-FFF2-40B4-BE49-F238E27FC236}">
                  <a16:creationId xmlns:a16="http://schemas.microsoft.com/office/drawing/2014/main" id="{ACC41808-A8AF-52CA-319E-E08D813A1DBD}"/>
                </a:ext>
              </a:extLst>
            </p:cNvPr>
            <p:cNvSpPr/>
            <p:nvPr/>
          </p:nvSpPr>
          <p:spPr>
            <a:xfrm>
              <a:off x="2668825" y="3186875"/>
              <a:ext cx="363525" cy="346950"/>
            </a:xfrm>
            <a:custGeom>
              <a:avLst/>
              <a:gdLst/>
              <a:ahLst/>
              <a:cxnLst/>
              <a:rect l="l" t="t" r="r" b="b"/>
              <a:pathLst>
                <a:path w="14541" h="13878" extrusionOk="0">
                  <a:moveTo>
                    <a:pt x="6725" y="1201"/>
                  </a:moveTo>
                  <a:cubicBezTo>
                    <a:pt x="6762" y="1201"/>
                    <a:pt x="6799" y="1201"/>
                    <a:pt x="6835" y="1202"/>
                  </a:cubicBezTo>
                  <a:cubicBezTo>
                    <a:pt x="10071" y="1269"/>
                    <a:pt x="12740" y="3737"/>
                    <a:pt x="13007" y="6939"/>
                  </a:cubicBezTo>
                  <a:cubicBezTo>
                    <a:pt x="13173" y="8407"/>
                    <a:pt x="12706" y="9875"/>
                    <a:pt x="11739" y="10976"/>
                  </a:cubicBezTo>
                  <a:cubicBezTo>
                    <a:pt x="10765" y="12047"/>
                    <a:pt x="9411" y="12645"/>
                    <a:pt x="7986" y="12645"/>
                  </a:cubicBezTo>
                  <a:cubicBezTo>
                    <a:pt x="7947" y="12645"/>
                    <a:pt x="7908" y="12644"/>
                    <a:pt x="7870" y="12643"/>
                  </a:cubicBezTo>
                  <a:cubicBezTo>
                    <a:pt x="4601" y="12610"/>
                    <a:pt x="1932" y="10142"/>
                    <a:pt x="1565" y="6906"/>
                  </a:cubicBezTo>
                  <a:cubicBezTo>
                    <a:pt x="1432" y="5438"/>
                    <a:pt x="1899" y="3971"/>
                    <a:pt x="2933" y="2870"/>
                  </a:cubicBezTo>
                  <a:cubicBezTo>
                    <a:pt x="3908" y="1829"/>
                    <a:pt x="5296" y="1201"/>
                    <a:pt x="6725" y="1201"/>
                  </a:cubicBezTo>
                  <a:close/>
                  <a:moveTo>
                    <a:pt x="6687" y="0"/>
                  </a:moveTo>
                  <a:cubicBezTo>
                    <a:pt x="2939" y="0"/>
                    <a:pt x="1" y="3208"/>
                    <a:pt x="364" y="6939"/>
                  </a:cubicBezTo>
                  <a:cubicBezTo>
                    <a:pt x="664" y="10775"/>
                    <a:pt x="4134" y="13878"/>
                    <a:pt x="7970" y="13878"/>
                  </a:cubicBezTo>
                  <a:cubicBezTo>
                    <a:pt x="11806" y="13878"/>
                    <a:pt x="14541" y="10775"/>
                    <a:pt x="14241" y="6939"/>
                  </a:cubicBezTo>
                  <a:cubicBezTo>
                    <a:pt x="13874" y="3070"/>
                    <a:pt x="10672" y="68"/>
                    <a:pt x="6802" y="1"/>
                  </a:cubicBezTo>
                  <a:cubicBezTo>
                    <a:pt x="6764" y="0"/>
                    <a:pt x="6725" y="0"/>
                    <a:pt x="6687"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2559;p58">
              <a:extLst>
                <a:ext uri="{FF2B5EF4-FFF2-40B4-BE49-F238E27FC236}">
                  <a16:creationId xmlns:a16="http://schemas.microsoft.com/office/drawing/2014/main" id="{A95B6D89-9C6E-900D-D88C-272F57A2326F}"/>
                </a:ext>
              </a:extLst>
            </p:cNvPr>
            <p:cNvSpPr/>
            <p:nvPr/>
          </p:nvSpPr>
          <p:spPr>
            <a:xfrm>
              <a:off x="3151600" y="2834975"/>
              <a:ext cx="981550" cy="65075"/>
            </a:xfrm>
            <a:custGeom>
              <a:avLst/>
              <a:gdLst/>
              <a:ahLst/>
              <a:cxnLst/>
              <a:rect l="l" t="t" r="r" b="b"/>
              <a:pathLst>
                <a:path w="39262" h="2603" extrusionOk="0">
                  <a:moveTo>
                    <a:pt x="1268" y="0"/>
                  </a:moveTo>
                  <a:cubicBezTo>
                    <a:pt x="567" y="0"/>
                    <a:pt x="0" y="601"/>
                    <a:pt x="0" y="1301"/>
                  </a:cubicBezTo>
                  <a:cubicBezTo>
                    <a:pt x="33" y="2002"/>
                    <a:pt x="634" y="2569"/>
                    <a:pt x="1368" y="2602"/>
                  </a:cubicBezTo>
                  <a:lnTo>
                    <a:pt x="37994" y="2602"/>
                  </a:lnTo>
                  <a:cubicBezTo>
                    <a:pt x="38694" y="2602"/>
                    <a:pt x="39261" y="2002"/>
                    <a:pt x="39228" y="1301"/>
                  </a:cubicBezTo>
                  <a:cubicBezTo>
                    <a:pt x="39195" y="567"/>
                    <a:pt x="38594" y="0"/>
                    <a:pt x="37894" y="0"/>
                  </a:cubicBezTo>
                  <a:close/>
                </a:path>
              </a:pathLst>
            </a:custGeom>
            <a:solidFill>
              <a:srgbClr val="E0E0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560;p58">
              <a:extLst>
                <a:ext uri="{FF2B5EF4-FFF2-40B4-BE49-F238E27FC236}">
                  <a16:creationId xmlns:a16="http://schemas.microsoft.com/office/drawing/2014/main" id="{983150EC-FFD9-4599-A6E7-49A02CEE686A}"/>
                </a:ext>
              </a:extLst>
            </p:cNvPr>
            <p:cNvSpPr/>
            <p:nvPr/>
          </p:nvSpPr>
          <p:spPr>
            <a:xfrm>
              <a:off x="3147425" y="2699050"/>
              <a:ext cx="768075" cy="65050"/>
            </a:xfrm>
            <a:custGeom>
              <a:avLst/>
              <a:gdLst/>
              <a:ahLst/>
              <a:cxnLst/>
              <a:rect l="l" t="t" r="r" b="b"/>
              <a:pathLst>
                <a:path w="30723" h="2602" extrusionOk="0">
                  <a:moveTo>
                    <a:pt x="1268" y="0"/>
                  </a:moveTo>
                  <a:cubicBezTo>
                    <a:pt x="567" y="0"/>
                    <a:pt x="0" y="601"/>
                    <a:pt x="34" y="1301"/>
                  </a:cubicBezTo>
                  <a:cubicBezTo>
                    <a:pt x="34" y="2002"/>
                    <a:pt x="634" y="2569"/>
                    <a:pt x="1368" y="2602"/>
                  </a:cubicBezTo>
                  <a:lnTo>
                    <a:pt x="29455" y="2602"/>
                  </a:lnTo>
                  <a:cubicBezTo>
                    <a:pt x="30155" y="2602"/>
                    <a:pt x="30722" y="2002"/>
                    <a:pt x="30689" y="1301"/>
                  </a:cubicBezTo>
                  <a:cubicBezTo>
                    <a:pt x="30689" y="567"/>
                    <a:pt x="30088" y="0"/>
                    <a:pt x="29355" y="0"/>
                  </a:cubicBezTo>
                  <a:close/>
                </a:path>
              </a:pathLst>
            </a:custGeom>
            <a:solidFill>
              <a:srgbClr val="E0E0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561;p58">
              <a:extLst>
                <a:ext uri="{FF2B5EF4-FFF2-40B4-BE49-F238E27FC236}">
                  <a16:creationId xmlns:a16="http://schemas.microsoft.com/office/drawing/2014/main" id="{76DEDED3-3173-25A6-7E47-1E56B4ECEDB5}"/>
                </a:ext>
              </a:extLst>
            </p:cNvPr>
            <p:cNvSpPr/>
            <p:nvPr/>
          </p:nvSpPr>
          <p:spPr>
            <a:xfrm>
              <a:off x="2700425" y="2100275"/>
              <a:ext cx="331100" cy="241025"/>
            </a:xfrm>
            <a:custGeom>
              <a:avLst/>
              <a:gdLst/>
              <a:ahLst/>
              <a:cxnLst/>
              <a:rect l="l" t="t" r="r" b="b"/>
              <a:pathLst>
                <a:path w="13244" h="9641" extrusionOk="0">
                  <a:moveTo>
                    <a:pt x="12510" y="1"/>
                  </a:moveTo>
                  <a:cubicBezTo>
                    <a:pt x="8974" y="2636"/>
                    <a:pt x="6405" y="5104"/>
                    <a:pt x="4637" y="7473"/>
                  </a:cubicBezTo>
                  <a:cubicBezTo>
                    <a:pt x="3470" y="6072"/>
                    <a:pt x="2136" y="4904"/>
                    <a:pt x="601" y="3970"/>
                  </a:cubicBezTo>
                  <a:lnTo>
                    <a:pt x="1" y="5004"/>
                  </a:lnTo>
                  <a:cubicBezTo>
                    <a:pt x="768" y="5471"/>
                    <a:pt x="3036" y="7039"/>
                    <a:pt x="4104" y="8807"/>
                  </a:cubicBezTo>
                  <a:lnTo>
                    <a:pt x="4604" y="9641"/>
                  </a:lnTo>
                  <a:cubicBezTo>
                    <a:pt x="4771" y="9374"/>
                    <a:pt x="4971" y="9107"/>
                    <a:pt x="5138" y="8874"/>
                  </a:cubicBezTo>
                  <a:cubicBezTo>
                    <a:pt x="6839" y="6405"/>
                    <a:pt x="9508" y="3803"/>
                    <a:pt x="13244" y="968"/>
                  </a:cubicBezTo>
                  <a:lnTo>
                    <a:pt x="12510" y="1"/>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 name="Google Shape;2562;p58">
              <a:extLst>
                <a:ext uri="{FF2B5EF4-FFF2-40B4-BE49-F238E27FC236}">
                  <a16:creationId xmlns:a16="http://schemas.microsoft.com/office/drawing/2014/main" id="{E3F42457-18F1-8C56-4245-834189F80D83}"/>
                </a:ext>
              </a:extLst>
            </p:cNvPr>
            <p:cNvSpPr/>
            <p:nvPr/>
          </p:nvSpPr>
          <p:spPr>
            <a:xfrm>
              <a:off x="2716275" y="2660675"/>
              <a:ext cx="332775" cy="241025"/>
            </a:xfrm>
            <a:custGeom>
              <a:avLst/>
              <a:gdLst/>
              <a:ahLst/>
              <a:cxnLst/>
              <a:rect l="l" t="t" r="r" b="b"/>
              <a:pathLst>
                <a:path w="13311" h="9641" extrusionOk="0">
                  <a:moveTo>
                    <a:pt x="12543" y="1"/>
                  </a:moveTo>
                  <a:cubicBezTo>
                    <a:pt x="9007" y="2669"/>
                    <a:pt x="6372" y="5104"/>
                    <a:pt x="4604" y="7473"/>
                  </a:cubicBezTo>
                  <a:cubicBezTo>
                    <a:pt x="3470" y="6105"/>
                    <a:pt x="2102" y="4938"/>
                    <a:pt x="601" y="4004"/>
                  </a:cubicBezTo>
                  <a:lnTo>
                    <a:pt x="1" y="5038"/>
                  </a:lnTo>
                  <a:cubicBezTo>
                    <a:pt x="768" y="5505"/>
                    <a:pt x="3036" y="7072"/>
                    <a:pt x="4104" y="8840"/>
                  </a:cubicBezTo>
                  <a:cubicBezTo>
                    <a:pt x="4270" y="9107"/>
                    <a:pt x="4437" y="9374"/>
                    <a:pt x="4604" y="9641"/>
                  </a:cubicBezTo>
                  <a:lnTo>
                    <a:pt x="5104" y="8874"/>
                  </a:lnTo>
                  <a:cubicBezTo>
                    <a:pt x="6805" y="6405"/>
                    <a:pt x="9507" y="3803"/>
                    <a:pt x="13310" y="1001"/>
                  </a:cubicBezTo>
                  <a:lnTo>
                    <a:pt x="12543" y="1"/>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 name="Google Shape;2563;p58">
              <a:extLst>
                <a:ext uri="{FF2B5EF4-FFF2-40B4-BE49-F238E27FC236}">
                  <a16:creationId xmlns:a16="http://schemas.microsoft.com/office/drawing/2014/main" id="{4D13E2A8-87D7-CE09-DC5A-C74695FED519}"/>
                </a:ext>
              </a:extLst>
            </p:cNvPr>
            <p:cNvSpPr/>
            <p:nvPr/>
          </p:nvSpPr>
          <p:spPr>
            <a:xfrm>
              <a:off x="2745475" y="3222750"/>
              <a:ext cx="326925" cy="241025"/>
            </a:xfrm>
            <a:custGeom>
              <a:avLst/>
              <a:gdLst/>
              <a:ahLst/>
              <a:cxnLst/>
              <a:rect l="l" t="t" r="r" b="b"/>
              <a:pathLst>
                <a:path w="13077" h="9641" extrusionOk="0">
                  <a:moveTo>
                    <a:pt x="12309" y="0"/>
                  </a:moveTo>
                  <a:cubicBezTo>
                    <a:pt x="8840" y="2669"/>
                    <a:pt x="6371" y="5104"/>
                    <a:pt x="4737" y="7472"/>
                  </a:cubicBezTo>
                  <a:cubicBezTo>
                    <a:pt x="3536" y="6105"/>
                    <a:pt x="2102" y="4937"/>
                    <a:pt x="534" y="4003"/>
                  </a:cubicBezTo>
                  <a:lnTo>
                    <a:pt x="0" y="5037"/>
                  </a:lnTo>
                  <a:cubicBezTo>
                    <a:pt x="801" y="5504"/>
                    <a:pt x="3102" y="7072"/>
                    <a:pt x="4303" y="8840"/>
                  </a:cubicBezTo>
                  <a:lnTo>
                    <a:pt x="4870" y="9641"/>
                  </a:lnTo>
                  <a:lnTo>
                    <a:pt x="5337" y="8873"/>
                  </a:lnTo>
                  <a:cubicBezTo>
                    <a:pt x="6872" y="6405"/>
                    <a:pt x="9407" y="3803"/>
                    <a:pt x="13076" y="1001"/>
                  </a:cubicBezTo>
                  <a:lnTo>
                    <a:pt x="12309" y="0"/>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 name="Google Shape;2564;p58">
              <a:extLst>
                <a:ext uri="{FF2B5EF4-FFF2-40B4-BE49-F238E27FC236}">
                  <a16:creationId xmlns:a16="http://schemas.microsoft.com/office/drawing/2014/main" id="{CC2BB66C-13DD-EFD1-D351-AB828A1F6807}"/>
                </a:ext>
              </a:extLst>
            </p:cNvPr>
            <p:cNvSpPr/>
            <p:nvPr/>
          </p:nvSpPr>
          <p:spPr>
            <a:xfrm>
              <a:off x="3470150" y="1583250"/>
              <a:ext cx="280225" cy="328575"/>
            </a:xfrm>
            <a:custGeom>
              <a:avLst/>
              <a:gdLst/>
              <a:ahLst/>
              <a:cxnLst/>
              <a:rect l="l" t="t" r="r" b="b"/>
              <a:pathLst>
                <a:path w="11209" h="13143" extrusionOk="0">
                  <a:moveTo>
                    <a:pt x="2235" y="0"/>
                  </a:moveTo>
                  <a:cubicBezTo>
                    <a:pt x="1502" y="1601"/>
                    <a:pt x="768" y="3169"/>
                    <a:pt x="0" y="4770"/>
                  </a:cubicBezTo>
                  <a:cubicBezTo>
                    <a:pt x="3203" y="6405"/>
                    <a:pt x="5371" y="9574"/>
                    <a:pt x="5671" y="13143"/>
                  </a:cubicBezTo>
                  <a:lnTo>
                    <a:pt x="11208" y="13143"/>
                  </a:lnTo>
                  <a:cubicBezTo>
                    <a:pt x="10842" y="7506"/>
                    <a:pt x="7206" y="2569"/>
                    <a:pt x="2235"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 name="Google Shape;2565;p58">
              <a:extLst>
                <a:ext uri="{FF2B5EF4-FFF2-40B4-BE49-F238E27FC236}">
                  <a16:creationId xmlns:a16="http://schemas.microsoft.com/office/drawing/2014/main" id="{3389ECC3-B188-62E4-52DF-F4234CEDEFCF}"/>
                </a:ext>
              </a:extLst>
            </p:cNvPr>
            <p:cNvSpPr/>
            <p:nvPr/>
          </p:nvSpPr>
          <p:spPr>
            <a:xfrm>
              <a:off x="2989800" y="1590750"/>
              <a:ext cx="243550" cy="321925"/>
            </a:xfrm>
            <a:custGeom>
              <a:avLst/>
              <a:gdLst/>
              <a:ahLst/>
              <a:cxnLst/>
              <a:rect l="l" t="t" r="r" b="b"/>
              <a:pathLst>
                <a:path w="9742" h="12877" extrusionOk="0">
                  <a:moveTo>
                    <a:pt x="6472" y="0"/>
                  </a:moveTo>
                  <a:cubicBezTo>
                    <a:pt x="2402" y="2602"/>
                    <a:pt x="1" y="7406"/>
                    <a:pt x="334" y="12876"/>
                  </a:cubicBezTo>
                  <a:lnTo>
                    <a:pt x="5905" y="12876"/>
                  </a:lnTo>
                  <a:cubicBezTo>
                    <a:pt x="5605" y="9674"/>
                    <a:pt x="7072" y="6572"/>
                    <a:pt x="9741" y="4804"/>
                  </a:cubicBezTo>
                  <a:cubicBezTo>
                    <a:pt x="8674" y="3203"/>
                    <a:pt x="7573" y="1602"/>
                    <a:pt x="6472"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2566;p58">
              <a:extLst>
                <a:ext uri="{FF2B5EF4-FFF2-40B4-BE49-F238E27FC236}">
                  <a16:creationId xmlns:a16="http://schemas.microsoft.com/office/drawing/2014/main" id="{849DD8FE-B3C5-4EBF-6896-2722E40D6F19}"/>
                </a:ext>
              </a:extLst>
            </p:cNvPr>
            <p:cNvSpPr/>
            <p:nvPr/>
          </p:nvSpPr>
          <p:spPr>
            <a:xfrm>
              <a:off x="3151600" y="1536525"/>
              <a:ext cx="374450" cy="174325"/>
            </a:xfrm>
            <a:custGeom>
              <a:avLst/>
              <a:gdLst/>
              <a:ahLst/>
              <a:cxnLst/>
              <a:rect l="l" t="t" r="r" b="b"/>
              <a:pathLst>
                <a:path w="14978" h="6973" extrusionOk="0">
                  <a:moveTo>
                    <a:pt x="7331" y="0"/>
                  </a:moveTo>
                  <a:cubicBezTo>
                    <a:pt x="4724" y="0"/>
                    <a:pt x="2186" y="734"/>
                    <a:pt x="0" y="2169"/>
                  </a:cubicBezTo>
                  <a:cubicBezTo>
                    <a:pt x="1101" y="3737"/>
                    <a:pt x="2202" y="5372"/>
                    <a:pt x="3269" y="6973"/>
                  </a:cubicBezTo>
                  <a:cubicBezTo>
                    <a:pt x="4658" y="6036"/>
                    <a:pt x="6298" y="5537"/>
                    <a:pt x="7976" y="5537"/>
                  </a:cubicBezTo>
                  <a:cubicBezTo>
                    <a:pt x="8031" y="5537"/>
                    <a:pt x="8085" y="5537"/>
                    <a:pt x="8139" y="5538"/>
                  </a:cubicBezTo>
                  <a:cubicBezTo>
                    <a:pt x="9740" y="5538"/>
                    <a:pt x="11308" y="5939"/>
                    <a:pt x="12709" y="6673"/>
                  </a:cubicBezTo>
                  <a:cubicBezTo>
                    <a:pt x="13476" y="5071"/>
                    <a:pt x="14244" y="3470"/>
                    <a:pt x="14977" y="1869"/>
                  </a:cubicBezTo>
                  <a:cubicBezTo>
                    <a:pt x="12676" y="635"/>
                    <a:pt x="10107" y="1"/>
                    <a:pt x="7505" y="1"/>
                  </a:cubicBezTo>
                  <a:cubicBezTo>
                    <a:pt x="7447" y="0"/>
                    <a:pt x="7389" y="0"/>
                    <a:pt x="7331"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 name="Google Shape;2567;p58">
              <a:extLst>
                <a:ext uri="{FF2B5EF4-FFF2-40B4-BE49-F238E27FC236}">
                  <a16:creationId xmlns:a16="http://schemas.microsoft.com/office/drawing/2014/main" id="{A319285E-1075-7C7B-92FE-CAD0D28900DA}"/>
                </a:ext>
              </a:extLst>
            </p:cNvPr>
            <p:cNvSpPr/>
            <p:nvPr/>
          </p:nvSpPr>
          <p:spPr>
            <a:xfrm>
              <a:off x="3151600" y="1536525"/>
              <a:ext cx="374450" cy="174325"/>
            </a:xfrm>
            <a:custGeom>
              <a:avLst/>
              <a:gdLst/>
              <a:ahLst/>
              <a:cxnLst/>
              <a:rect l="l" t="t" r="r" b="b"/>
              <a:pathLst>
                <a:path w="14978" h="6973" extrusionOk="0">
                  <a:moveTo>
                    <a:pt x="7331" y="0"/>
                  </a:moveTo>
                  <a:cubicBezTo>
                    <a:pt x="4724" y="0"/>
                    <a:pt x="2186" y="734"/>
                    <a:pt x="0" y="2169"/>
                  </a:cubicBezTo>
                  <a:cubicBezTo>
                    <a:pt x="1101" y="3737"/>
                    <a:pt x="2202" y="5372"/>
                    <a:pt x="3269" y="6973"/>
                  </a:cubicBezTo>
                  <a:cubicBezTo>
                    <a:pt x="4658" y="6036"/>
                    <a:pt x="6298" y="5537"/>
                    <a:pt x="7976" y="5537"/>
                  </a:cubicBezTo>
                  <a:cubicBezTo>
                    <a:pt x="8031" y="5537"/>
                    <a:pt x="8085" y="5537"/>
                    <a:pt x="8139" y="5538"/>
                  </a:cubicBezTo>
                  <a:cubicBezTo>
                    <a:pt x="9740" y="5538"/>
                    <a:pt x="11308" y="5939"/>
                    <a:pt x="12709" y="6673"/>
                  </a:cubicBezTo>
                  <a:cubicBezTo>
                    <a:pt x="13476" y="5071"/>
                    <a:pt x="14244" y="3470"/>
                    <a:pt x="14977" y="1869"/>
                  </a:cubicBezTo>
                  <a:cubicBezTo>
                    <a:pt x="12676" y="635"/>
                    <a:pt x="10107" y="1"/>
                    <a:pt x="7505" y="1"/>
                  </a:cubicBezTo>
                  <a:cubicBezTo>
                    <a:pt x="7447" y="0"/>
                    <a:pt x="7389" y="0"/>
                    <a:pt x="7331"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 name="Google Shape;2568;p58">
              <a:extLst>
                <a:ext uri="{FF2B5EF4-FFF2-40B4-BE49-F238E27FC236}">
                  <a16:creationId xmlns:a16="http://schemas.microsoft.com/office/drawing/2014/main" id="{13512587-633E-CECE-2D60-40C194C1C2B6}"/>
                </a:ext>
              </a:extLst>
            </p:cNvPr>
            <p:cNvSpPr/>
            <p:nvPr/>
          </p:nvSpPr>
          <p:spPr>
            <a:xfrm>
              <a:off x="3335875" y="1817575"/>
              <a:ext cx="172650" cy="129725"/>
            </a:xfrm>
            <a:custGeom>
              <a:avLst/>
              <a:gdLst/>
              <a:ahLst/>
              <a:cxnLst/>
              <a:rect l="l" t="t" r="r" b="b"/>
              <a:pathLst>
                <a:path w="6906" h="5189" extrusionOk="0">
                  <a:moveTo>
                    <a:pt x="1519" y="3122"/>
                  </a:moveTo>
                  <a:cubicBezTo>
                    <a:pt x="1734" y="3122"/>
                    <a:pt x="1946" y="3218"/>
                    <a:pt x="2069" y="3403"/>
                  </a:cubicBezTo>
                  <a:cubicBezTo>
                    <a:pt x="2303" y="3703"/>
                    <a:pt x="2236" y="4137"/>
                    <a:pt x="1969" y="4337"/>
                  </a:cubicBezTo>
                  <a:cubicBezTo>
                    <a:pt x="1841" y="4414"/>
                    <a:pt x="1703" y="4451"/>
                    <a:pt x="1568" y="4451"/>
                  </a:cubicBezTo>
                  <a:cubicBezTo>
                    <a:pt x="1352" y="4451"/>
                    <a:pt x="1145" y="4355"/>
                    <a:pt x="1002" y="4170"/>
                  </a:cubicBezTo>
                  <a:cubicBezTo>
                    <a:pt x="768" y="3870"/>
                    <a:pt x="835" y="3470"/>
                    <a:pt x="1135" y="3236"/>
                  </a:cubicBezTo>
                  <a:cubicBezTo>
                    <a:pt x="1250" y="3159"/>
                    <a:pt x="1386" y="3122"/>
                    <a:pt x="1519" y="3122"/>
                  </a:cubicBezTo>
                  <a:close/>
                  <a:moveTo>
                    <a:pt x="6906" y="1"/>
                  </a:moveTo>
                  <a:cubicBezTo>
                    <a:pt x="6905" y="1"/>
                    <a:pt x="1302" y="2302"/>
                    <a:pt x="701" y="2702"/>
                  </a:cubicBezTo>
                  <a:cubicBezTo>
                    <a:pt x="101" y="3169"/>
                    <a:pt x="1" y="4003"/>
                    <a:pt x="468" y="4604"/>
                  </a:cubicBezTo>
                  <a:cubicBezTo>
                    <a:pt x="742" y="4983"/>
                    <a:pt x="1175" y="5189"/>
                    <a:pt x="1616" y="5189"/>
                  </a:cubicBezTo>
                  <a:cubicBezTo>
                    <a:pt x="1874" y="5189"/>
                    <a:pt x="2135" y="5118"/>
                    <a:pt x="2369" y="4971"/>
                  </a:cubicBezTo>
                  <a:cubicBezTo>
                    <a:pt x="3003" y="4504"/>
                    <a:pt x="6906" y="1"/>
                    <a:pt x="6906"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 name="Google Shape;2569;p58">
              <a:extLst>
                <a:ext uri="{FF2B5EF4-FFF2-40B4-BE49-F238E27FC236}">
                  <a16:creationId xmlns:a16="http://schemas.microsoft.com/office/drawing/2014/main" id="{699DEAF3-967C-BD2F-A102-56418063C531}"/>
                </a:ext>
              </a:extLst>
            </p:cNvPr>
            <p:cNvSpPr/>
            <p:nvPr/>
          </p:nvSpPr>
          <p:spPr>
            <a:xfrm>
              <a:off x="3572775" y="1702475"/>
              <a:ext cx="104225" cy="98450"/>
            </a:xfrm>
            <a:custGeom>
              <a:avLst/>
              <a:gdLst/>
              <a:ahLst/>
              <a:cxnLst/>
              <a:rect l="l" t="t" r="r" b="b"/>
              <a:pathLst>
                <a:path w="4169" h="3938" extrusionOk="0">
                  <a:moveTo>
                    <a:pt x="1844" y="0"/>
                  </a:moveTo>
                  <a:cubicBezTo>
                    <a:pt x="804" y="0"/>
                    <a:pt x="0" y="920"/>
                    <a:pt x="98" y="1969"/>
                  </a:cubicBezTo>
                  <a:cubicBezTo>
                    <a:pt x="232" y="3070"/>
                    <a:pt x="1133" y="3904"/>
                    <a:pt x="2233" y="3937"/>
                  </a:cubicBezTo>
                  <a:cubicBezTo>
                    <a:pt x="3301" y="3937"/>
                    <a:pt x="4168" y="3003"/>
                    <a:pt x="4035" y="1969"/>
                  </a:cubicBezTo>
                  <a:cubicBezTo>
                    <a:pt x="3935" y="835"/>
                    <a:pt x="3001" y="1"/>
                    <a:pt x="1900" y="1"/>
                  </a:cubicBezTo>
                  <a:cubicBezTo>
                    <a:pt x="1881" y="1"/>
                    <a:pt x="1863" y="0"/>
                    <a:pt x="1844"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2570;p58">
              <a:extLst>
                <a:ext uri="{FF2B5EF4-FFF2-40B4-BE49-F238E27FC236}">
                  <a16:creationId xmlns:a16="http://schemas.microsoft.com/office/drawing/2014/main" id="{2E81AF41-93FD-6213-E949-CDFA5BA82720}"/>
                </a:ext>
              </a:extLst>
            </p:cNvPr>
            <p:cNvSpPr/>
            <p:nvPr/>
          </p:nvSpPr>
          <p:spPr>
            <a:xfrm>
              <a:off x="3596900" y="1732525"/>
              <a:ext cx="16700" cy="15025"/>
            </a:xfrm>
            <a:custGeom>
              <a:avLst/>
              <a:gdLst/>
              <a:ahLst/>
              <a:cxnLst/>
              <a:rect l="l" t="t" r="r" b="b"/>
              <a:pathLst>
                <a:path w="668" h="601" extrusionOk="0">
                  <a:moveTo>
                    <a:pt x="301" y="0"/>
                  </a:moveTo>
                  <a:cubicBezTo>
                    <a:pt x="134" y="0"/>
                    <a:pt x="1" y="134"/>
                    <a:pt x="34" y="300"/>
                  </a:cubicBezTo>
                  <a:cubicBezTo>
                    <a:pt x="34" y="467"/>
                    <a:pt x="168" y="601"/>
                    <a:pt x="368" y="601"/>
                  </a:cubicBezTo>
                  <a:cubicBezTo>
                    <a:pt x="534" y="601"/>
                    <a:pt x="668" y="467"/>
                    <a:pt x="635" y="300"/>
                  </a:cubicBezTo>
                  <a:cubicBezTo>
                    <a:pt x="635" y="134"/>
                    <a:pt x="468" y="0"/>
                    <a:pt x="301"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 name="Google Shape;2571;p58">
              <a:extLst>
                <a:ext uri="{FF2B5EF4-FFF2-40B4-BE49-F238E27FC236}">
                  <a16:creationId xmlns:a16="http://schemas.microsoft.com/office/drawing/2014/main" id="{C03C020B-E60B-4DB8-9BB6-6BF0374F18CF}"/>
                </a:ext>
              </a:extLst>
            </p:cNvPr>
            <p:cNvSpPr/>
            <p:nvPr/>
          </p:nvSpPr>
          <p:spPr>
            <a:xfrm>
              <a:off x="3634425" y="1732400"/>
              <a:ext cx="16700" cy="15150"/>
            </a:xfrm>
            <a:custGeom>
              <a:avLst/>
              <a:gdLst/>
              <a:ahLst/>
              <a:cxnLst/>
              <a:rect l="l" t="t" r="r" b="b"/>
              <a:pathLst>
                <a:path w="668" h="606" extrusionOk="0">
                  <a:moveTo>
                    <a:pt x="258" y="1"/>
                  </a:moveTo>
                  <a:cubicBezTo>
                    <a:pt x="112" y="1"/>
                    <a:pt x="1" y="153"/>
                    <a:pt x="1" y="305"/>
                  </a:cubicBezTo>
                  <a:cubicBezTo>
                    <a:pt x="34" y="472"/>
                    <a:pt x="168" y="606"/>
                    <a:pt x="334" y="606"/>
                  </a:cubicBezTo>
                  <a:cubicBezTo>
                    <a:pt x="501" y="606"/>
                    <a:pt x="668" y="472"/>
                    <a:pt x="635" y="305"/>
                  </a:cubicBezTo>
                  <a:cubicBezTo>
                    <a:pt x="601" y="139"/>
                    <a:pt x="468" y="5"/>
                    <a:pt x="301" y="5"/>
                  </a:cubicBezTo>
                  <a:cubicBezTo>
                    <a:pt x="287" y="2"/>
                    <a:pt x="272" y="1"/>
                    <a:pt x="258"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 name="Google Shape;2572;p58">
              <a:extLst>
                <a:ext uri="{FF2B5EF4-FFF2-40B4-BE49-F238E27FC236}">
                  <a16:creationId xmlns:a16="http://schemas.microsoft.com/office/drawing/2014/main" id="{87281552-D7F3-689F-B214-77ECC882DB34}"/>
                </a:ext>
              </a:extLst>
            </p:cNvPr>
            <p:cNvSpPr/>
            <p:nvPr/>
          </p:nvSpPr>
          <p:spPr>
            <a:xfrm>
              <a:off x="3597750" y="1763575"/>
              <a:ext cx="58400" cy="17325"/>
            </a:xfrm>
            <a:custGeom>
              <a:avLst/>
              <a:gdLst/>
              <a:ahLst/>
              <a:cxnLst/>
              <a:rect l="l" t="t" r="r" b="b"/>
              <a:pathLst>
                <a:path w="2336" h="693" extrusionOk="0">
                  <a:moveTo>
                    <a:pt x="167" y="1"/>
                  </a:moveTo>
                  <a:cubicBezTo>
                    <a:pt x="134" y="1"/>
                    <a:pt x="100" y="9"/>
                    <a:pt x="67" y="26"/>
                  </a:cubicBezTo>
                  <a:cubicBezTo>
                    <a:pt x="0" y="92"/>
                    <a:pt x="0" y="192"/>
                    <a:pt x="67" y="259"/>
                  </a:cubicBezTo>
                  <a:cubicBezTo>
                    <a:pt x="367" y="526"/>
                    <a:pt x="767" y="693"/>
                    <a:pt x="1168" y="693"/>
                  </a:cubicBezTo>
                  <a:cubicBezTo>
                    <a:pt x="1568" y="693"/>
                    <a:pt x="1968" y="559"/>
                    <a:pt x="2235" y="259"/>
                  </a:cubicBezTo>
                  <a:cubicBezTo>
                    <a:pt x="2336" y="159"/>
                    <a:pt x="2247" y="1"/>
                    <a:pt x="2125" y="1"/>
                  </a:cubicBezTo>
                  <a:cubicBezTo>
                    <a:pt x="2086" y="1"/>
                    <a:pt x="2043" y="18"/>
                    <a:pt x="2002" y="59"/>
                  </a:cubicBezTo>
                  <a:cubicBezTo>
                    <a:pt x="1801" y="293"/>
                    <a:pt x="1501" y="393"/>
                    <a:pt x="1168" y="393"/>
                  </a:cubicBezTo>
                  <a:cubicBezTo>
                    <a:pt x="834" y="393"/>
                    <a:pt x="534" y="259"/>
                    <a:pt x="267" y="26"/>
                  </a:cubicBezTo>
                  <a:cubicBezTo>
                    <a:pt x="234" y="9"/>
                    <a:pt x="200" y="1"/>
                    <a:pt x="167"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2573;p58">
              <a:extLst>
                <a:ext uri="{FF2B5EF4-FFF2-40B4-BE49-F238E27FC236}">
                  <a16:creationId xmlns:a16="http://schemas.microsoft.com/office/drawing/2014/main" id="{A692341E-E9B1-D2ED-42DC-CEB618205916}"/>
                </a:ext>
              </a:extLst>
            </p:cNvPr>
            <p:cNvSpPr/>
            <p:nvPr/>
          </p:nvSpPr>
          <p:spPr>
            <a:xfrm>
              <a:off x="3293425" y="1555700"/>
              <a:ext cx="106700" cy="98450"/>
            </a:xfrm>
            <a:custGeom>
              <a:avLst/>
              <a:gdLst/>
              <a:ahLst/>
              <a:cxnLst/>
              <a:rect l="l" t="t" r="r" b="b"/>
              <a:pathLst>
                <a:path w="4268" h="3938" extrusionOk="0">
                  <a:moveTo>
                    <a:pt x="1844" y="1"/>
                  </a:moveTo>
                  <a:cubicBezTo>
                    <a:pt x="803" y="1"/>
                    <a:pt x="1" y="921"/>
                    <a:pt x="165" y="1969"/>
                  </a:cubicBezTo>
                  <a:cubicBezTo>
                    <a:pt x="331" y="3070"/>
                    <a:pt x="1232" y="3904"/>
                    <a:pt x="2366" y="3938"/>
                  </a:cubicBezTo>
                  <a:cubicBezTo>
                    <a:pt x="3434" y="3938"/>
                    <a:pt x="4267" y="3004"/>
                    <a:pt x="4101" y="1969"/>
                  </a:cubicBezTo>
                  <a:cubicBezTo>
                    <a:pt x="3967" y="869"/>
                    <a:pt x="3033" y="35"/>
                    <a:pt x="1899" y="1"/>
                  </a:cubicBezTo>
                  <a:cubicBezTo>
                    <a:pt x="1881" y="1"/>
                    <a:pt x="1862" y="1"/>
                    <a:pt x="184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 name="Google Shape;2574;p58">
              <a:extLst>
                <a:ext uri="{FF2B5EF4-FFF2-40B4-BE49-F238E27FC236}">
                  <a16:creationId xmlns:a16="http://schemas.microsoft.com/office/drawing/2014/main" id="{862AA193-6422-BF07-6F66-B5342720CE5A}"/>
                </a:ext>
              </a:extLst>
            </p:cNvPr>
            <p:cNvSpPr/>
            <p:nvPr/>
          </p:nvSpPr>
          <p:spPr>
            <a:xfrm>
              <a:off x="3318450" y="1585625"/>
              <a:ext cx="16625" cy="15150"/>
            </a:xfrm>
            <a:custGeom>
              <a:avLst/>
              <a:gdLst/>
              <a:ahLst/>
              <a:cxnLst/>
              <a:rect l="l" t="t" r="r" b="b"/>
              <a:pathLst>
                <a:path w="665" h="606" extrusionOk="0">
                  <a:moveTo>
                    <a:pt x="255" y="1"/>
                  </a:moveTo>
                  <a:cubicBezTo>
                    <a:pt x="109" y="1"/>
                    <a:pt x="0" y="153"/>
                    <a:pt x="31" y="305"/>
                  </a:cubicBezTo>
                  <a:cubicBezTo>
                    <a:pt x="64" y="472"/>
                    <a:pt x="198" y="606"/>
                    <a:pt x="398" y="606"/>
                  </a:cubicBezTo>
                  <a:cubicBezTo>
                    <a:pt x="565" y="606"/>
                    <a:pt x="665" y="472"/>
                    <a:pt x="665" y="305"/>
                  </a:cubicBezTo>
                  <a:cubicBezTo>
                    <a:pt x="631" y="139"/>
                    <a:pt x="498" y="5"/>
                    <a:pt x="298" y="5"/>
                  </a:cubicBezTo>
                  <a:cubicBezTo>
                    <a:pt x="283" y="2"/>
                    <a:pt x="269" y="1"/>
                    <a:pt x="255"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 name="Google Shape;2575;p58">
              <a:extLst>
                <a:ext uri="{FF2B5EF4-FFF2-40B4-BE49-F238E27FC236}">
                  <a16:creationId xmlns:a16="http://schemas.microsoft.com/office/drawing/2014/main" id="{CA6B1C12-57CC-DFF1-15BD-F9516D04E88F}"/>
                </a:ext>
              </a:extLst>
            </p:cNvPr>
            <p:cNvSpPr/>
            <p:nvPr/>
          </p:nvSpPr>
          <p:spPr>
            <a:xfrm>
              <a:off x="3355900" y="1585750"/>
              <a:ext cx="16700" cy="15025"/>
            </a:xfrm>
            <a:custGeom>
              <a:avLst/>
              <a:gdLst/>
              <a:ahLst/>
              <a:cxnLst/>
              <a:rect l="l" t="t" r="r" b="b"/>
              <a:pathLst>
                <a:path w="668" h="601" extrusionOk="0">
                  <a:moveTo>
                    <a:pt x="301" y="0"/>
                  </a:moveTo>
                  <a:cubicBezTo>
                    <a:pt x="134" y="0"/>
                    <a:pt x="1" y="134"/>
                    <a:pt x="34" y="300"/>
                  </a:cubicBezTo>
                  <a:cubicBezTo>
                    <a:pt x="34" y="467"/>
                    <a:pt x="201" y="601"/>
                    <a:pt x="367" y="601"/>
                  </a:cubicBezTo>
                  <a:cubicBezTo>
                    <a:pt x="534" y="601"/>
                    <a:pt x="668" y="467"/>
                    <a:pt x="634" y="300"/>
                  </a:cubicBezTo>
                  <a:cubicBezTo>
                    <a:pt x="634" y="134"/>
                    <a:pt x="468" y="0"/>
                    <a:pt x="301"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 name="Google Shape;2576;p58">
              <a:extLst>
                <a:ext uri="{FF2B5EF4-FFF2-40B4-BE49-F238E27FC236}">
                  <a16:creationId xmlns:a16="http://schemas.microsoft.com/office/drawing/2014/main" id="{C8826098-283B-8FA7-3FC0-F81A6F6CEF0B}"/>
                </a:ext>
              </a:extLst>
            </p:cNvPr>
            <p:cNvSpPr/>
            <p:nvPr/>
          </p:nvSpPr>
          <p:spPr>
            <a:xfrm>
              <a:off x="3320050" y="1616600"/>
              <a:ext cx="57550" cy="8375"/>
            </a:xfrm>
            <a:custGeom>
              <a:avLst/>
              <a:gdLst/>
              <a:ahLst/>
              <a:cxnLst/>
              <a:rect l="l" t="t" r="r" b="b"/>
              <a:pathLst>
                <a:path w="2302" h="335" extrusionOk="0">
                  <a:moveTo>
                    <a:pt x="167" y="0"/>
                  </a:moveTo>
                  <a:cubicBezTo>
                    <a:pt x="0" y="34"/>
                    <a:pt x="0" y="301"/>
                    <a:pt x="167" y="334"/>
                  </a:cubicBezTo>
                  <a:lnTo>
                    <a:pt x="2135" y="334"/>
                  </a:lnTo>
                  <a:cubicBezTo>
                    <a:pt x="2302" y="301"/>
                    <a:pt x="2302" y="34"/>
                    <a:pt x="2135"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 name="Google Shape;2577;p58">
              <a:extLst>
                <a:ext uri="{FF2B5EF4-FFF2-40B4-BE49-F238E27FC236}">
                  <a16:creationId xmlns:a16="http://schemas.microsoft.com/office/drawing/2014/main" id="{C8AC283B-BDAD-EEE6-48E8-346C84B632DF}"/>
                </a:ext>
              </a:extLst>
            </p:cNvPr>
            <p:cNvSpPr/>
            <p:nvPr/>
          </p:nvSpPr>
          <p:spPr>
            <a:xfrm>
              <a:off x="3047400" y="1702475"/>
              <a:ext cx="104225" cy="98450"/>
            </a:xfrm>
            <a:custGeom>
              <a:avLst/>
              <a:gdLst/>
              <a:ahLst/>
              <a:cxnLst/>
              <a:rect l="l" t="t" r="r" b="b"/>
              <a:pathLst>
                <a:path w="4169" h="3938" extrusionOk="0">
                  <a:moveTo>
                    <a:pt x="1844" y="0"/>
                  </a:moveTo>
                  <a:cubicBezTo>
                    <a:pt x="804" y="0"/>
                    <a:pt x="0" y="920"/>
                    <a:pt x="98" y="1969"/>
                  </a:cubicBezTo>
                  <a:cubicBezTo>
                    <a:pt x="232" y="3070"/>
                    <a:pt x="1133" y="3904"/>
                    <a:pt x="2233" y="3937"/>
                  </a:cubicBezTo>
                  <a:cubicBezTo>
                    <a:pt x="3301" y="3937"/>
                    <a:pt x="4168" y="3003"/>
                    <a:pt x="4035" y="1969"/>
                  </a:cubicBezTo>
                  <a:cubicBezTo>
                    <a:pt x="3935" y="835"/>
                    <a:pt x="3001" y="1"/>
                    <a:pt x="1900" y="1"/>
                  </a:cubicBezTo>
                  <a:cubicBezTo>
                    <a:pt x="1881" y="1"/>
                    <a:pt x="1863" y="0"/>
                    <a:pt x="1844"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 name="Google Shape;2578;p58">
              <a:extLst>
                <a:ext uri="{FF2B5EF4-FFF2-40B4-BE49-F238E27FC236}">
                  <a16:creationId xmlns:a16="http://schemas.microsoft.com/office/drawing/2014/main" id="{7C15678D-820B-D867-9793-EB1E85946FF8}"/>
                </a:ext>
              </a:extLst>
            </p:cNvPr>
            <p:cNvSpPr/>
            <p:nvPr/>
          </p:nvSpPr>
          <p:spPr>
            <a:xfrm>
              <a:off x="3071525" y="1732525"/>
              <a:ext cx="16700" cy="15025"/>
            </a:xfrm>
            <a:custGeom>
              <a:avLst/>
              <a:gdLst/>
              <a:ahLst/>
              <a:cxnLst/>
              <a:rect l="l" t="t" r="r" b="b"/>
              <a:pathLst>
                <a:path w="668" h="601" extrusionOk="0">
                  <a:moveTo>
                    <a:pt x="301" y="0"/>
                  </a:moveTo>
                  <a:cubicBezTo>
                    <a:pt x="134" y="0"/>
                    <a:pt x="1" y="134"/>
                    <a:pt x="1" y="300"/>
                  </a:cubicBezTo>
                  <a:cubicBezTo>
                    <a:pt x="34" y="467"/>
                    <a:pt x="168" y="601"/>
                    <a:pt x="368" y="601"/>
                  </a:cubicBezTo>
                  <a:cubicBezTo>
                    <a:pt x="534" y="601"/>
                    <a:pt x="668" y="467"/>
                    <a:pt x="635" y="300"/>
                  </a:cubicBezTo>
                  <a:cubicBezTo>
                    <a:pt x="601" y="134"/>
                    <a:pt x="468" y="0"/>
                    <a:pt x="301"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 name="Google Shape;2579;p58">
              <a:extLst>
                <a:ext uri="{FF2B5EF4-FFF2-40B4-BE49-F238E27FC236}">
                  <a16:creationId xmlns:a16="http://schemas.microsoft.com/office/drawing/2014/main" id="{5970BD49-3C52-1A98-8FF2-ECF6AF853198}"/>
                </a:ext>
              </a:extLst>
            </p:cNvPr>
            <p:cNvSpPr/>
            <p:nvPr/>
          </p:nvSpPr>
          <p:spPr>
            <a:xfrm>
              <a:off x="3108225" y="1732525"/>
              <a:ext cx="16700" cy="15025"/>
            </a:xfrm>
            <a:custGeom>
              <a:avLst/>
              <a:gdLst/>
              <a:ahLst/>
              <a:cxnLst/>
              <a:rect l="l" t="t" r="r" b="b"/>
              <a:pathLst>
                <a:path w="668" h="601" extrusionOk="0">
                  <a:moveTo>
                    <a:pt x="334" y="0"/>
                  </a:moveTo>
                  <a:cubicBezTo>
                    <a:pt x="134" y="0"/>
                    <a:pt x="0" y="134"/>
                    <a:pt x="34" y="300"/>
                  </a:cubicBezTo>
                  <a:cubicBezTo>
                    <a:pt x="67" y="467"/>
                    <a:pt x="201" y="601"/>
                    <a:pt x="367" y="601"/>
                  </a:cubicBezTo>
                  <a:cubicBezTo>
                    <a:pt x="534" y="601"/>
                    <a:pt x="668" y="467"/>
                    <a:pt x="668" y="300"/>
                  </a:cubicBezTo>
                  <a:cubicBezTo>
                    <a:pt x="634" y="134"/>
                    <a:pt x="501" y="0"/>
                    <a:pt x="334"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 name="Google Shape;2580;p58">
              <a:extLst>
                <a:ext uri="{FF2B5EF4-FFF2-40B4-BE49-F238E27FC236}">
                  <a16:creationId xmlns:a16="http://schemas.microsoft.com/office/drawing/2014/main" id="{8341A738-6255-2ED1-4996-9D1A39A1024F}"/>
                </a:ext>
              </a:extLst>
            </p:cNvPr>
            <p:cNvSpPr/>
            <p:nvPr/>
          </p:nvSpPr>
          <p:spPr>
            <a:xfrm>
              <a:off x="3073200" y="1763375"/>
              <a:ext cx="56725" cy="17525"/>
            </a:xfrm>
            <a:custGeom>
              <a:avLst/>
              <a:gdLst/>
              <a:ahLst/>
              <a:cxnLst/>
              <a:rect l="l" t="t" r="r" b="b"/>
              <a:pathLst>
                <a:path w="2269" h="701" extrusionOk="0">
                  <a:moveTo>
                    <a:pt x="1101" y="0"/>
                  </a:moveTo>
                  <a:cubicBezTo>
                    <a:pt x="701" y="0"/>
                    <a:pt x="334" y="167"/>
                    <a:pt x="34" y="434"/>
                  </a:cubicBezTo>
                  <a:cubicBezTo>
                    <a:pt x="0" y="501"/>
                    <a:pt x="0" y="601"/>
                    <a:pt x="34" y="667"/>
                  </a:cubicBezTo>
                  <a:cubicBezTo>
                    <a:pt x="67" y="701"/>
                    <a:pt x="101" y="701"/>
                    <a:pt x="167" y="701"/>
                  </a:cubicBezTo>
                  <a:cubicBezTo>
                    <a:pt x="201" y="701"/>
                    <a:pt x="234" y="667"/>
                    <a:pt x="234" y="634"/>
                  </a:cubicBezTo>
                  <a:cubicBezTo>
                    <a:pt x="467" y="401"/>
                    <a:pt x="768" y="301"/>
                    <a:pt x="1068" y="301"/>
                  </a:cubicBezTo>
                  <a:cubicBezTo>
                    <a:pt x="1435" y="301"/>
                    <a:pt x="1735" y="434"/>
                    <a:pt x="2002" y="667"/>
                  </a:cubicBezTo>
                  <a:cubicBezTo>
                    <a:pt x="2035" y="684"/>
                    <a:pt x="2077" y="693"/>
                    <a:pt x="2114" y="693"/>
                  </a:cubicBezTo>
                  <a:cubicBezTo>
                    <a:pt x="2152" y="693"/>
                    <a:pt x="2185" y="684"/>
                    <a:pt x="2202" y="667"/>
                  </a:cubicBezTo>
                  <a:cubicBezTo>
                    <a:pt x="2269" y="601"/>
                    <a:pt x="2269" y="501"/>
                    <a:pt x="2202" y="434"/>
                  </a:cubicBezTo>
                  <a:cubicBezTo>
                    <a:pt x="1902" y="167"/>
                    <a:pt x="1502" y="0"/>
                    <a:pt x="1101"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 name="Google Shape;2581;p58">
              <a:extLst>
                <a:ext uri="{FF2B5EF4-FFF2-40B4-BE49-F238E27FC236}">
                  <a16:creationId xmlns:a16="http://schemas.microsoft.com/office/drawing/2014/main" id="{FF3F5049-0EAE-4A6B-837C-B6D4E64B726C}"/>
                </a:ext>
              </a:extLst>
            </p:cNvPr>
            <p:cNvSpPr/>
            <p:nvPr/>
          </p:nvSpPr>
          <p:spPr>
            <a:xfrm>
              <a:off x="2777150" y="1172125"/>
              <a:ext cx="1095800" cy="246025"/>
            </a:xfrm>
            <a:custGeom>
              <a:avLst/>
              <a:gdLst/>
              <a:ahLst/>
              <a:cxnLst/>
              <a:rect l="l" t="t" r="r" b="b"/>
              <a:pathLst>
                <a:path w="43832" h="9841" extrusionOk="0">
                  <a:moveTo>
                    <a:pt x="21383" y="1234"/>
                  </a:moveTo>
                  <a:cubicBezTo>
                    <a:pt x="22417" y="1234"/>
                    <a:pt x="23284" y="2035"/>
                    <a:pt x="23351" y="3102"/>
                  </a:cubicBezTo>
                  <a:cubicBezTo>
                    <a:pt x="23416" y="4084"/>
                    <a:pt x="22646" y="4938"/>
                    <a:pt x="21640" y="4938"/>
                  </a:cubicBezTo>
                  <a:cubicBezTo>
                    <a:pt x="21621" y="4938"/>
                    <a:pt x="21602" y="4938"/>
                    <a:pt x="21583" y="4937"/>
                  </a:cubicBezTo>
                  <a:cubicBezTo>
                    <a:pt x="20549" y="4904"/>
                    <a:pt x="19715" y="4103"/>
                    <a:pt x="19648" y="3102"/>
                  </a:cubicBezTo>
                  <a:cubicBezTo>
                    <a:pt x="19581" y="2068"/>
                    <a:pt x="20382" y="1234"/>
                    <a:pt x="21383" y="1234"/>
                  </a:cubicBezTo>
                  <a:close/>
                  <a:moveTo>
                    <a:pt x="21316" y="0"/>
                  </a:moveTo>
                  <a:cubicBezTo>
                    <a:pt x="18781" y="0"/>
                    <a:pt x="16713" y="1234"/>
                    <a:pt x="15979" y="2969"/>
                  </a:cubicBezTo>
                  <a:cubicBezTo>
                    <a:pt x="15679" y="3703"/>
                    <a:pt x="14811" y="4203"/>
                    <a:pt x="13811" y="4203"/>
                  </a:cubicBezTo>
                  <a:lnTo>
                    <a:pt x="7139" y="4203"/>
                  </a:lnTo>
                  <a:cubicBezTo>
                    <a:pt x="3870" y="4203"/>
                    <a:pt x="1035" y="6004"/>
                    <a:pt x="67" y="8740"/>
                  </a:cubicBezTo>
                  <a:cubicBezTo>
                    <a:pt x="34" y="8840"/>
                    <a:pt x="1" y="8940"/>
                    <a:pt x="1" y="9040"/>
                  </a:cubicBezTo>
                  <a:cubicBezTo>
                    <a:pt x="34" y="9474"/>
                    <a:pt x="401" y="9840"/>
                    <a:pt x="835" y="9840"/>
                  </a:cubicBezTo>
                  <a:lnTo>
                    <a:pt x="42898" y="9840"/>
                  </a:lnTo>
                  <a:cubicBezTo>
                    <a:pt x="43465" y="9840"/>
                    <a:pt x="43832" y="9240"/>
                    <a:pt x="43565" y="8740"/>
                  </a:cubicBezTo>
                  <a:cubicBezTo>
                    <a:pt x="42264" y="6004"/>
                    <a:pt x="39229" y="4203"/>
                    <a:pt x="35960" y="4203"/>
                  </a:cubicBezTo>
                  <a:lnTo>
                    <a:pt x="29288" y="4203"/>
                  </a:lnTo>
                  <a:cubicBezTo>
                    <a:pt x="29257" y="4204"/>
                    <a:pt x="29226" y="4205"/>
                    <a:pt x="29195" y="4205"/>
                  </a:cubicBezTo>
                  <a:cubicBezTo>
                    <a:pt x="28297" y="4205"/>
                    <a:pt x="27470" y="3743"/>
                    <a:pt x="26987" y="2969"/>
                  </a:cubicBezTo>
                  <a:cubicBezTo>
                    <a:pt x="26053" y="1234"/>
                    <a:pt x="23818" y="0"/>
                    <a:pt x="21316"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 name="Google Shape;2582;p58">
              <a:extLst>
                <a:ext uri="{FF2B5EF4-FFF2-40B4-BE49-F238E27FC236}">
                  <a16:creationId xmlns:a16="http://schemas.microsoft.com/office/drawing/2014/main" id="{5F4240BE-DAF8-45E4-312B-E8B93E70CE69}"/>
                </a:ext>
              </a:extLst>
            </p:cNvPr>
            <p:cNvSpPr/>
            <p:nvPr/>
          </p:nvSpPr>
          <p:spPr>
            <a:xfrm>
              <a:off x="4922025" y="4484025"/>
              <a:ext cx="49225" cy="19025"/>
            </a:xfrm>
            <a:custGeom>
              <a:avLst/>
              <a:gdLst/>
              <a:ahLst/>
              <a:cxnLst/>
              <a:rect l="l" t="t" r="r" b="b"/>
              <a:pathLst>
                <a:path w="1969" h="761" extrusionOk="0">
                  <a:moveTo>
                    <a:pt x="467" y="152"/>
                  </a:moveTo>
                  <a:cubicBezTo>
                    <a:pt x="901" y="219"/>
                    <a:pt x="1301" y="352"/>
                    <a:pt x="1701" y="553"/>
                  </a:cubicBezTo>
                  <a:cubicBezTo>
                    <a:pt x="1494" y="577"/>
                    <a:pt x="1260" y="593"/>
                    <a:pt x="1038" y="593"/>
                  </a:cubicBezTo>
                  <a:cubicBezTo>
                    <a:pt x="653" y="593"/>
                    <a:pt x="306" y="546"/>
                    <a:pt x="200" y="419"/>
                  </a:cubicBezTo>
                  <a:cubicBezTo>
                    <a:pt x="200" y="386"/>
                    <a:pt x="134" y="352"/>
                    <a:pt x="200" y="252"/>
                  </a:cubicBezTo>
                  <a:cubicBezTo>
                    <a:pt x="200" y="219"/>
                    <a:pt x="267" y="152"/>
                    <a:pt x="334" y="152"/>
                  </a:cubicBezTo>
                  <a:close/>
                  <a:moveTo>
                    <a:pt x="426" y="0"/>
                  </a:moveTo>
                  <a:cubicBezTo>
                    <a:pt x="368" y="0"/>
                    <a:pt x="315" y="6"/>
                    <a:pt x="267" y="19"/>
                  </a:cubicBezTo>
                  <a:cubicBezTo>
                    <a:pt x="167" y="52"/>
                    <a:pt x="100" y="119"/>
                    <a:pt x="67" y="219"/>
                  </a:cubicBezTo>
                  <a:cubicBezTo>
                    <a:pt x="0" y="319"/>
                    <a:pt x="0" y="419"/>
                    <a:pt x="100" y="519"/>
                  </a:cubicBezTo>
                  <a:cubicBezTo>
                    <a:pt x="324" y="687"/>
                    <a:pt x="571" y="761"/>
                    <a:pt x="841" y="761"/>
                  </a:cubicBezTo>
                  <a:cubicBezTo>
                    <a:pt x="894" y="761"/>
                    <a:pt x="947" y="758"/>
                    <a:pt x="1001" y="753"/>
                  </a:cubicBezTo>
                  <a:cubicBezTo>
                    <a:pt x="1301" y="753"/>
                    <a:pt x="1635" y="719"/>
                    <a:pt x="1935" y="653"/>
                  </a:cubicBezTo>
                  <a:cubicBezTo>
                    <a:pt x="1968" y="653"/>
                    <a:pt x="1968" y="619"/>
                    <a:pt x="1968" y="619"/>
                  </a:cubicBezTo>
                  <a:cubicBezTo>
                    <a:pt x="1968" y="586"/>
                    <a:pt x="1968" y="553"/>
                    <a:pt x="1935" y="519"/>
                  </a:cubicBezTo>
                  <a:cubicBezTo>
                    <a:pt x="1905" y="519"/>
                    <a:pt x="974" y="0"/>
                    <a:pt x="426"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 name="Google Shape;2583;p58">
              <a:extLst>
                <a:ext uri="{FF2B5EF4-FFF2-40B4-BE49-F238E27FC236}">
                  <a16:creationId xmlns:a16="http://schemas.microsoft.com/office/drawing/2014/main" id="{DA88829F-F59F-49E7-018E-1F8A8821083C}"/>
                </a:ext>
              </a:extLst>
            </p:cNvPr>
            <p:cNvSpPr/>
            <p:nvPr/>
          </p:nvSpPr>
          <p:spPr>
            <a:xfrm>
              <a:off x="4939525" y="4466150"/>
              <a:ext cx="32550" cy="34825"/>
            </a:xfrm>
            <a:custGeom>
              <a:avLst/>
              <a:gdLst/>
              <a:ahLst/>
              <a:cxnLst/>
              <a:rect l="l" t="t" r="r" b="b"/>
              <a:pathLst>
                <a:path w="1302" h="1393" extrusionOk="0">
                  <a:moveTo>
                    <a:pt x="334" y="133"/>
                  </a:moveTo>
                  <a:cubicBezTo>
                    <a:pt x="434" y="133"/>
                    <a:pt x="534" y="167"/>
                    <a:pt x="601" y="234"/>
                  </a:cubicBezTo>
                  <a:cubicBezTo>
                    <a:pt x="868" y="467"/>
                    <a:pt x="1035" y="801"/>
                    <a:pt x="1102" y="1168"/>
                  </a:cubicBezTo>
                  <a:cubicBezTo>
                    <a:pt x="701" y="934"/>
                    <a:pt x="168" y="434"/>
                    <a:pt x="168" y="200"/>
                  </a:cubicBezTo>
                  <a:cubicBezTo>
                    <a:pt x="168" y="200"/>
                    <a:pt x="168" y="133"/>
                    <a:pt x="301" y="133"/>
                  </a:cubicBezTo>
                  <a:close/>
                  <a:moveTo>
                    <a:pt x="268" y="0"/>
                  </a:moveTo>
                  <a:cubicBezTo>
                    <a:pt x="67" y="33"/>
                    <a:pt x="34" y="133"/>
                    <a:pt x="34" y="200"/>
                  </a:cubicBezTo>
                  <a:cubicBezTo>
                    <a:pt x="1" y="534"/>
                    <a:pt x="801" y="1201"/>
                    <a:pt x="1202" y="1368"/>
                  </a:cubicBezTo>
                  <a:lnTo>
                    <a:pt x="1235" y="1368"/>
                  </a:lnTo>
                  <a:cubicBezTo>
                    <a:pt x="1235" y="1384"/>
                    <a:pt x="1243" y="1393"/>
                    <a:pt x="1256" y="1393"/>
                  </a:cubicBezTo>
                  <a:cubicBezTo>
                    <a:pt x="1268" y="1393"/>
                    <a:pt x="1285" y="1384"/>
                    <a:pt x="1302" y="1368"/>
                  </a:cubicBezTo>
                  <a:cubicBezTo>
                    <a:pt x="1302" y="1334"/>
                    <a:pt x="1302" y="1334"/>
                    <a:pt x="1302" y="1301"/>
                  </a:cubicBezTo>
                  <a:cubicBezTo>
                    <a:pt x="1202" y="867"/>
                    <a:pt x="1001" y="467"/>
                    <a:pt x="701" y="133"/>
                  </a:cubicBezTo>
                  <a:cubicBezTo>
                    <a:pt x="568" y="33"/>
                    <a:pt x="401" y="0"/>
                    <a:pt x="268"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 name="Google Shape;2584;p58">
              <a:extLst>
                <a:ext uri="{FF2B5EF4-FFF2-40B4-BE49-F238E27FC236}">
                  <a16:creationId xmlns:a16="http://schemas.microsoft.com/office/drawing/2014/main" id="{5B50D04C-C750-8308-536B-3ADCCC3FF1BE}"/>
                </a:ext>
              </a:extLst>
            </p:cNvPr>
            <p:cNvSpPr/>
            <p:nvPr/>
          </p:nvSpPr>
          <p:spPr>
            <a:xfrm>
              <a:off x="4950375" y="4321875"/>
              <a:ext cx="104275" cy="176800"/>
            </a:xfrm>
            <a:custGeom>
              <a:avLst/>
              <a:gdLst/>
              <a:ahLst/>
              <a:cxnLst/>
              <a:rect l="l" t="t" r="r" b="b"/>
              <a:pathLst>
                <a:path w="4171" h="7072" extrusionOk="0">
                  <a:moveTo>
                    <a:pt x="0" y="0"/>
                  </a:moveTo>
                  <a:lnTo>
                    <a:pt x="1101" y="7072"/>
                  </a:lnTo>
                  <a:lnTo>
                    <a:pt x="4170" y="7072"/>
                  </a:lnTo>
                  <a:lnTo>
                    <a:pt x="3069" y="0"/>
                  </a:lnTo>
                  <a:close/>
                </a:path>
              </a:pathLst>
            </a:custGeom>
            <a:solidFill>
              <a:srgbClr val="FFC3B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 name="Google Shape;2585;p58">
              <a:extLst>
                <a:ext uri="{FF2B5EF4-FFF2-40B4-BE49-F238E27FC236}">
                  <a16:creationId xmlns:a16="http://schemas.microsoft.com/office/drawing/2014/main" id="{E26C5F24-A3C2-9EAC-316E-A3594F8A96CA}"/>
                </a:ext>
              </a:extLst>
            </p:cNvPr>
            <p:cNvSpPr/>
            <p:nvPr/>
          </p:nvSpPr>
          <p:spPr>
            <a:xfrm>
              <a:off x="4832800" y="4490325"/>
              <a:ext cx="259375" cy="86750"/>
            </a:xfrm>
            <a:custGeom>
              <a:avLst/>
              <a:gdLst/>
              <a:ahLst/>
              <a:cxnLst/>
              <a:rect l="l" t="t" r="r" b="b"/>
              <a:pathLst>
                <a:path w="10375" h="3470" extrusionOk="0">
                  <a:moveTo>
                    <a:pt x="5771" y="0"/>
                  </a:moveTo>
                  <a:cubicBezTo>
                    <a:pt x="5504" y="0"/>
                    <a:pt x="5237" y="67"/>
                    <a:pt x="5037" y="234"/>
                  </a:cubicBezTo>
                  <a:cubicBezTo>
                    <a:pt x="3102" y="1502"/>
                    <a:pt x="2835" y="1568"/>
                    <a:pt x="500" y="2069"/>
                  </a:cubicBezTo>
                  <a:cubicBezTo>
                    <a:pt x="0" y="2202"/>
                    <a:pt x="500" y="3470"/>
                    <a:pt x="1735" y="3470"/>
                  </a:cubicBezTo>
                  <a:cubicBezTo>
                    <a:pt x="3836" y="3470"/>
                    <a:pt x="3669" y="3370"/>
                    <a:pt x="5437" y="3370"/>
                  </a:cubicBezTo>
                  <a:cubicBezTo>
                    <a:pt x="6972" y="3370"/>
                    <a:pt x="8706" y="3470"/>
                    <a:pt x="9907" y="3470"/>
                  </a:cubicBezTo>
                  <a:cubicBezTo>
                    <a:pt x="10207" y="3436"/>
                    <a:pt x="10374" y="3169"/>
                    <a:pt x="10307" y="2903"/>
                  </a:cubicBezTo>
                  <a:lnTo>
                    <a:pt x="9407" y="201"/>
                  </a:lnTo>
                  <a:cubicBezTo>
                    <a:pt x="9340" y="67"/>
                    <a:pt x="9240" y="0"/>
                    <a:pt x="9107"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 name="Google Shape;2586;p58">
              <a:extLst>
                <a:ext uri="{FF2B5EF4-FFF2-40B4-BE49-F238E27FC236}">
                  <a16:creationId xmlns:a16="http://schemas.microsoft.com/office/drawing/2014/main" id="{52A0D0D3-0952-6BB7-4B5E-F8D34A46B924}"/>
                </a:ext>
              </a:extLst>
            </p:cNvPr>
            <p:cNvSpPr/>
            <p:nvPr/>
          </p:nvSpPr>
          <p:spPr>
            <a:xfrm>
              <a:off x="4950375" y="4321875"/>
              <a:ext cx="90925" cy="90925"/>
            </a:xfrm>
            <a:custGeom>
              <a:avLst/>
              <a:gdLst/>
              <a:ahLst/>
              <a:cxnLst/>
              <a:rect l="l" t="t" r="r" b="b"/>
              <a:pathLst>
                <a:path w="3637" h="3637" extrusionOk="0">
                  <a:moveTo>
                    <a:pt x="0" y="0"/>
                  </a:moveTo>
                  <a:lnTo>
                    <a:pt x="567" y="3636"/>
                  </a:lnTo>
                  <a:lnTo>
                    <a:pt x="3636" y="3636"/>
                  </a:lnTo>
                  <a:lnTo>
                    <a:pt x="3069" y="0"/>
                  </a:ln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 name="Google Shape;2587;p58">
              <a:extLst>
                <a:ext uri="{FF2B5EF4-FFF2-40B4-BE49-F238E27FC236}">
                  <a16:creationId xmlns:a16="http://schemas.microsoft.com/office/drawing/2014/main" id="{0F1F7768-ACD9-7E5E-3685-AE5842A7ED56}"/>
                </a:ext>
              </a:extLst>
            </p:cNvPr>
            <p:cNvSpPr/>
            <p:nvPr/>
          </p:nvSpPr>
          <p:spPr>
            <a:xfrm>
              <a:off x="4993725" y="2588125"/>
              <a:ext cx="110950" cy="80925"/>
            </a:xfrm>
            <a:custGeom>
              <a:avLst/>
              <a:gdLst/>
              <a:ahLst/>
              <a:cxnLst/>
              <a:rect l="l" t="t" r="r" b="b"/>
              <a:pathLst>
                <a:path w="4438" h="3237" extrusionOk="0">
                  <a:moveTo>
                    <a:pt x="2069" y="1"/>
                  </a:moveTo>
                  <a:lnTo>
                    <a:pt x="1" y="2102"/>
                  </a:lnTo>
                  <a:lnTo>
                    <a:pt x="3170" y="3236"/>
                  </a:lnTo>
                  <a:cubicBezTo>
                    <a:pt x="3170" y="3236"/>
                    <a:pt x="4437" y="1535"/>
                    <a:pt x="3537" y="334"/>
                  </a:cubicBezTo>
                  <a:lnTo>
                    <a:pt x="2069" y="1"/>
                  </a:lnTo>
                  <a:close/>
                </a:path>
              </a:pathLst>
            </a:custGeom>
            <a:solidFill>
              <a:srgbClr val="FFC3B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 name="Google Shape;2588;p58">
              <a:extLst>
                <a:ext uri="{FF2B5EF4-FFF2-40B4-BE49-F238E27FC236}">
                  <a16:creationId xmlns:a16="http://schemas.microsoft.com/office/drawing/2014/main" id="{B5058E38-9EA9-4789-72F5-D7CC6CD98FAC}"/>
                </a:ext>
              </a:extLst>
            </p:cNvPr>
            <p:cNvSpPr/>
            <p:nvPr/>
          </p:nvSpPr>
          <p:spPr>
            <a:xfrm>
              <a:off x="4976225" y="2640675"/>
              <a:ext cx="97600" cy="85900"/>
            </a:xfrm>
            <a:custGeom>
              <a:avLst/>
              <a:gdLst/>
              <a:ahLst/>
              <a:cxnLst/>
              <a:rect l="l" t="t" r="r" b="b"/>
              <a:pathLst>
                <a:path w="3904" h="3436" extrusionOk="0">
                  <a:moveTo>
                    <a:pt x="701" y="0"/>
                  </a:moveTo>
                  <a:lnTo>
                    <a:pt x="0" y="2969"/>
                  </a:lnTo>
                  <a:lnTo>
                    <a:pt x="3169" y="3436"/>
                  </a:lnTo>
                  <a:lnTo>
                    <a:pt x="3903" y="1134"/>
                  </a:lnTo>
                  <a:lnTo>
                    <a:pt x="701" y="0"/>
                  </a:lnTo>
                  <a:close/>
                </a:path>
              </a:pathLst>
            </a:custGeom>
            <a:solidFill>
              <a:srgbClr val="FFC3B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 name="Google Shape;2589;p58">
              <a:extLst>
                <a:ext uri="{FF2B5EF4-FFF2-40B4-BE49-F238E27FC236}">
                  <a16:creationId xmlns:a16="http://schemas.microsoft.com/office/drawing/2014/main" id="{F7005B58-74E1-32A6-9329-A4B5F5040C5F}"/>
                </a:ext>
              </a:extLst>
            </p:cNvPr>
            <p:cNvSpPr/>
            <p:nvPr/>
          </p:nvSpPr>
          <p:spPr>
            <a:xfrm>
              <a:off x="4949550" y="1940175"/>
              <a:ext cx="223500" cy="674675"/>
            </a:xfrm>
            <a:custGeom>
              <a:avLst/>
              <a:gdLst/>
              <a:ahLst/>
              <a:cxnLst/>
              <a:rect l="l" t="t" r="r" b="b"/>
              <a:pathLst>
                <a:path w="8940" h="26987" extrusionOk="0">
                  <a:moveTo>
                    <a:pt x="5237" y="0"/>
                  </a:moveTo>
                  <a:lnTo>
                    <a:pt x="0" y="2535"/>
                  </a:lnTo>
                  <a:cubicBezTo>
                    <a:pt x="200" y="2936"/>
                    <a:pt x="400" y="3436"/>
                    <a:pt x="600" y="3903"/>
                  </a:cubicBezTo>
                  <a:cubicBezTo>
                    <a:pt x="834" y="4370"/>
                    <a:pt x="1034" y="4837"/>
                    <a:pt x="1201" y="5337"/>
                  </a:cubicBezTo>
                  <a:cubicBezTo>
                    <a:pt x="1601" y="6271"/>
                    <a:pt x="1968" y="7239"/>
                    <a:pt x="2302" y="8206"/>
                  </a:cubicBezTo>
                  <a:cubicBezTo>
                    <a:pt x="2635" y="9173"/>
                    <a:pt x="2935" y="10141"/>
                    <a:pt x="3202" y="11075"/>
                  </a:cubicBezTo>
                  <a:lnTo>
                    <a:pt x="3369" y="11809"/>
                  </a:lnTo>
                  <a:lnTo>
                    <a:pt x="3536" y="12509"/>
                  </a:lnTo>
                  <a:cubicBezTo>
                    <a:pt x="3569" y="12743"/>
                    <a:pt x="3603" y="12976"/>
                    <a:pt x="3669" y="13210"/>
                  </a:cubicBezTo>
                  <a:cubicBezTo>
                    <a:pt x="3703" y="13443"/>
                    <a:pt x="3736" y="13643"/>
                    <a:pt x="3736" y="13877"/>
                  </a:cubicBezTo>
                  <a:lnTo>
                    <a:pt x="3769" y="14144"/>
                  </a:lnTo>
                  <a:lnTo>
                    <a:pt x="3769" y="14477"/>
                  </a:lnTo>
                  <a:lnTo>
                    <a:pt x="3769" y="14811"/>
                  </a:lnTo>
                  <a:lnTo>
                    <a:pt x="3769" y="15178"/>
                  </a:lnTo>
                  <a:cubicBezTo>
                    <a:pt x="3769" y="15678"/>
                    <a:pt x="3736" y="16212"/>
                    <a:pt x="3736" y="16712"/>
                  </a:cubicBezTo>
                  <a:cubicBezTo>
                    <a:pt x="3669" y="17746"/>
                    <a:pt x="3569" y="18780"/>
                    <a:pt x="3469" y="19848"/>
                  </a:cubicBezTo>
                  <a:cubicBezTo>
                    <a:pt x="3269" y="21982"/>
                    <a:pt x="3002" y="24117"/>
                    <a:pt x="2769" y="26252"/>
                  </a:cubicBezTo>
                  <a:lnTo>
                    <a:pt x="6571" y="26986"/>
                  </a:lnTo>
                  <a:cubicBezTo>
                    <a:pt x="7138" y="24851"/>
                    <a:pt x="7639" y="22716"/>
                    <a:pt x="8072" y="20548"/>
                  </a:cubicBezTo>
                  <a:cubicBezTo>
                    <a:pt x="8306" y="19414"/>
                    <a:pt x="8473" y="18313"/>
                    <a:pt x="8640" y="17212"/>
                  </a:cubicBezTo>
                  <a:cubicBezTo>
                    <a:pt x="8740" y="16612"/>
                    <a:pt x="8806" y="16078"/>
                    <a:pt x="8873" y="15478"/>
                  </a:cubicBezTo>
                  <a:lnTo>
                    <a:pt x="8906" y="15011"/>
                  </a:lnTo>
                  <a:lnTo>
                    <a:pt x="8940" y="14544"/>
                  </a:lnTo>
                  <a:lnTo>
                    <a:pt x="8940" y="14077"/>
                  </a:lnTo>
                  <a:lnTo>
                    <a:pt x="8940" y="13510"/>
                  </a:lnTo>
                  <a:cubicBezTo>
                    <a:pt x="8940" y="13143"/>
                    <a:pt x="8873" y="12876"/>
                    <a:pt x="8873" y="12576"/>
                  </a:cubicBezTo>
                  <a:cubicBezTo>
                    <a:pt x="8840" y="12242"/>
                    <a:pt x="8806" y="11942"/>
                    <a:pt x="8773" y="11642"/>
                  </a:cubicBezTo>
                  <a:lnTo>
                    <a:pt x="8640" y="10774"/>
                  </a:lnTo>
                  <a:lnTo>
                    <a:pt x="8473" y="9874"/>
                  </a:lnTo>
                  <a:cubicBezTo>
                    <a:pt x="8239" y="8740"/>
                    <a:pt x="7972" y="7606"/>
                    <a:pt x="7639" y="6471"/>
                  </a:cubicBezTo>
                  <a:cubicBezTo>
                    <a:pt x="7305" y="5371"/>
                    <a:pt x="6972" y="4303"/>
                    <a:pt x="6571" y="3202"/>
                  </a:cubicBezTo>
                  <a:cubicBezTo>
                    <a:pt x="6338" y="2669"/>
                    <a:pt x="6138" y="2168"/>
                    <a:pt x="5938" y="1635"/>
                  </a:cubicBezTo>
                  <a:cubicBezTo>
                    <a:pt x="5704" y="1068"/>
                    <a:pt x="5504" y="567"/>
                    <a:pt x="5237"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 name="Google Shape;2590;p58">
              <a:extLst>
                <a:ext uri="{FF2B5EF4-FFF2-40B4-BE49-F238E27FC236}">
                  <a16:creationId xmlns:a16="http://schemas.microsoft.com/office/drawing/2014/main" id="{31EB9025-29F0-5E32-E507-76AC3C28571D}"/>
                </a:ext>
              </a:extLst>
            </p:cNvPr>
            <p:cNvSpPr/>
            <p:nvPr/>
          </p:nvSpPr>
          <p:spPr>
            <a:xfrm>
              <a:off x="4720200" y="2550600"/>
              <a:ext cx="343600" cy="1844675"/>
            </a:xfrm>
            <a:custGeom>
              <a:avLst/>
              <a:gdLst/>
              <a:ahLst/>
              <a:cxnLst/>
              <a:rect l="l" t="t" r="r" b="b"/>
              <a:pathLst>
                <a:path w="13744" h="73787" extrusionOk="0">
                  <a:moveTo>
                    <a:pt x="1" y="1"/>
                  </a:moveTo>
                  <a:cubicBezTo>
                    <a:pt x="1" y="1"/>
                    <a:pt x="501" y="23451"/>
                    <a:pt x="1902" y="32791"/>
                  </a:cubicBezTo>
                  <a:cubicBezTo>
                    <a:pt x="3337" y="42531"/>
                    <a:pt x="8574" y="73787"/>
                    <a:pt x="8574" y="73787"/>
                  </a:cubicBezTo>
                  <a:lnTo>
                    <a:pt x="13744" y="73787"/>
                  </a:lnTo>
                  <a:cubicBezTo>
                    <a:pt x="13744" y="73787"/>
                    <a:pt x="11876" y="44032"/>
                    <a:pt x="11309" y="34459"/>
                  </a:cubicBezTo>
                  <a:cubicBezTo>
                    <a:pt x="10642" y="24051"/>
                    <a:pt x="10809" y="1"/>
                    <a:pt x="10809" y="1"/>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 name="Google Shape;2591;p58">
              <a:extLst>
                <a:ext uri="{FF2B5EF4-FFF2-40B4-BE49-F238E27FC236}">
                  <a16:creationId xmlns:a16="http://schemas.microsoft.com/office/drawing/2014/main" id="{D63D9330-478B-522D-3C9F-2F1FE84CE90E}"/>
                </a:ext>
              </a:extLst>
            </p:cNvPr>
            <p:cNvSpPr/>
            <p:nvPr/>
          </p:nvSpPr>
          <p:spPr>
            <a:xfrm>
              <a:off x="4902850" y="4343550"/>
              <a:ext cx="171800" cy="54225"/>
            </a:xfrm>
            <a:custGeom>
              <a:avLst/>
              <a:gdLst/>
              <a:ahLst/>
              <a:cxnLst/>
              <a:rect l="l" t="t" r="r" b="b"/>
              <a:pathLst>
                <a:path w="6872" h="2169" extrusionOk="0">
                  <a:moveTo>
                    <a:pt x="0" y="1"/>
                  </a:moveTo>
                  <a:cubicBezTo>
                    <a:pt x="0" y="1"/>
                    <a:pt x="534" y="2169"/>
                    <a:pt x="534" y="2169"/>
                  </a:cubicBezTo>
                  <a:lnTo>
                    <a:pt x="6872" y="2169"/>
                  </a:lnTo>
                  <a:lnTo>
                    <a:pt x="6805" y="234"/>
                  </a:lnTo>
                  <a:lnTo>
                    <a:pt x="0" y="1"/>
                  </a:ln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 name="Google Shape;2592;p58">
              <a:extLst>
                <a:ext uri="{FF2B5EF4-FFF2-40B4-BE49-F238E27FC236}">
                  <a16:creationId xmlns:a16="http://schemas.microsoft.com/office/drawing/2014/main" id="{382E72AF-3E61-B750-AF84-AC2BCD3E2BEF}"/>
                </a:ext>
              </a:extLst>
            </p:cNvPr>
            <p:cNvSpPr/>
            <p:nvPr/>
          </p:nvSpPr>
          <p:spPr>
            <a:xfrm>
              <a:off x="4675175" y="1588250"/>
              <a:ext cx="16700" cy="23450"/>
            </a:xfrm>
            <a:custGeom>
              <a:avLst/>
              <a:gdLst/>
              <a:ahLst/>
              <a:cxnLst/>
              <a:rect l="l" t="t" r="r" b="b"/>
              <a:pathLst>
                <a:path w="668" h="938" extrusionOk="0">
                  <a:moveTo>
                    <a:pt x="367" y="0"/>
                  </a:moveTo>
                  <a:cubicBezTo>
                    <a:pt x="201" y="0"/>
                    <a:pt x="34" y="200"/>
                    <a:pt x="34" y="467"/>
                  </a:cubicBezTo>
                  <a:cubicBezTo>
                    <a:pt x="1" y="701"/>
                    <a:pt x="134" y="934"/>
                    <a:pt x="301" y="934"/>
                  </a:cubicBezTo>
                  <a:cubicBezTo>
                    <a:pt x="313" y="937"/>
                    <a:pt x="325" y="938"/>
                    <a:pt x="337" y="938"/>
                  </a:cubicBezTo>
                  <a:cubicBezTo>
                    <a:pt x="491" y="938"/>
                    <a:pt x="634" y="748"/>
                    <a:pt x="634" y="501"/>
                  </a:cubicBezTo>
                  <a:cubicBezTo>
                    <a:pt x="668" y="234"/>
                    <a:pt x="534" y="0"/>
                    <a:pt x="367"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 name="Google Shape;2593;p58">
              <a:extLst>
                <a:ext uri="{FF2B5EF4-FFF2-40B4-BE49-F238E27FC236}">
                  <a16:creationId xmlns:a16="http://schemas.microsoft.com/office/drawing/2014/main" id="{17AAE3CB-ADC5-B2D4-A0CC-2A7D23369E6B}"/>
                </a:ext>
              </a:extLst>
            </p:cNvPr>
            <p:cNvSpPr/>
            <p:nvPr/>
          </p:nvSpPr>
          <p:spPr>
            <a:xfrm>
              <a:off x="4655150" y="1611600"/>
              <a:ext cx="32550" cy="62700"/>
            </a:xfrm>
            <a:custGeom>
              <a:avLst/>
              <a:gdLst/>
              <a:ahLst/>
              <a:cxnLst/>
              <a:rect l="l" t="t" r="r" b="b"/>
              <a:pathLst>
                <a:path w="1302" h="2508" extrusionOk="0">
                  <a:moveTo>
                    <a:pt x="1302" y="0"/>
                  </a:moveTo>
                  <a:lnTo>
                    <a:pt x="1302" y="0"/>
                  </a:lnTo>
                  <a:cubicBezTo>
                    <a:pt x="968" y="801"/>
                    <a:pt x="535" y="1535"/>
                    <a:pt x="1" y="2235"/>
                  </a:cubicBezTo>
                  <a:cubicBezTo>
                    <a:pt x="247" y="2408"/>
                    <a:pt x="567" y="2507"/>
                    <a:pt x="891" y="2507"/>
                  </a:cubicBezTo>
                  <a:cubicBezTo>
                    <a:pt x="1006" y="2507"/>
                    <a:pt x="1122" y="2495"/>
                    <a:pt x="1235" y="2469"/>
                  </a:cubicBezTo>
                  <a:lnTo>
                    <a:pt x="1302" y="0"/>
                  </a:lnTo>
                  <a:close/>
                </a:path>
              </a:pathLst>
            </a:custGeom>
            <a:solidFill>
              <a:srgbClr val="ED847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 name="Google Shape;2594;p58">
              <a:extLst>
                <a:ext uri="{FF2B5EF4-FFF2-40B4-BE49-F238E27FC236}">
                  <a16:creationId xmlns:a16="http://schemas.microsoft.com/office/drawing/2014/main" id="{2FD0F7DF-6A94-4692-5FBA-6862281AA003}"/>
                </a:ext>
              </a:extLst>
            </p:cNvPr>
            <p:cNvSpPr/>
            <p:nvPr/>
          </p:nvSpPr>
          <p:spPr>
            <a:xfrm>
              <a:off x="4681025" y="1549550"/>
              <a:ext cx="38375" cy="14525"/>
            </a:xfrm>
            <a:custGeom>
              <a:avLst/>
              <a:gdLst/>
              <a:ahLst/>
              <a:cxnLst/>
              <a:rect l="l" t="t" r="r" b="b"/>
              <a:pathLst>
                <a:path w="1535" h="581" extrusionOk="0">
                  <a:moveTo>
                    <a:pt x="570" y="0"/>
                  </a:moveTo>
                  <a:cubicBezTo>
                    <a:pt x="411" y="0"/>
                    <a:pt x="252" y="26"/>
                    <a:pt x="100" y="81"/>
                  </a:cubicBezTo>
                  <a:cubicBezTo>
                    <a:pt x="33" y="114"/>
                    <a:pt x="0" y="181"/>
                    <a:pt x="0" y="281"/>
                  </a:cubicBezTo>
                  <a:cubicBezTo>
                    <a:pt x="24" y="330"/>
                    <a:pt x="85" y="361"/>
                    <a:pt x="141" y="361"/>
                  </a:cubicBezTo>
                  <a:cubicBezTo>
                    <a:pt x="162" y="361"/>
                    <a:pt x="182" y="356"/>
                    <a:pt x="200" y="347"/>
                  </a:cubicBezTo>
                  <a:cubicBezTo>
                    <a:pt x="310" y="317"/>
                    <a:pt x="423" y="302"/>
                    <a:pt x="537" y="302"/>
                  </a:cubicBezTo>
                  <a:cubicBezTo>
                    <a:pt x="801" y="302"/>
                    <a:pt x="1067" y="384"/>
                    <a:pt x="1301" y="548"/>
                  </a:cubicBezTo>
                  <a:cubicBezTo>
                    <a:pt x="1301" y="581"/>
                    <a:pt x="1334" y="581"/>
                    <a:pt x="1368" y="581"/>
                  </a:cubicBezTo>
                  <a:cubicBezTo>
                    <a:pt x="1434" y="581"/>
                    <a:pt x="1468" y="548"/>
                    <a:pt x="1501" y="514"/>
                  </a:cubicBezTo>
                  <a:cubicBezTo>
                    <a:pt x="1534" y="448"/>
                    <a:pt x="1534" y="347"/>
                    <a:pt x="1468" y="314"/>
                  </a:cubicBezTo>
                  <a:cubicBezTo>
                    <a:pt x="1220" y="112"/>
                    <a:pt x="897" y="0"/>
                    <a:pt x="570"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 name="Google Shape;2595;p58">
              <a:extLst>
                <a:ext uri="{FF2B5EF4-FFF2-40B4-BE49-F238E27FC236}">
                  <a16:creationId xmlns:a16="http://schemas.microsoft.com/office/drawing/2014/main" id="{0B1E99B8-3C45-B7A5-7842-5BDCC6DBCFD2}"/>
                </a:ext>
              </a:extLst>
            </p:cNvPr>
            <p:cNvSpPr/>
            <p:nvPr/>
          </p:nvSpPr>
          <p:spPr>
            <a:xfrm>
              <a:off x="4668500" y="1671650"/>
              <a:ext cx="236025" cy="252700"/>
            </a:xfrm>
            <a:custGeom>
              <a:avLst/>
              <a:gdLst/>
              <a:ahLst/>
              <a:cxnLst/>
              <a:rect l="l" t="t" r="r" b="b"/>
              <a:pathLst>
                <a:path w="9441" h="10108" extrusionOk="0">
                  <a:moveTo>
                    <a:pt x="9007" y="0"/>
                  </a:moveTo>
                  <a:lnTo>
                    <a:pt x="4604" y="3669"/>
                  </a:lnTo>
                  <a:cubicBezTo>
                    <a:pt x="5004" y="5404"/>
                    <a:pt x="4971" y="7239"/>
                    <a:pt x="2469" y="7839"/>
                  </a:cubicBezTo>
                  <a:cubicBezTo>
                    <a:pt x="2469" y="7839"/>
                    <a:pt x="1" y="10107"/>
                    <a:pt x="4571" y="10107"/>
                  </a:cubicBezTo>
                  <a:cubicBezTo>
                    <a:pt x="8740" y="10107"/>
                    <a:pt x="9441" y="7839"/>
                    <a:pt x="9441" y="7839"/>
                  </a:cubicBezTo>
                  <a:cubicBezTo>
                    <a:pt x="7906" y="6338"/>
                    <a:pt x="8507" y="2235"/>
                    <a:pt x="9007" y="0"/>
                  </a:cubicBezTo>
                  <a:close/>
                </a:path>
              </a:pathLst>
            </a:custGeom>
            <a:solidFill>
              <a:srgbClr val="FFC3B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2596;p58">
              <a:extLst>
                <a:ext uri="{FF2B5EF4-FFF2-40B4-BE49-F238E27FC236}">
                  <a16:creationId xmlns:a16="http://schemas.microsoft.com/office/drawing/2014/main" id="{CF080EFB-95EC-34D6-C034-EC45FEE36A2B}"/>
                </a:ext>
              </a:extLst>
            </p:cNvPr>
            <p:cNvSpPr/>
            <p:nvPr/>
          </p:nvSpPr>
          <p:spPr>
            <a:xfrm>
              <a:off x="4681025" y="1825825"/>
              <a:ext cx="287725" cy="72675"/>
            </a:xfrm>
            <a:custGeom>
              <a:avLst/>
              <a:gdLst/>
              <a:ahLst/>
              <a:cxnLst/>
              <a:rect l="l" t="t" r="r" b="b"/>
              <a:pathLst>
                <a:path w="11509" h="2907" extrusionOk="0">
                  <a:moveTo>
                    <a:pt x="5491" y="1"/>
                  </a:moveTo>
                  <a:cubicBezTo>
                    <a:pt x="4025" y="1"/>
                    <a:pt x="2611" y="101"/>
                    <a:pt x="1801" y="371"/>
                  </a:cubicBezTo>
                  <a:cubicBezTo>
                    <a:pt x="667" y="671"/>
                    <a:pt x="0" y="1805"/>
                    <a:pt x="300" y="2906"/>
                  </a:cubicBezTo>
                  <a:lnTo>
                    <a:pt x="10541" y="2739"/>
                  </a:lnTo>
                  <a:cubicBezTo>
                    <a:pt x="11008" y="1805"/>
                    <a:pt x="11508" y="771"/>
                    <a:pt x="10541" y="438"/>
                  </a:cubicBezTo>
                  <a:cubicBezTo>
                    <a:pt x="9925" y="219"/>
                    <a:pt x="7652" y="1"/>
                    <a:pt x="5491" y="1"/>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2597;p58">
              <a:extLst>
                <a:ext uri="{FF2B5EF4-FFF2-40B4-BE49-F238E27FC236}">
                  <a16:creationId xmlns:a16="http://schemas.microsoft.com/office/drawing/2014/main" id="{D8CE40FD-680E-DF28-A547-16067BAE6DFD}"/>
                </a:ext>
              </a:extLst>
            </p:cNvPr>
            <p:cNvSpPr/>
            <p:nvPr/>
          </p:nvSpPr>
          <p:spPr>
            <a:xfrm>
              <a:off x="4947100" y="1880650"/>
              <a:ext cx="206775" cy="312225"/>
            </a:xfrm>
            <a:custGeom>
              <a:avLst/>
              <a:gdLst/>
              <a:ahLst/>
              <a:cxnLst/>
              <a:rect l="l" t="t" r="r" b="b"/>
              <a:pathLst>
                <a:path w="8271" h="12489" extrusionOk="0">
                  <a:moveTo>
                    <a:pt x="2787" y="0"/>
                  </a:moveTo>
                  <a:cubicBezTo>
                    <a:pt x="989" y="0"/>
                    <a:pt x="0" y="1898"/>
                    <a:pt x="665" y="4983"/>
                  </a:cubicBezTo>
                  <a:cubicBezTo>
                    <a:pt x="1232" y="7518"/>
                    <a:pt x="1999" y="10053"/>
                    <a:pt x="2967" y="12488"/>
                  </a:cubicBezTo>
                  <a:lnTo>
                    <a:pt x="8271" y="10820"/>
                  </a:lnTo>
                  <a:cubicBezTo>
                    <a:pt x="8271" y="10820"/>
                    <a:pt x="6936" y="1580"/>
                    <a:pt x="4301" y="380"/>
                  </a:cubicBezTo>
                  <a:cubicBezTo>
                    <a:pt x="3753" y="123"/>
                    <a:pt x="3244" y="0"/>
                    <a:pt x="2787"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 name="Google Shape;2598;p58">
              <a:extLst>
                <a:ext uri="{FF2B5EF4-FFF2-40B4-BE49-F238E27FC236}">
                  <a16:creationId xmlns:a16="http://schemas.microsoft.com/office/drawing/2014/main" id="{2A273844-6A47-8803-9032-B6E763807810}"/>
                </a:ext>
              </a:extLst>
            </p:cNvPr>
            <p:cNvSpPr/>
            <p:nvPr/>
          </p:nvSpPr>
          <p:spPr>
            <a:xfrm>
              <a:off x="4120625" y="2196175"/>
              <a:ext cx="116775" cy="107500"/>
            </a:xfrm>
            <a:custGeom>
              <a:avLst/>
              <a:gdLst/>
              <a:ahLst/>
              <a:cxnLst/>
              <a:rect l="l" t="t" r="r" b="b"/>
              <a:pathLst>
                <a:path w="4671" h="4300" extrusionOk="0">
                  <a:moveTo>
                    <a:pt x="2235" y="1"/>
                  </a:moveTo>
                  <a:lnTo>
                    <a:pt x="0" y="3203"/>
                  </a:lnTo>
                  <a:cubicBezTo>
                    <a:pt x="0" y="3203"/>
                    <a:pt x="1371" y="4300"/>
                    <a:pt x="3072" y="4300"/>
                  </a:cubicBezTo>
                  <a:cubicBezTo>
                    <a:pt x="3427" y="4300"/>
                    <a:pt x="3796" y="4252"/>
                    <a:pt x="4170" y="4137"/>
                  </a:cubicBezTo>
                  <a:lnTo>
                    <a:pt x="4670" y="2102"/>
                  </a:lnTo>
                  <a:lnTo>
                    <a:pt x="2235" y="1"/>
                  </a:lnTo>
                  <a:close/>
                </a:path>
              </a:pathLst>
            </a:custGeom>
            <a:solidFill>
              <a:srgbClr val="FFC3B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 name="Google Shape;2599;p58">
              <a:extLst>
                <a:ext uri="{FF2B5EF4-FFF2-40B4-BE49-F238E27FC236}">
                  <a16:creationId xmlns:a16="http://schemas.microsoft.com/office/drawing/2014/main" id="{C0FDA997-4E27-802A-39A7-25C6E4F6F026}"/>
                </a:ext>
              </a:extLst>
            </p:cNvPr>
            <p:cNvSpPr/>
            <p:nvPr/>
          </p:nvSpPr>
          <p:spPr>
            <a:xfrm>
              <a:off x="4087250" y="2170325"/>
              <a:ext cx="89250" cy="105950"/>
            </a:xfrm>
            <a:custGeom>
              <a:avLst/>
              <a:gdLst/>
              <a:ahLst/>
              <a:cxnLst/>
              <a:rect l="l" t="t" r="r" b="b"/>
              <a:pathLst>
                <a:path w="3570" h="4238" extrusionOk="0">
                  <a:moveTo>
                    <a:pt x="334" y="1"/>
                  </a:moveTo>
                  <a:lnTo>
                    <a:pt x="1" y="3170"/>
                  </a:lnTo>
                  <a:lnTo>
                    <a:pt x="1368" y="4237"/>
                  </a:lnTo>
                  <a:lnTo>
                    <a:pt x="3570" y="1035"/>
                  </a:lnTo>
                  <a:lnTo>
                    <a:pt x="334" y="1"/>
                  </a:lnTo>
                  <a:close/>
                </a:path>
              </a:pathLst>
            </a:custGeom>
            <a:solidFill>
              <a:srgbClr val="FFC3B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 name="Google Shape;2600;p58">
              <a:extLst>
                <a:ext uri="{FF2B5EF4-FFF2-40B4-BE49-F238E27FC236}">
                  <a16:creationId xmlns:a16="http://schemas.microsoft.com/office/drawing/2014/main" id="{9693C05F-AFB8-71BA-580B-BF32756C70CD}"/>
                </a:ext>
              </a:extLst>
            </p:cNvPr>
            <p:cNvSpPr/>
            <p:nvPr/>
          </p:nvSpPr>
          <p:spPr>
            <a:xfrm>
              <a:off x="4667675" y="1469150"/>
              <a:ext cx="247625" cy="314750"/>
            </a:xfrm>
            <a:custGeom>
              <a:avLst/>
              <a:gdLst/>
              <a:ahLst/>
              <a:cxnLst/>
              <a:rect l="l" t="t" r="r" b="b"/>
              <a:pathLst>
                <a:path w="9905" h="12590" extrusionOk="0">
                  <a:moveTo>
                    <a:pt x="5461" y="1"/>
                  </a:moveTo>
                  <a:cubicBezTo>
                    <a:pt x="4905" y="1"/>
                    <a:pt x="4333" y="115"/>
                    <a:pt x="3770" y="361"/>
                  </a:cubicBezTo>
                  <a:cubicBezTo>
                    <a:pt x="601" y="1629"/>
                    <a:pt x="0" y="6332"/>
                    <a:pt x="601" y="9201"/>
                  </a:cubicBezTo>
                  <a:cubicBezTo>
                    <a:pt x="989" y="11313"/>
                    <a:pt x="2811" y="12590"/>
                    <a:pt x="4691" y="12590"/>
                  </a:cubicBezTo>
                  <a:cubicBezTo>
                    <a:pt x="5721" y="12590"/>
                    <a:pt x="6768" y="12207"/>
                    <a:pt x="7606" y="11369"/>
                  </a:cubicBezTo>
                  <a:cubicBezTo>
                    <a:pt x="9274" y="9735"/>
                    <a:pt x="9307" y="7867"/>
                    <a:pt x="9607" y="4698"/>
                  </a:cubicBezTo>
                  <a:cubicBezTo>
                    <a:pt x="9905" y="2075"/>
                    <a:pt x="7836" y="1"/>
                    <a:pt x="5461" y="1"/>
                  </a:cubicBezTo>
                  <a:close/>
                </a:path>
              </a:pathLst>
            </a:custGeom>
            <a:solidFill>
              <a:srgbClr val="FFC3B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 name="Google Shape;2601;p58">
              <a:extLst>
                <a:ext uri="{FF2B5EF4-FFF2-40B4-BE49-F238E27FC236}">
                  <a16:creationId xmlns:a16="http://schemas.microsoft.com/office/drawing/2014/main" id="{FE4F6C29-A380-8447-2D6E-56C54725DD70}"/>
                </a:ext>
              </a:extLst>
            </p:cNvPr>
            <p:cNvSpPr/>
            <p:nvPr/>
          </p:nvSpPr>
          <p:spPr>
            <a:xfrm>
              <a:off x="4683525" y="1414800"/>
              <a:ext cx="352050" cy="331600"/>
            </a:xfrm>
            <a:custGeom>
              <a:avLst/>
              <a:gdLst/>
              <a:ahLst/>
              <a:cxnLst/>
              <a:rect l="l" t="t" r="r" b="b"/>
              <a:pathLst>
                <a:path w="14082" h="13264" extrusionOk="0">
                  <a:moveTo>
                    <a:pt x="2435" y="0"/>
                  </a:moveTo>
                  <a:cubicBezTo>
                    <a:pt x="0" y="834"/>
                    <a:pt x="100" y="2669"/>
                    <a:pt x="601" y="3369"/>
                  </a:cubicBezTo>
                  <a:cubicBezTo>
                    <a:pt x="1101" y="4070"/>
                    <a:pt x="2168" y="4103"/>
                    <a:pt x="3403" y="4370"/>
                  </a:cubicBezTo>
                  <a:cubicBezTo>
                    <a:pt x="2235" y="4837"/>
                    <a:pt x="2168" y="5671"/>
                    <a:pt x="2469" y="7872"/>
                  </a:cubicBezTo>
                  <a:cubicBezTo>
                    <a:pt x="2669" y="9707"/>
                    <a:pt x="3803" y="12175"/>
                    <a:pt x="4236" y="13043"/>
                  </a:cubicBezTo>
                  <a:cubicBezTo>
                    <a:pt x="4289" y="13174"/>
                    <a:pt x="4424" y="13264"/>
                    <a:pt x="4576" y="13264"/>
                  </a:cubicBezTo>
                  <a:cubicBezTo>
                    <a:pt x="4618" y="13264"/>
                    <a:pt x="4661" y="13257"/>
                    <a:pt x="4703" y="13243"/>
                  </a:cubicBezTo>
                  <a:cubicBezTo>
                    <a:pt x="5118" y="13134"/>
                    <a:pt x="5888" y="12954"/>
                    <a:pt x="6596" y="12954"/>
                  </a:cubicBezTo>
                  <a:cubicBezTo>
                    <a:pt x="6971" y="12954"/>
                    <a:pt x="7328" y="13004"/>
                    <a:pt x="7606" y="13143"/>
                  </a:cubicBezTo>
                  <a:cubicBezTo>
                    <a:pt x="7659" y="13166"/>
                    <a:pt x="7714" y="13176"/>
                    <a:pt x="7769" y="13176"/>
                  </a:cubicBezTo>
                  <a:cubicBezTo>
                    <a:pt x="7953" y="13176"/>
                    <a:pt x="8129" y="13056"/>
                    <a:pt x="8206" y="12876"/>
                  </a:cubicBezTo>
                  <a:cubicBezTo>
                    <a:pt x="8573" y="11675"/>
                    <a:pt x="9874" y="10141"/>
                    <a:pt x="11842" y="7872"/>
                  </a:cubicBezTo>
                  <a:cubicBezTo>
                    <a:pt x="14082" y="5349"/>
                    <a:pt x="12413" y="1900"/>
                    <a:pt x="11210" y="1900"/>
                  </a:cubicBezTo>
                  <a:cubicBezTo>
                    <a:pt x="11141" y="1900"/>
                    <a:pt x="11073" y="1911"/>
                    <a:pt x="11008" y="1935"/>
                  </a:cubicBezTo>
                  <a:cubicBezTo>
                    <a:pt x="10823" y="516"/>
                    <a:pt x="9510" y="10"/>
                    <a:pt x="7999" y="10"/>
                  </a:cubicBezTo>
                  <a:cubicBezTo>
                    <a:pt x="7058" y="10"/>
                    <a:pt x="6041" y="206"/>
                    <a:pt x="5170" y="500"/>
                  </a:cubicBezTo>
                  <a:cubicBezTo>
                    <a:pt x="4512" y="736"/>
                    <a:pt x="3984" y="827"/>
                    <a:pt x="3572" y="827"/>
                  </a:cubicBezTo>
                  <a:cubicBezTo>
                    <a:pt x="2587" y="827"/>
                    <a:pt x="2271" y="306"/>
                    <a:pt x="2435"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2602;p58">
              <a:extLst>
                <a:ext uri="{FF2B5EF4-FFF2-40B4-BE49-F238E27FC236}">
                  <a16:creationId xmlns:a16="http://schemas.microsoft.com/office/drawing/2014/main" id="{6FA82E97-56A1-C063-18A1-A2E4E4297FB1}"/>
                </a:ext>
              </a:extLst>
            </p:cNvPr>
            <p:cNvSpPr/>
            <p:nvPr/>
          </p:nvSpPr>
          <p:spPr>
            <a:xfrm>
              <a:off x="4947875" y="1451825"/>
              <a:ext cx="70900" cy="18025"/>
            </a:xfrm>
            <a:custGeom>
              <a:avLst/>
              <a:gdLst/>
              <a:ahLst/>
              <a:cxnLst/>
              <a:rect l="l" t="t" r="r" b="b"/>
              <a:pathLst>
                <a:path w="2836" h="721" extrusionOk="0">
                  <a:moveTo>
                    <a:pt x="1503" y="0"/>
                  </a:moveTo>
                  <a:cubicBezTo>
                    <a:pt x="510" y="0"/>
                    <a:pt x="0" y="721"/>
                    <a:pt x="0" y="721"/>
                  </a:cubicBezTo>
                  <a:cubicBezTo>
                    <a:pt x="746" y="500"/>
                    <a:pt x="1538" y="370"/>
                    <a:pt x="2338" y="370"/>
                  </a:cubicBezTo>
                  <a:cubicBezTo>
                    <a:pt x="2504" y="370"/>
                    <a:pt x="2670" y="376"/>
                    <a:pt x="2836" y="387"/>
                  </a:cubicBezTo>
                  <a:cubicBezTo>
                    <a:pt x="2323" y="103"/>
                    <a:pt x="1879" y="0"/>
                    <a:pt x="1503"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 name="Google Shape;2603;p58">
              <a:extLst>
                <a:ext uri="{FF2B5EF4-FFF2-40B4-BE49-F238E27FC236}">
                  <a16:creationId xmlns:a16="http://schemas.microsoft.com/office/drawing/2014/main" id="{160E1CFA-95EF-A087-29C6-5B81F7BB7F4B}"/>
                </a:ext>
              </a:extLst>
            </p:cNvPr>
            <p:cNvSpPr/>
            <p:nvPr/>
          </p:nvSpPr>
          <p:spPr>
            <a:xfrm>
              <a:off x="4952050" y="1417300"/>
              <a:ext cx="33375" cy="60050"/>
            </a:xfrm>
            <a:custGeom>
              <a:avLst/>
              <a:gdLst/>
              <a:ahLst/>
              <a:cxnLst/>
              <a:rect l="l" t="t" r="r" b="b"/>
              <a:pathLst>
                <a:path w="1335" h="2402" extrusionOk="0">
                  <a:moveTo>
                    <a:pt x="300" y="0"/>
                  </a:moveTo>
                  <a:lnTo>
                    <a:pt x="300" y="0"/>
                  </a:lnTo>
                  <a:cubicBezTo>
                    <a:pt x="367" y="801"/>
                    <a:pt x="267" y="1635"/>
                    <a:pt x="0" y="2402"/>
                  </a:cubicBezTo>
                  <a:cubicBezTo>
                    <a:pt x="0" y="2402"/>
                    <a:pt x="1334" y="1568"/>
                    <a:pt x="300"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 name="Google Shape;2604;p58">
              <a:extLst>
                <a:ext uri="{FF2B5EF4-FFF2-40B4-BE49-F238E27FC236}">
                  <a16:creationId xmlns:a16="http://schemas.microsoft.com/office/drawing/2014/main" id="{251B6B46-70C7-08F0-51BC-78414F8FEEDE}"/>
                </a:ext>
              </a:extLst>
            </p:cNvPr>
            <p:cNvSpPr/>
            <p:nvPr/>
          </p:nvSpPr>
          <p:spPr>
            <a:xfrm>
              <a:off x="4718550" y="1579625"/>
              <a:ext cx="68425" cy="94800"/>
            </a:xfrm>
            <a:custGeom>
              <a:avLst/>
              <a:gdLst/>
              <a:ahLst/>
              <a:cxnLst/>
              <a:rect l="l" t="t" r="r" b="b"/>
              <a:pathLst>
                <a:path w="2737" h="3792" extrusionOk="0">
                  <a:moveTo>
                    <a:pt x="1767" y="0"/>
                  </a:moveTo>
                  <a:cubicBezTo>
                    <a:pt x="1624" y="0"/>
                    <a:pt x="1467" y="35"/>
                    <a:pt x="1301" y="112"/>
                  </a:cubicBezTo>
                  <a:cubicBezTo>
                    <a:pt x="400" y="479"/>
                    <a:pt x="0" y="1880"/>
                    <a:pt x="33" y="2714"/>
                  </a:cubicBezTo>
                  <a:cubicBezTo>
                    <a:pt x="56" y="3343"/>
                    <a:pt x="367" y="3791"/>
                    <a:pt x="802" y="3791"/>
                  </a:cubicBezTo>
                  <a:cubicBezTo>
                    <a:pt x="1012" y="3791"/>
                    <a:pt x="1251" y="3687"/>
                    <a:pt x="1501" y="3448"/>
                  </a:cubicBezTo>
                  <a:cubicBezTo>
                    <a:pt x="2068" y="2880"/>
                    <a:pt x="2469" y="2180"/>
                    <a:pt x="2602" y="1379"/>
                  </a:cubicBezTo>
                  <a:cubicBezTo>
                    <a:pt x="2737" y="624"/>
                    <a:pt x="2370" y="0"/>
                    <a:pt x="1767" y="0"/>
                  </a:cubicBezTo>
                  <a:close/>
                </a:path>
              </a:pathLst>
            </a:custGeom>
            <a:solidFill>
              <a:srgbClr val="FFC3B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 name="Google Shape;2605;p58">
              <a:extLst>
                <a:ext uri="{FF2B5EF4-FFF2-40B4-BE49-F238E27FC236}">
                  <a16:creationId xmlns:a16="http://schemas.microsoft.com/office/drawing/2014/main" id="{5FFF6D83-85CE-634E-3DF9-8137C8BA585E}"/>
                </a:ext>
              </a:extLst>
            </p:cNvPr>
            <p:cNvSpPr/>
            <p:nvPr/>
          </p:nvSpPr>
          <p:spPr>
            <a:xfrm>
              <a:off x="4731050" y="2876675"/>
              <a:ext cx="137625" cy="672175"/>
            </a:xfrm>
            <a:custGeom>
              <a:avLst/>
              <a:gdLst/>
              <a:ahLst/>
              <a:cxnLst/>
              <a:rect l="l" t="t" r="r" b="b"/>
              <a:pathLst>
                <a:path w="5505" h="26887" extrusionOk="0">
                  <a:moveTo>
                    <a:pt x="0" y="0"/>
                  </a:moveTo>
                  <a:lnTo>
                    <a:pt x="0" y="0"/>
                  </a:lnTo>
                  <a:cubicBezTo>
                    <a:pt x="301" y="7005"/>
                    <a:pt x="768" y="15111"/>
                    <a:pt x="1468" y="19748"/>
                  </a:cubicBezTo>
                  <a:cubicBezTo>
                    <a:pt x="1735" y="21516"/>
                    <a:pt x="2102" y="24017"/>
                    <a:pt x="2569" y="26886"/>
                  </a:cubicBezTo>
                  <a:cubicBezTo>
                    <a:pt x="4404" y="16812"/>
                    <a:pt x="5504" y="3870"/>
                    <a:pt x="0" y="0"/>
                  </a:cubicBezTo>
                  <a:close/>
                </a:path>
              </a:pathLst>
            </a:custGeom>
            <a:solidFill>
              <a:srgbClr val="2F9C8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 name="Google Shape;2606;p58">
              <a:extLst>
                <a:ext uri="{FF2B5EF4-FFF2-40B4-BE49-F238E27FC236}">
                  <a16:creationId xmlns:a16="http://schemas.microsoft.com/office/drawing/2014/main" id="{28A7CFC9-1668-F98C-4150-90DDD8571A63}"/>
                </a:ext>
              </a:extLst>
            </p:cNvPr>
            <p:cNvSpPr/>
            <p:nvPr/>
          </p:nvSpPr>
          <p:spPr>
            <a:xfrm>
              <a:off x="4649325" y="4484025"/>
              <a:ext cx="49225" cy="18825"/>
            </a:xfrm>
            <a:custGeom>
              <a:avLst/>
              <a:gdLst/>
              <a:ahLst/>
              <a:cxnLst/>
              <a:rect l="l" t="t" r="r" b="b"/>
              <a:pathLst>
                <a:path w="1969" h="753" extrusionOk="0">
                  <a:moveTo>
                    <a:pt x="501" y="152"/>
                  </a:moveTo>
                  <a:cubicBezTo>
                    <a:pt x="934" y="219"/>
                    <a:pt x="1335" y="352"/>
                    <a:pt x="1702" y="553"/>
                  </a:cubicBezTo>
                  <a:cubicBezTo>
                    <a:pt x="1482" y="577"/>
                    <a:pt x="1240" y="593"/>
                    <a:pt x="1015" y="593"/>
                  </a:cubicBezTo>
                  <a:cubicBezTo>
                    <a:pt x="625" y="593"/>
                    <a:pt x="285" y="546"/>
                    <a:pt x="201" y="419"/>
                  </a:cubicBezTo>
                  <a:cubicBezTo>
                    <a:pt x="201" y="386"/>
                    <a:pt x="167" y="352"/>
                    <a:pt x="234" y="252"/>
                  </a:cubicBezTo>
                  <a:cubicBezTo>
                    <a:pt x="267" y="219"/>
                    <a:pt x="301" y="152"/>
                    <a:pt x="367" y="152"/>
                  </a:cubicBezTo>
                  <a:close/>
                  <a:moveTo>
                    <a:pt x="490" y="0"/>
                  </a:moveTo>
                  <a:cubicBezTo>
                    <a:pt x="434" y="0"/>
                    <a:pt x="382" y="6"/>
                    <a:pt x="334" y="19"/>
                  </a:cubicBezTo>
                  <a:cubicBezTo>
                    <a:pt x="234" y="52"/>
                    <a:pt x="134" y="119"/>
                    <a:pt x="67" y="219"/>
                  </a:cubicBezTo>
                  <a:cubicBezTo>
                    <a:pt x="0" y="286"/>
                    <a:pt x="0" y="419"/>
                    <a:pt x="67" y="519"/>
                  </a:cubicBezTo>
                  <a:cubicBezTo>
                    <a:pt x="201" y="686"/>
                    <a:pt x="568" y="753"/>
                    <a:pt x="968" y="753"/>
                  </a:cubicBezTo>
                  <a:cubicBezTo>
                    <a:pt x="1268" y="753"/>
                    <a:pt x="1602" y="719"/>
                    <a:pt x="1902" y="653"/>
                  </a:cubicBezTo>
                  <a:cubicBezTo>
                    <a:pt x="1935" y="653"/>
                    <a:pt x="1935" y="653"/>
                    <a:pt x="1969" y="619"/>
                  </a:cubicBezTo>
                  <a:cubicBezTo>
                    <a:pt x="1969" y="586"/>
                    <a:pt x="1969" y="553"/>
                    <a:pt x="1935" y="519"/>
                  </a:cubicBezTo>
                  <a:cubicBezTo>
                    <a:pt x="1875" y="519"/>
                    <a:pt x="1023" y="0"/>
                    <a:pt x="490"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 name="Google Shape;2607;p58">
              <a:extLst>
                <a:ext uri="{FF2B5EF4-FFF2-40B4-BE49-F238E27FC236}">
                  <a16:creationId xmlns:a16="http://schemas.microsoft.com/office/drawing/2014/main" id="{459AC5AD-EDC1-A109-700B-57EF0574EDC5}"/>
                </a:ext>
              </a:extLst>
            </p:cNvPr>
            <p:cNvSpPr/>
            <p:nvPr/>
          </p:nvSpPr>
          <p:spPr>
            <a:xfrm>
              <a:off x="4669350" y="4465925"/>
              <a:ext cx="29200" cy="34425"/>
            </a:xfrm>
            <a:custGeom>
              <a:avLst/>
              <a:gdLst/>
              <a:ahLst/>
              <a:cxnLst/>
              <a:rect l="l" t="t" r="r" b="b"/>
              <a:pathLst>
                <a:path w="1168" h="1377" extrusionOk="0">
                  <a:moveTo>
                    <a:pt x="400" y="142"/>
                  </a:moveTo>
                  <a:cubicBezTo>
                    <a:pt x="500" y="142"/>
                    <a:pt x="567" y="176"/>
                    <a:pt x="634" y="243"/>
                  </a:cubicBezTo>
                  <a:cubicBezTo>
                    <a:pt x="867" y="509"/>
                    <a:pt x="1001" y="843"/>
                    <a:pt x="1001" y="1177"/>
                  </a:cubicBezTo>
                  <a:cubicBezTo>
                    <a:pt x="634" y="943"/>
                    <a:pt x="167" y="443"/>
                    <a:pt x="200" y="209"/>
                  </a:cubicBezTo>
                  <a:cubicBezTo>
                    <a:pt x="200" y="209"/>
                    <a:pt x="234" y="142"/>
                    <a:pt x="367" y="142"/>
                  </a:cubicBezTo>
                  <a:close/>
                  <a:moveTo>
                    <a:pt x="419" y="0"/>
                  </a:moveTo>
                  <a:cubicBezTo>
                    <a:pt x="392" y="0"/>
                    <a:pt x="363" y="3"/>
                    <a:pt x="334" y="9"/>
                  </a:cubicBezTo>
                  <a:cubicBezTo>
                    <a:pt x="133" y="42"/>
                    <a:pt x="67" y="142"/>
                    <a:pt x="67" y="209"/>
                  </a:cubicBezTo>
                  <a:cubicBezTo>
                    <a:pt x="0" y="543"/>
                    <a:pt x="701" y="1210"/>
                    <a:pt x="1067" y="1377"/>
                  </a:cubicBezTo>
                  <a:lnTo>
                    <a:pt x="1134" y="1377"/>
                  </a:lnTo>
                  <a:cubicBezTo>
                    <a:pt x="1168" y="1377"/>
                    <a:pt x="1168" y="1343"/>
                    <a:pt x="1168" y="1310"/>
                  </a:cubicBezTo>
                  <a:cubicBezTo>
                    <a:pt x="1168" y="1277"/>
                    <a:pt x="1134" y="443"/>
                    <a:pt x="767" y="142"/>
                  </a:cubicBezTo>
                  <a:cubicBezTo>
                    <a:pt x="657" y="60"/>
                    <a:pt x="548" y="0"/>
                    <a:pt x="419" y="0"/>
                  </a:cubicBez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 name="Google Shape;2608;p58">
              <a:extLst>
                <a:ext uri="{FF2B5EF4-FFF2-40B4-BE49-F238E27FC236}">
                  <a16:creationId xmlns:a16="http://schemas.microsoft.com/office/drawing/2014/main" id="{3C525731-6642-D3D2-6DEB-174D24A08CE2}"/>
                </a:ext>
              </a:extLst>
            </p:cNvPr>
            <p:cNvSpPr/>
            <p:nvPr/>
          </p:nvSpPr>
          <p:spPr>
            <a:xfrm>
              <a:off x="4703525" y="4321875"/>
              <a:ext cx="77575" cy="176800"/>
            </a:xfrm>
            <a:custGeom>
              <a:avLst/>
              <a:gdLst/>
              <a:ahLst/>
              <a:cxnLst/>
              <a:rect l="l" t="t" r="r" b="b"/>
              <a:pathLst>
                <a:path w="3103" h="7072" extrusionOk="0">
                  <a:moveTo>
                    <a:pt x="1" y="0"/>
                  </a:moveTo>
                  <a:lnTo>
                    <a:pt x="34" y="7072"/>
                  </a:lnTo>
                  <a:lnTo>
                    <a:pt x="3103" y="7072"/>
                  </a:lnTo>
                  <a:lnTo>
                    <a:pt x="3036" y="0"/>
                  </a:lnTo>
                  <a:close/>
                </a:path>
              </a:pathLst>
            </a:custGeom>
            <a:solidFill>
              <a:srgbClr val="FFC3B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 name="Google Shape;2609;p58">
              <a:extLst>
                <a:ext uri="{FF2B5EF4-FFF2-40B4-BE49-F238E27FC236}">
                  <a16:creationId xmlns:a16="http://schemas.microsoft.com/office/drawing/2014/main" id="{4EC1F7F9-6D32-E164-CBEA-99A0829C460B}"/>
                </a:ext>
              </a:extLst>
            </p:cNvPr>
            <p:cNvSpPr/>
            <p:nvPr/>
          </p:nvSpPr>
          <p:spPr>
            <a:xfrm>
              <a:off x="4510900" y="4490325"/>
              <a:ext cx="297725" cy="86750"/>
            </a:xfrm>
            <a:custGeom>
              <a:avLst/>
              <a:gdLst/>
              <a:ahLst/>
              <a:cxnLst/>
              <a:rect l="l" t="t" r="r" b="b"/>
              <a:pathLst>
                <a:path w="11909" h="3470" extrusionOk="0">
                  <a:moveTo>
                    <a:pt x="7772" y="0"/>
                  </a:moveTo>
                  <a:cubicBezTo>
                    <a:pt x="7506" y="0"/>
                    <a:pt x="7239" y="67"/>
                    <a:pt x="7005" y="234"/>
                  </a:cubicBezTo>
                  <a:cubicBezTo>
                    <a:pt x="4904" y="1502"/>
                    <a:pt x="2936" y="1568"/>
                    <a:pt x="534" y="2069"/>
                  </a:cubicBezTo>
                  <a:cubicBezTo>
                    <a:pt x="0" y="2202"/>
                    <a:pt x="300" y="3470"/>
                    <a:pt x="1568" y="3470"/>
                  </a:cubicBezTo>
                  <a:cubicBezTo>
                    <a:pt x="3636" y="3470"/>
                    <a:pt x="5171" y="3370"/>
                    <a:pt x="6938" y="3370"/>
                  </a:cubicBezTo>
                  <a:cubicBezTo>
                    <a:pt x="8473" y="3370"/>
                    <a:pt x="10207" y="3470"/>
                    <a:pt x="11408" y="3470"/>
                  </a:cubicBezTo>
                  <a:cubicBezTo>
                    <a:pt x="11709" y="3470"/>
                    <a:pt x="11909" y="3203"/>
                    <a:pt x="11875" y="2903"/>
                  </a:cubicBezTo>
                  <a:lnTo>
                    <a:pt x="11375" y="201"/>
                  </a:lnTo>
                  <a:cubicBezTo>
                    <a:pt x="11342" y="67"/>
                    <a:pt x="11242" y="0"/>
                    <a:pt x="11108"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 name="Google Shape;2610;p58">
              <a:extLst>
                <a:ext uri="{FF2B5EF4-FFF2-40B4-BE49-F238E27FC236}">
                  <a16:creationId xmlns:a16="http://schemas.microsoft.com/office/drawing/2014/main" id="{68B6DFCF-440A-78E3-A24D-0972EF5F9A65}"/>
                </a:ext>
              </a:extLst>
            </p:cNvPr>
            <p:cNvSpPr/>
            <p:nvPr/>
          </p:nvSpPr>
          <p:spPr>
            <a:xfrm>
              <a:off x="4703525" y="4321875"/>
              <a:ext cx="76750" cy="90925"/>
            </a:xfrm>
            <a:custGeom>
              <a:avLst/>
              <a:gdLst/>
              <a:ahLst/>
              <a:cxnLst/>
              <a:rect l="l" t="t" r="r" b="b"/>
              <a:pathLst>
                <a:path w="3070" h="3637" extrusionOk="0">
                  <a:moveTo>
                    <a:pt x="1" y="0"/>
                  </a:moveTo>
                  <a:lnTo>
                    <a:pt x="1" y="3636"/>
                  </a:lnTo>
                  <a:lnTo>
                    <a:pt x="3070" y="3636"/>
                  </a:lnTo>
                  <a:lnTo>
                    <a:pt x="3070" y="0"/>
                  </a:ln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 name="Google Shape;2611;p58">
              <a:extLst>
                <a:ext uri="{FF2B5EF4-FFF2-40B4-BE49-F238E27FC236}">
                  <a16:creationId xmlns:a16="http://schemas.microsoft.com/office/drawing/2014/main" id="{8D1AB926-A460-59AE-89C5-6C9588FEE168}"/>
                </a:ext>
              </a:extLst>
            </p:cNvPr>
            <p:cNvSpPr/>
            <p:nvPr/>
          </p:nvSpPr>
          <p:spPr>
            <a:xfrm>
              <a:off x="4552600" y="2550600"/>
              <a:ext cx="324400" cy="1844675"/>
            </a:xfrm>
            <a:custGeom>
              <a:avLst/>
              <a:gdLst/>
              <a:ahLst/>
              <a:cxnLst/>
              <a:rect l="l" t="t" r="r" b="b"/>
              <a:pathLst>
                <a:path w="12976" h="73787" extrusionOk="0">
                  <a:moveTo>
                    <a:pt x="1234" y="1"/>
                  </a:moveTo>
                  <a:cubicBezTo>
                    <a:pt x="1234" y="1"/>
                    <a:pt x="0" y="22917"/>
                    <a:pt x="33" y="32257"/>
                  </a:cubicBezTo>
                  <a:cubicBezTo>
                    <a:pt x="33" y="41964"/>
                    <a:pt x="4937" y="73787"/>
                    <a:pt x="4937" y="73787"/>
                  </a:cubicBezTo>
                  <a:lnTo>
                    <a:pt x="10141" y="73787"/>
                  </a:lnTo>
                  <a:cubicBezTo>
                    <a:pt x="10141" y="73787"/>
                    <a:pt x="8773" y="42531"/>
                    <a:pt x="9373" y="33024"/>
                  </a:cubicBezTo>
                  <a:cubicBezTo>
                    <a:pt x="9974" y="22583"/>
                    <a:pt x="12976" y="34"/>
                    <a:pt x="12976" y="34"/>
                  </a:cubicBezTo>
                  <a:lnTo>
                    <a:pt x="1234" y="1"/>
                  </a:lnTo>
                  <a:close/>
                </a:path>
              </a:pathLst>
            </a:custGeom>
            <a:solidFill>
              <a:srgbClr val="2FC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 name="Google Shape;2612;p58">
              <a:extLst>
                <a:ext uri="{FF2B5EF4-FFF2-40B4-BE49-F238E27FC236}">
                  <a16:creationId xmlns:a16="http://schemas.microsoft.com/office/drawing/2014/main" id="{83224AF8-F438-D89C-5DF0-693D4A98739F}"/>
                </a:ext>
              </a:extLst>
            </p:cNvPr>
            <p:cNvSpPr/>
            <p:nvPr/>
          </p:nvSpPr>
          <p:spPr>
            <a:xfrm>
              <a:off x="4652650" y="4343550"/>
              <a:ext cx="169325" cy="54225"/>
            </a:xfrm>
            <a:custGeom>
              <a:avLst/>
              <a:gdLst/>
              <a:ahLst/>
              <a:cxnLst/>
              <a:rect l="l" t="t" r="r" b="b"/>
              <a:pathLst>
                <a:path w="6773" h="2169" extrusionOk="0">
                  <a:moveTo>
                    <a:pt x="1" y="1"/>
                  </a:moveTo>
                  <a:cubicBezTo>
                    <a:pt x="1" y="1"/>
                    <a:pt x="234" y="2169"/>
                    <a:pt x="234" y="2169"/>
                  </a:cubicBezTo>
                  <a:lnTo>
                    <a:pt x="6539" y="2169"/>
                  </a:lnTo>
                  <a:lnTo>
                    <a:pt x="6772" y="234"/>
                  </a:lnTo>
                  <a:lnTo>
                    <a:pt x="1" y="1"/>
                  </a:ln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 name="Google Shape;2613;p58">
              <a:extLst>
                <a:ext uri="{FF2B5EF4-FFF2-40B4-BE49-F238E27FC236}">
                  <a16:creationId xmlns:a16="http://schemas.microsoft.com/office/drawing/2014/main" id="{76EACCA3-0D8E-8041-1FDF-4B5648F7ABFD}"/>
                </a:ext>
              </a:extLst>
            </p:cNvPr>
            <p:cNvSpPr/>
            <p:nvPr/>
          </p:nvSpPr>
          <p:spPr>
            <a:xfrm>
              <a:off x="4480875" y="1865100"/>
              <a:ext cx="559575" cy="923200"/>
            </a:xfrm>
            <a:custGeom>
              <a:avLst/>
              <a:gdLst/>
              <a:ahLst/>
              <a:cxnLst/>
              <a:rect l="l" t="t" r="r" b="b"/>
              <a:pathLst>
                <a:path w="22383" h="36928" extrusionOk="0">
                  <a:moveTo>
                    <a:pt x="13447" y="1"/>
                  </a:moveTo>
                  <a:cubicBezTo>
                    <a:pt x="12284" y="1"/>
                    <a:pt x="11125" y="34"/>
                    <a:pt x="9974" y="101"/>
                  </a:cubicBezTo>
                  <a:cubicBezTo>
                    <a:pt x="8373" y="268"/>
                    <a:pt x="6772" y="535"/>
                    <a:pt x="5237" y="968"/>
                  </a:cubicBezTo>
                  <a:cubicBezTo>
                    <a:pt x="5237" y="968"/>
                    <a:pt x="0" y="14144"/>
                    <a:pt x="2269" y="36927"/>
                  </a:cubicBezTo>
                  <a:lnTo>
                    <a:pt x="21349" y="36927"/>
                  </a:lnTo>
                  <a:cubicBezTo>
                    <a:pt x="21549" y="34426"/>
                    <a:pt x="19548" y="12643"/>
                    <a:pt x="22383" y="801"/>
                  </a:cubicBezTo>
                  <a:cubicBezTo>
                    <a:pt x="20582" y="435"/>
                    <a:pt x="18780" y="201"/>
                    <a:pt x="16946" y="101"/>
                  </a:cubicBezTo>
                  <a:cubicBezTo>
                    <a:pt x="15778" y="34"/>
                    <a:pt x="14611" y="1"/>
                    <a:pt x="13447" y="1"/>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2614;p58">
              <a:extLst>
                <a:ext uri="{FF2B5EF4-FFF2-40B4-BE49-F238E27FC236}">
                  <a16:creationId xmlns:a16="http://schemas.microsoft.com/office/drawing/2014/main" id="{031F7CA4-7131-ACB1-48D2-0FA11A25F62A}"/>
                </a:ext>
              </a:extLst>
            </p:cNvPr>
            <p:cNvSpPr/>
            <p:nvPr/>
          </p:nvSpPr>
          <p:spPr>
            <a:xfrm>
              <a:off x="4527575" y="2067750"/>
              <a:ext cx="124275" cy="296900"/>
            </a:xfrm>
            <a:custGeom>
              <a:avLst/>
              <a:gdLst/>
              <a:ahLst/>
              <a:cxnLst/>
              <a:rect l="l" t="t" r="r" b="b"/>
              <a:pathLst>
                <a:path w="4971" h="11876" extrusionOk="0">
                  <a:moveTo>
                    <a:pt x="4971" y="1"/>
                  </a:moveTo>
                  <a:lnTo>
                    <a:pt x="667" y="4804"/>
                  </a:lnTo>
                  <a:cubicBezTo>
                    <a:pt x="367" y="6872"/>
                    <a:pt x="134" y="9241"/>
                    <a:pt x="0" y="11876"/>
                  </a:cubicBezTo>
                  <a:cubicBezTo>
                    <a:pt x="3703" y="8474"/>
                    <a:pt x="4970" y="1"/>
                    <a:pt x="4971" y="1"/>
                  </a:cubicBez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 name="Google Shape;2615;p58">
              <a:extLst>
                <a:ext uri="{FF2B5EF4-FFF2-40B4-BE49-F238E27FC236}">
                  <a16:creationId xmlns:a16="http://schemas.microsoft.com/office/drawing/2014/main" id="{E6B5AF88-A34C-8E88-AD07-CC1F4E004127}"/>
                </a:ext>
              </a:extLst>
            </p:cNvPr>
            <p:cNvSpPr/>
            <p:nvPr/>
          </p:nvSpPr>
          <p:spPr>
            <a:xfrm>
              <a:off x="4190675" y="1996875"/>
              <a:ext cx="470350" cy="419800"/>
            </a:xfrm>
            <a:custGeom>
              <a:avLst/>
              <a:gdLst/>
              <a:ahLst/>
              <a:cxnLst/>
              <a:rect l="l" t="t" r="r" b="b"/>
              <a:pathLst>
                <a:path w="18814" h="16792" extrusionOk="0">
                  <a:moveTo>
                    <a:pt x="9108" y="11703"/>
                  </a:moveTo>
                  <a:cubicBezTo>
                    <a:pt x="9129" y="11703"/>
                    <a:pt x="9140" y="11709"/>
                    <a:pt x="9140" y="11709"/>
                  </a:cubicBezTo>
                  <a:cubicBezTo>
                    <a:pt x="9089" y="11723"/>
                    <a:pt x="9039" y="11734"/>
                    <a:pt x="8989" y="11743"/>
                  </a:cubicBezTo>
                  <a:lnTo>
                    <a:pt x="8989" y="11743"/>
                  </a:lnTo>
                  <a:cubicBezTo>
                    <a:pt x="9043" y="11711"/>
                    <a:pt x="9083" y="11703"/>
                    <a:pt x="9108" y="11703"/>
                  </a:cubicBezTo>
                  <a:close/>
                  <a:moveTo>
                    <a:pt x="13310" y="0"/>
                  </a:moveTo>
                  <a:cubicBezTo>
                    <a:pt x="12676" y="1835"/>
                    <a:pt x="11975" y="3736"/>
                    <a:pt x="11275" y="5571"/>
                  </a:cubicBezTo>
                  <a:cubicBezTo>
                    <a:pt x="10574" y="7406"/>
                    <a:pt x="9840" y="9207"/>
                    <a:pt x="9040" y="10975"/>
                  </a:cubicBezTo>
                  <a:lnTo>
                    <a:pt x="8740" y="11642"/>
                  </a:lnTo>
                  <a:lnTo>
                    <a:pt x="8684" y="11753"/>
                  </a:lnTo>
                  <a:lnTo>
                    <a:pt x="8684" y="11753"/>
                  </a:lnTo>
                  <a:cubicBezTo>
                    <a:pt x="8611" y="11746"/>
                    <a:pt x="8540" y="11731"/>
                    <a:pt x="8473" y="11709"/>
                  </a:cubicBezTo>
                  <a:cubicBezTo>
                    <a:pt x="8072" y="11642"/>
                    <a:pt x="7706" y="11575"/>
                    <a:pt x="7305" y="11442"/>
                  </a:cubicBezTo>
                  <a:cubicBezTo>
                    <a:pt x="5571" y="10875"/>
                    <a:pt x="3869" y="10141"/>
                    <a:pt x="2268" y="9274"/>
                  </a:cubicBezTo>
                  <a:lnTo>
                    <a:pt x="0" y="12709"/>
                  </a:lnTo>
                  <a:cubicBezTo>
                    <a:pt x="500" y="13043"/>
                    <a:pt x="901" y="13377"/>
                    <a:pt x="1334" y="13677"/>
                  </a:cubicBezTo>
                  <a:cubicBezTo>
                    <a:pt x="1768" y="13944"/>
                    <a:pt x="2235" y="14211"/>
                    <a:pt x="2702" y="14511"/>
                  </a:cubicBezTo>
                  <a:cubicBezTo>
                    <a:pt x="3669" y="15078"/>
                    <a:pt x="4670" y="15578"/>
                    <a:pt x="5704" y="16012"/>
                  </a:cubicBezTo>
                  <a:cubicBezTo>
                    <a:pt x="6271" y="16245"/>
                    <a:pt x="6872" y="16412"/>
                    <a:pt x="7472" y="16579"/>
                  </a:cubicBezTo>
                  <a:cubicBezTo>
                    <a:pt x="7979" y="16717"/>
                    <a:pt x="8517" y="16792"/>
                    <a:pt x="9065" y="16792"/>
                  </a:cubicBezTo>
                  <a:cubicBezTo>
                    <a:pt x="9311" y="16792"/>
                    <a:pt x="9559" y="16777"/>
                    <a:pt x="9807" y="16746"/>
                  </a:cubicBezTo>
                  <a:cubicBezTo>
                    <a:pt x="10374" y="16712"/>
                    <a:pt x="10908" y="16546"/>
                    <a:pt x="11442" y="16279"/>
                  </a:cubicBezTo>
                  <a:cubicBezTo>
                    <a:pt x="12042" y="15945"/>
                    <a:pt x="12542" y="15445"/>
                    <a:pt x="12943" y="14878"/>
                  </a:cubicBezTo>
                  <a:cubicBezTo>
                    <a:pt x="13143" y="14511"/>
                    <a:pt x="13143" y="14511"/>
                    <a:pt x="13209" y="14344"/>
                  </a:cubicBezTo>
                  <a:lnTo>
                    <a:pt x="13410" y="14010"/>
                  </a:lnTo>
                  <a:lnTo>
                    <a:pt x="13777" y="13310"/>
                  </a:lnTo>
                  <a:cubicBezTo>
                    <a:pt x="14777" y="11442"/>
                    <a:pt x="15611" y="9574"/>
                    <a:pt x="16445" y="7673"/>
                  </a:cubicBezTo>
                  <a:cubicBezTo>
                    <a:pt x="17279" y="5805"/>
                    <a:pt x="18046" y="3903"/>
                    <a:pt x="18813" y="1968"/>
                  </a:cubicBezTo>
                  <a:lnTo>
                    <a:pt x="13310" y="0"/>
                  </a:ln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oogle Shape;2616;p58">
              <a:extLst>
                <a:ext uri="{FF2B5EF4-FFF2-40B4-BE49-F238E27FC236}">
                  <a16:creationId xmlns:a16="http://schemas.microsoft.com/office/drawing/2014/main" id="{A1552A53-6BF3-9177-43C0-58FB6316D71D}"/>
                </a:ext>
              </a:extLst>
            </p:cNvPr>
            <p:cNvSpPr/>
            <p:nvPr/>
          </p:nvSpPr>
          <p:spPr>
            <a:xfrm>
              <a:off x="4461700" y="1884050"/>
              <a:ext cx="275200" cy="382200"/>
            </a:xfrm>
            <a:custGeom>
              <a:avLst/>
              <a:gdLst/>
              <a:ahLst/>
              <a:cxnLst/>
              <a:rect l="l" t="t" r="r" b="b"/>
              <a:pathLst>
                <a:path w="11008" h="15288" extrusionOk="0">
                  <a:moveTo>
                    <a:pt x="7343" y="0"/>
                  </a:moveTo>
                  <a:cubicBezTo>
                    <a:pt x="5484" y="0"/>
                    <a:pt x="3254" y="1189"/>
                    <a:pt x="2435" y="3646"/>
                  </a:cubicBezTo>
                  <a:cubicBezTo>
                    <a:pt x="1068" y="7782"/>
                    <a:pt x="0" y="11218"/>
                    <a:pt x="0" y="11218"/>
                  </a:cubicBezTo>
                  <a:lnTo>
                    <a:pt x="4103" y="15288"/>
                  </a:lnTo>
                  <a:cubicBezTo>
                    <a:pt x="4103" y="15288"/>
                    <a:pt x="11008" y="4313"/>
                    <a:pt x="10041" y="1578"/>
                  </a:cubicBezTo>
                  <a:cubicBezTo>
                    <a:pt x="9666" y="534"/>
                    <a:pt x="8588" y="0"/>
                    <a:pt x="7343" y="0"/>
                  </a:cubicBezTo>
                  <a:close/>
                </a:path>
              </a:pathLst>
            </a:custGeom>
            <a:solidFill>
              <a:srgbClr val="2632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3014244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876"/>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E55BE78-451C-D9F4-79C8-F7B2EB47ED37}"/>
              </a:ext>
            </a:extLst>
          </p:cNvPr>
          <p:cNvGraphicFramePr>
            <a:graphicFrameLocks noChangeAspect="1"/>
          </p:cNvGraphicFramePr>
          <p:nvPr>
            <p:custDataLst>
              <p:tags r:id="rId1"/>
            </p:custDataLst>
            <p:extLst>
              <p:ext uri="{D42A27DB-BD31-4B8C-83A1-F6EECF244321}">
                <p14:modId xmlns:p14="http://schemas.microsoft.com/office/powerpoint/2010/main" val="25068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425" imgH="424" progId="TCLayout.ActiveDocument.1">
                  <p:embed/>
                </p:oleObj>
              </mc:Choice>
              <mc:Fallback>
                <p:oleObj name="Diapositiva think-cell" r:id="rId4" imgW="425" imgH="424" progId="TCLayout.ActiveDocument.1">
                  <p:embed/>
                  <p:pic>
                    <p:nvPicPr>
                      <p:cNvPr id="5" name="think-cell data - do not delete" hidden="1">
                        <a:extLst>
                          <a:ext uri="{FF2B5EF4-FFF2-40B4-BE49-F238E27FC236}">
                            <a16:creationId xmlns:a16="http://schemas.microsoft.com/office/drawing/2014/main" id="{4E55BE78-451C-D9F4-79C8-F7B2EB47ED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1" name="Gruppo 10">
            <a:extLst>
              <a:ext uri="{FF2B5EF4-FFF2-40B4-BE49-F238E27FC236}">
                <a16:creationId xmlns:a16="http://schemas.microsoft.com/office/drawing/2014/main" id="{73FC30A8-FDD8-CDBF-C7FF-3896CDBBE4A7}"/>
              </a:ext>
            </a:extLst>
          </p:cNvPr>
          <p:cNvGrpSpPr/>
          <p:nvPr/>
        </p:nvGrpSpPr>
        <p:grpSpPr>
          <a:xfrm>
            <a:off x="3341256" y="1876825"/>
            <a:ext cx="2440744" cy="1948815"/>
            <a:chOff x="2690446" y="1368962"/>
            <a:chExt cx="2482948" cy="2021352"/>
          </a:xfrm>
        </p:grpSpPr>
        <p:sp>
          <p:nvSpPr>
            <p:cNvPr id="9" name="Stella a 5 punte 8">
              <a:extLst>
                <a:ext uri="{FF2B5EF4-FFF2-40B4-BE49-F238E27FC236}">
                  <a16:creationId xmlns:a16="http://schemas.microsoft.com/office/drawing/2014/main" id="{7A1B6315-A029-C134-6F20-3CC0F4C3108B}"/>
                </a:ext>
              </a:extLst>
            </p:cNvPr>
            <p:cNvSpPr/>
            <p:nvPr/>
          </p:nvSpPr>
          <p:spPr>
            <a:xfrm>
              <a:off x="2690446" y="1368962"/>
              <a:ext cx="2482948" cy="2021352"/>
            </a:xfrm>
            <a:prstGeom prst="star5">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0" name="CasellaDiTesto 9">
              <a:extLst>
                <a:ext uri="{FF2B5EF4-FFF2-40B4-BE49-F238E27FC236}">
                  <a16:creationId xmlns:a16="http://schemas.microsoft.com/office/drawing/2014/main" id="{9AD611D3-A3C5-376E-4EE6-3C969897877C}"/>
                </a:ext>
              </a:extLst>
            </p:cNvPr>
            <p:cNvSpPr txBox="1"/>
            <p:nvPr/>
          </p:nvSpPr>
          <p:spPr>
            <a:xfrm>
              <a:off x="3136551" y="2172135"/>
              <a:ext cx="1603717" cy="415003"/>
            </a:xfrm>
            <a:prstGeom prst="rect">
              <a:avLst/>
            </a:prstGeom>
            <a:noFill/>
          </p:spPr>
          <p:txBody>
            <a:bodyPr wrap="square" rtlCol="0">
              <a:spAutoFit/>
            </a:bodyPr>
            <a:lstStyle/>
            <a:p>
              <a:r>
                <a:rPr lang="it-IT" sz="2000">
                  <a:solidFill>
                    <a:schemeClr val="lt1"/>
                  </a:solidFill>
                  <a:latin typeface="Hammersmith One"/>
                </a:rPr>
                <a:t>Transaction</a:t>
              </a:r>
            </a:p>
          </p:txBody>
        </p:sp>
      </p:grpSp>
      <p:sp>
        <p:nvSpPr>
          <p:cNvPr id="17" name="CasellaDiTesto 16">
            <a:extLst>
              <a:ext uri="{FF2B5EF4-FFF2-40B4-BE49-F238E27FC236}">
                <a16:creationId xmlns:a16="http://schemas.microsoft.com/office/drawing/2014/main" id="{40CC4465-5AB4-051A-BFB6-ECE3FEA40314}"/>
              </a:ext>
            </a:extLst>
          </p:cNvPr>
          <p:cNvSpPr txBox="1"/>
          <p:nvPr/>
        </p:nvSpPr>
        <p:spPr>
          <a:xfrm>
            <a:off x="2336412" y="1948313"/>
            <a:ext cx="1812388" cy="384721"/>
          </a:xfrm>
          <a:prstGeom prst="rect">
            <a:avLst/>
          </a:prstGeom>
          <a:noFill/>
        </p:spPr>
        <p:txBody>
          <a:bodyPr wrap="square">
            <a:spAutoFit/>
          </a:bodyPr>
          <a:lstStyle>
            <a:defPPr>
              <a:defRPr lang="en-US"/>
            </a:defPPr>
          </a:lstStyle>
          <a:p>
            <a:r>
              <a:rPr lang="it-IT" sz="1900">
                <a:solidFill>
                  <a:schemeClr val="lt1"/>
                </a:solidFill>
                <a:latin typeface="Hammersmith One"/>
              </a:rPr>
              <a:t>Weekends</a:t>
            </a:r>
            <a:endParaRPr lang="it-IT" sz="1900"/>
          </a:p>
        </p:txBody>
      </p:sp>
      <p:sp>
        <p:nvSpPr>
          <p:cNvPr id="18" name="CasellaDiTesto 17">
            <a:extLst>
              <a:ext uri="{FF2B5EF4-FFF2-40B4-BE49-F238E27FC236}">
                <a16:creationId xmlns:a16="http://schemas.microsoft.com/office/drawing/2014/main" id="{AE5F9D3F-FE55-0302-1901-76A9F036CF50}"/>
              </a:ext>
            </a:extLst>
          </p:cNvPr>
          <p:cNvSpPr txBox="1"/>
          <p:nvPr/>
        </p:nvSpPr>
        <p:spPr>
          <a:xfrm>
            <a:off x="1902656" y="3440919"/>
            <a:ext cx="1570892" cy="384721"/>
          </a:xfrm>
          <a:prstGeom prst="rect">
            <a:avLst/>
          </a:prstGeom>
          <a:noFill/>
        </p:spPr>
        <p:txBody>
          <a:bodyPr wrap="square">
            <a:spAutoFit/>
          </a:bodyPr>
          <a:lstStyle>
            <a:defPPr>
              <a:defRPr lang="en-US"/>
            </a:defPPr>
          </a:lstStyle>
          <a:p>
            <a:r>
              <a:rPr lang="it-IT" sz="1900">
                <a:solidFill>
                  <a:schemeClr val="lt1"/>
                </a:solidFill>
                <a:latin typeface="Hammersmith One"/>
              </a:rPr>
              <a:t>Special Day</a:t>
            </a:r>
          </a:p>
        </p:txBody>
      </p:sp>
      <p:sp>
        <p:nvSpPr>
          <p:cNvPr id="19" name="CasellaDiTesto 18">
            <a:extLst>
              <a:ext uri="{FF2B5EF4-FFF2-40B4-BE49-F238E27FC236}">
                <a16:creationId xmlns:a16="http://schemas.microsoft.com/office/drawing/2014/main" id="{316740C3-181E-46AC-A530-B50D6F3DABC7}"/>
              </a:ext>
            </a:extLst>
          </p:cNvPr>
          <p:cNvSpPr txBox="1"/>
          <p:nvPr/>
        </p:nvSpPr>
        <p:spPr>
          <a:xfrm>
            <a:off x="6897272" y="2389381"/>
            <a:ext cx="1964788" cy="384721"/>
          </a:xfrm>
          <a:prstGeom prst="rect">
            <a:avLst/>
          </a:prstGeom>
          <a:noFill/>
        </p:spPr>
        <p:txBody>
          <a:bodyPr wrap="square">
            <a:spAutoFit/>
          </a:bodyPr>
          <a:lstStyle>
            <a:defPPr>
              <a:defRPr lang="en-US"/>
            </a:defPPr>
          </a:lstStyle>
          <a:p>
            <a:r>
              <a:rPr lang="it-IT" sz="1900">
                <a:solidFill>
                  <a:schemeClr val="lt1"/>
                </a:solidFill>
                <a:latin typeface="Hammersmith One"/>
              </a:rPr>
              <a:t>Bounce rates</a:t>
            </a:r>
          </a:p>
        </p:txBody>
      </p:sp>
      <p:sp>
        <p:nvSpPr>
          <p:cNvPr id="20" name="CasellaDiTesto 19">
            <a:extLst>
              <a:ext uri="{FF2B5EF4-FFF2-40B4-BE49-F238E27FC236}">
                <a16:creationId xmlns:a16="http://schemas.microsoft.com/office/drawing/2014/main" id="{AB035A2E-82F7-752B-7866-CC278622799D}"/>
              </a:ext>
            </a:extLst>
          </p:cNvPr>
          <p:cNvSpPr txBox="1"/>
          <p:nvPr/>
        </p:nvSpPr>
        <p:spPr>
          <a:xfrm>
            <a:off x="487682" y="2658871"/>
            <a:ext cx="1570892" cy="384721"/>
          </a:xfrm>
          <a:prstGeom prst="rect">
            <a:avLst/>
          </a:prstGeom>
          <a:noFill/>
        </p:spPr>
        <p:txBody>
          <a:bodyPr wrap="square">
            <a:spAutoFit/>
          </a:bodyPr>
          <a:lstStyle>
            <a:defPPr>
              <a:defRPr lang="en-US"/>
            </a:defPPr>
          </a:lstStyle>
          <a:p>
            <a:r>
              <a:rPr lang="it-IT" sz="1900">
                <a:solidFill>
                  <a:schemeClr val="lt1"/>
                </a:solidFill>
                <a:latin typeface="Hammersmith One"/>
              </a:rPr>
              <a:t>Exit Rates</a:t>
            </a:r>
          </a:p>
        </p:txBody>
      </p:sp>
      <p:sp>
        <p:nvSpPr>
          <p:cNvPr id="21" name="CasellaDiTesto 20">
            <a:extLst>
              <a:ext uri="{FF2B5EF4-FFF2-40B4-BE49-F238E27FC236}">
                <a16:creationId xmlns:a16="http://schemas.microsoft.com/office/drawing/2014/main" id="{30FBC1EE-61AD-3759-B20B-3173893180FB}"/>
              </a:ext>
            </a:extLst>
          </p:cNvPr>
          <p:cNvSpPr txBox="1"/>
          <p:nvPr/>
        </p:nvSpPr>
        <p:spPr>
          <a:xfrm>
            <a:off x="4024678" y="4429480"/>
            <a:ext cx="4711212" cy="384721"/>
          </a:xfrm>
          <a:prstGeom prst="rect">
            <a:avLst/>
          </a:prstGeom>
          <a:noFill/>
        </p:spPr>
        <p:txBody>
          <a:bodyPr wrap="square">
            <a:spAutoFit/>
          </a:bodyPr>
          <a:lstStyle>
            <a:defPPr>
              <a:defRPr lang="en-US"/>
            </a:defPPr>
          </a:lstStyle>
          <a:p>
            <a:r>
              <a:rPr lang="it-IT" sz="1900">
                <a:solidFill>
                  <a:schemeClr val="lt1"/>
                </a:solidFill>
                <a:latin typeface="Hammersmith One"/>
              </a:rPr>
              <a:t>Product </a:t>
            </a:r>
            <a:r>
              <a:rPr lang="it-IT" sz="1900" err="1">
                <a:solidFill>
                  <a:schemeClr val="lt1"/>
                </a:solidFill>
                <a:latin typeface="Hammersmith One"/>
              </a:rPr>
              <a:t>Related</a:t>
            </a:r>
            <a:r>
              <a:rPr lang="it-IT" sz="1900">
                <a:solidFill>
                  <a:schemeClr val="lt1"/>
                </a:solidFill>
                <a:latin typeface="Hammersmith One"/>
              </a:rPr>
              <a:t> Pages Engagement</a:t>
            </a:r>
          </a:p>
        </p:txBody>
      </p:sp>
      <p:sp>
        <p:nvSpPr>
          <p:cNvPr id="22" name="CasellaDiTesto 21">
            <a:extLst>
              <a:ext uri="{FF2B5EF4-FFF2-40B4-BE49-F238E27FC236}">
                <a16:creationId xmlns:a16="http://schemas.microsoft.com/office/drawing/2014/main" id="{F259445C-6103-5F2E-5B81-5D5CE5A0D261}"/>
              </a:ext>
            </a:extLst>
          </p:cNvPr>
          <p:cNvSpPr txBox="1"/>
          <p:nvPr/>
        </p:nvSpPr>
        <p:spPr>
          <a:xfrm>
            <a:off x="249408" y="1211205"/>
            <a:ext cx="3206848" cy="677108"/>
          </a:xfrm>
          <a:prstGeom prst="rect">
            <a:avLst/>
          </a:prstGeom>
          <a:noFill/>
        </p:spPr>
        <p:txBody>
          <a:bodyPr wrap="square">
            <a:spAutoFit/>
          </a:bodyPr>
          <a:lstStyle>
            <a:defPPr>
              <a:defRPr lang="en-US"/>
            </a:defPPr>
          </a:lstStyle>
          <a:p>
            <a:r>
              <a:rPr lang="it-IT" sz="1900">
                <a:solidFill>
                  <a:schemeClr val="lt1"/>
                </a:solidFill>
                <a:latin typeface="Hammersmith One"/>
              </a:rPr>
              <a:t>Informational Pages Engagement</a:t>
            </a:r>
          </a:p>
        </p:txBody>
      </p:sp>
      <p:sp>
        <p:nvSpPr>
          <p:cNvPr id="23" name="CasellaDiTesto 22">
            <a:extLst>
              <a:ext uri="{FF2B5EF4-FFF2-40B4-BE49-F238E27FC236}">
                <a16:creationId xmlns:a16="http://schemas.microsoft.com/office/drawing/2014/main" id="{C64A6471-9208-BE88-F0F9-A4266FE86B81}"/>
              </a:ext>
            </a:extLst>
          </p:cNvPr>
          <p:cNvSpPr txBox="1"/>
          <p:nvPr/>
        </p:nvSpPr>
        <p:spPr>
          <a:xfrm>
            <a:off x="4434840" y="1272985"/>
            <a:ext cx="4197448" cy="384721"/>
          </a:xfrm>
          <a:prstGeom prst="rect">
            <a:avLst/>
          </a:prstGeom>
          <a:noFill/>
        </p:spPr>
        <p:txBody>
          <a:bodyPr wrap="square">
            <a:spAutoFit/>
          </a:bodyPr>
          <a:lstStyle>
            <a:defPPr>
              <a:defRPr lang="en-US"/>
            </a:defPPr>
          </a:lstStyle>
          <a:p>
            <a:r>
              <a:rPr lang="it-IT" sz="1900" err="1">
                <a:solidFill>
                  <a:schemeClr val="lt1"/>
                </a:solidFill>
                <a:latin typeface="Hammersmith One"/>
              </a:rPr>
              <a:t>Administrative</a:t>
            </a:r>
            <a:r>
              <a:rPr lang="it-IT" sz="1900">
                <a:solidFill>
                  <a:schemeClr val="lt1"/>
                </a:solidFill>
                <a:latin typeface="Hammersmith One"/>
              </a:rPr>
              <a:t> Pages Engagement</a:t>
            </a:r>
            <a:endParaRPr lang="it-IT" sz="1900"/>
          </a:p>
        </p:txBody>
      </p:sp>
      <p:sp>
        <p:nvSpPr>
          <p:cNvPr id="24" name="CasellaDiTesto 23">
            <a:extLst>
              <a:ext uri="{FF2B5EF4-FFF2-40B4-BE49-F238E27FC236}">
                <a16:creationId xmlns:a16="http://schemas.microsoft.com/office/drawing/2014/main" id="{5FF9751A-DC1B-96BE-B920-8A8ED1E97DE0}"/>
              </a:ext>
            </a:extLst>
          </p:cNvPr>
          <p:cNvSpPr txBox="1"/>
          <p:nvPr/>
        </p:nvSpPr>
        <p:spPr>
          <a:xfrm>
            <a:off x="772260" y="4410623"/>
            <a:ext cx="1603424" cy="384721"/>
          </a:xfrm>
          <a:prstGeom prst="rect">
            <a:avLst/>
          </a:prstGeom>
          <a:noFill/>
        </p:spPr>
        <p:txBody>
          <a:bodyPr wrap="square">
            <a:spAutoFit/>
          </a:bodyPr>
          <a:lstStyle>
            <a:defPPr>
              <a:defRPr lang="en-US"/>
            </a:defPPr>
          </a:lstStyle>
          <a:p>
            <a:r>
              <a:rPr lang="it-IT" sz="1900">
                <a:solidFill>
                  <a:schemeClr val="lt1"/>
                </a:solidFill>
                <a:latin typeface="Hammersmith One"/>
              </a:rPr>
              <a:t>Page Values</a:t>
            </a:r>
          </a:p>
        </p:txBody>
      </p:sp>
      <p:sp>
        <p:nvSpPr>
          <p:cNvPr id="25" name="CasellaDiTesto 24">
            <a:extLst>
              <a:ext uri="{FF2B5EF4-FFF2-40B4-BE49-F238E27FC236}">
                <a16:creationId xmlns:a16="http://schemas.microsoft.com/office/drawing/2014/main" id="{BCB8EBE5-90AC-DF5D-34A4-05C29680BF7D}"/>
              </a:ext>
            </a:extLst>
          </p:cNvPr>
          <p:cNvSpPr txBox="1"/>
          <p:nvPr/>
        </p:nvSpPr>
        <p:spPr>
          <a:xfrm>
            <a:off x="5929532" y="3409430"/>
            <a:ext cx="1780736" cy="384721"/>
          </a:xfrm>
          <a:prstGeom prst="rect">
            <a:avLst/>
          </a:prstGeom>
          <a:noFill/>
        </p:spPr>
        <p:txBody>
          <a:bodyPr wrap="square">
            <a:spAutoFit/>
          </a:bodyPr>
          <a:lstStyle>
            <a:defPPr>
              <a:defRPr lang="en-US"/>
            </a:defPPr>
          </a:lstStyle>
          <a:p>
            <a:r>
              <a:rPr lang="it-IT" sz="1900">
                <a:solidFill>
                  <a:schemeClr val="lt1"/>
                </a:solidFill>
                <a:latin typeface="Hammersmith One"/>
              </a:rPr>
              <a:t>Visitor Type</a:t>
            </a:r>
          </a:p>
        </p:txBody>
      </p:sp>
      <p:sp>
        <p:nvSpPr>
          <p:cNvPr id="27" name="Google Shape;1890;p53">
            <a:extLst>
              <a:ext uri="{FF2B5EF4-FFF2-40B4-BE49-F238E27FC236}">
                <a16:creationId xmlns:a16="http://schemas.microsoft.com/office/drawing/2014/main" id="{10C3234A-CCDA-FE77-D2C4-A27076E61272}"/>
              </a:ext>
            </a:extLst>
          </p:cNvPr>
          <p:cNvSpPr txBox="1">
            <a:spLocks noGrp="1"/>
          </p:cNvSpPr>
          <p:nvPr>
            <p:ph type="title"/>
          </p:nvPr>
        </p:nvSpPr>
        <p:spPr>
          <a:xfrm>
            <a:off x="685347" y="457200"/>
            <a:ext cx="7765321" cy="679451"/>
          </a:xfrm>
          <a:prstGeom prst="rect">
            <a:avLst/>
          </a:prstGeom>
          <a:noFill/>
        </p:spPr>
        <p:txBody>
          <a:bodyPr spcFirstLastPara="1" wrap="square" lIns="91425" tIns="91425" rIns="91425" bIns="91425" anchor="t" anchorCtr="0">
            <a:noAutofit/>
          </a:bodyPr>
          <a:lstStyle/>
          <a:p>
            <a:r>
              <a:rPr lang="en-US">
                <a:solidFill>
                  <a:schemeClr val="tx1"/>
                </a:solidFill>
              </a:rPr>
              <a:t>Factors ANALYSED</a:t>
            </a:r>
          </a:p>
        </p:txBody>
      </p:sp>
    </p:spTree>
    <p:extLst>
      <p:ext uri="{BB962C8B-B14F-4D97-AF65-F5344CB8AC3E}">
        <p14:creationId xmlns:p14="http://schemas.microsoft.com/office/powerpoint/2010/main" val="39068794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24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4&quot;&gt;&lt;elem m_fUsage=&quot;1.08656721000000033861E+00&quot;&gt;&lt;m_msothmcolidx val=&quot;0&quot;/&gt;&lt;m_rgb r=&quot;FF&quot; g=&quot;E5&quot; b=&quot;CE&quot;/&gt;&lt;/elem&gt;&lt;elem m_fUsage=&quot;1.07767844010000013455E+00&quot;&gt;&lt;m_msothmcolidx val=&quot;0&quot;/&gt;&lt;m_rgb r=&quot;2B&quot; g=&quot;B8&quot; b=&quot;76&quot;/&gt;&lt;/elem&gt;&lt;elem m_fUsage=&quot;1.00000000000000000000E+00&quot;&gt;&lt;m_msothmcolidx val=&quot;0&quot;/&gt;&lt;m_rgb r=&quot;F8&quot; g=&quot;2C&quot; b=&quot;18&quot;/&gt;&lt;/elem&gt;&lt;elem m_fUsage=&quot;9.00000000000000022204E-01&quot;&gt;&lt;m_msothmcolidx val=&quot;0&quot;/&gt;&lt;m_rgb r=&quot;C0&quot; g=&quot;2B&quot; b=&quot;12&quot;/&gt;&lt;/elem&gt;&lt;elem m_fUsage=&quot;8.10000000000000053291E-01&quot;&gt;&lt;m_msothmcolidx val=&quot;0&quot;/&gt;&lt;m_rgb r=&quot;BD&quot; g=&quot;36&quot; b=&quot;1C&quot;/&gt;&lt;/elem&gt;&lt;elem m_fUsage=&quot;5.90490000000000181402E-01&quot;&gt;&lt;m_msothmcolidx val=&quot;0&quot;/&gt;&lt;m_rgb r=&quot;FF&quot; g=&quot;B8&quot; b=&quot;4B&quot;/&gt;&lt;/elem&gt;&lt;elem m_fUsage=&quot;5.31441000000000163261E-01&quot;&gt;&lt;m_msothmcolidx val=&quot;0&quot;/&gt;&lt;m_rgb r=&quot;D2&quot; g=&quot;E3&quot; b=&quot;F0&quot;/&gt;&lt;/elem&gt;&lt;elem m_fUsage=&quot;4.78296900000000135833E-01&quot;&gt;&lt;m_msothmcolidx val=&quot;0&quot;/&gt;&lt;m_rgb r=&quot;FF&quot; g=&quot;A0&quot; b=&quot;4B&quot;/&gt;&lt;/elem&gt;&lt;elem m_fUsage=&quot;3.87420489000000145552E-01&quot;&gt;&lt;m_msothmcolidx val=&quot;0&quot;/&gt;&lt;m_rgb r=&quot;9C&quot; g=&quot;28&quot; b=&quot;7B&quot;/&gt;&lt;/elem&gt;&lt;elem m_fUsage=&quot;3.13810596090000171188E-01&quot;&gt;&lt;m_msothmcolidx val=&quot;0&quot;/&gt;&lt;m_rgb r=&quot;62&quot; g=&quot;68&quot; b=&quot;F2&quot;/&gt;&lt;/elem&gt;&lt;elem m_fUsage=&quot;2.82429536481000165171E-01&quot;&gt;&lt;m_msothmcolidx val=&quot;0&quot;/&gt;&lt;m_rgb r=&quot;F7&quot; g=&quot;D4&quot; b=&quot;7B&quot;/&gt;&lt;/elem&gt;&lt;elem m_fUsage=&quot;2.54186582832900132001E-01&quot;&gt;&lt;m_msothmcolidx val=&quot;0&quot;/&gt;&lt;m_rgb r=&quot;E5&quot; g=&quot;ED&quot; b=&quot;8A&quot;/&gt;&lt;/elem&gt;&lt;elem m_fUsage=&quot;2.28767924549610118801E-01&quot;&gt;&lt;m_msothmcolidx val=&quot;0&quot;/&gt;&lt;m_rgb r=&quot;2C&quot; g=&quot;84&quot; b=&quot;58&quot;/&gt;&lt;/elem&gt;&lt;elem m_fUsage=&quot;2.05891132094649098594E-01&quot;&gt;&lt;m_msothmcolidx val=&quot;0&quot;/&gt;&lt;m_rgb r=&quot;7E&quot; g=&quot;8B&quot; b=&quot;1D&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oemz8CfnzxPA3p7rf6vtk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EkUbpUw4HCd4GL5zlFgSb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OMsT8LPtBCraLimtpqAQXQ"/>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Damask">
  <a:themeElements>
    <a:clrScheme name="Damask">
      <a:dk1>
        <a:sysClr val="windowText" lastClr="000000"/>
      </a:dk1>
      <a:lt1>
        <a:sysClr val="window" lastClr="FFFFFF"/>
      </a:lt1>
      <a:dk2>
        <a:srgbClr val="2A5B7F"/>
      </a:dk2>
      <a:lt2>
        <a:srgbClr val="ABDAFC"/>
      </a:lt2>
      <a:accent1>
        <a:srgbClr val="9EC544"/>
      </a:accent1>
      <a:accent2>
        <a:srgbClr val="50BEA3"/>
      </a:accent2>
      <a:accent3>
        <a:srgbClr val="4A9CCC"/>
      </a:accent3>
      <a:accent4>
        <a:srgbClr val="9A66CA"/>
      </a:accent4>
      <a:accent5>
        <a:srgbClr val="C54F71"/>
      </a:accent5>
      <a:accent6>
        <a:srgbClr val="DE9C3C"/>
      </a:accent6>
      <a:hlink>
        <a:srgbClr val="6BA9DA"/>
      </a:hlink>
      <a:folHlink>
        <a:srgbClr val="A0BCD3"/>
      </a:folHlink>
    </a:clrScheme>
    <a:fontScheme name="Damask">
      <a:majorFont>
        <a:latin typeface="Bookman Old Style" panose="0205060405050502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Rockwell" panose="02060603020205020403"/>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amask">
      <a:fillStyleLst>
        <a:solidFill>
          <a:schemeClr val="phClr"/>
        </a:solidFill>
        <a:gradFill rotWithShape="1">
          <a:gsLst>
            <a:gs pos="0">
              <a:schemeClr val="phClr">
                <a:tint val="48000"/>
                <a:satMod val="105000"/>
                <a:lumMod val="110000"/>
              </a:schemeClr>
            </a:gs>
            <a:gs pos="100000">
              <a:schemeClr val="phClr">
                <a:tint val="78000"/>
                <a:satMod val="109000"/>
                <a:lumMod val="100000"/>
              </a:schemeClr>
            </a:gs>
          </a:gsLst>
          <a:lin ang="5400000" scaled="0"/>
        </a:gradFill>
        <a:gradFill rotWithShape="1">
          <a:gsLst>
            <a:gs pos="0">
              <a:schemeClr val="phClr">
                <a:tint val="94000"/>
                <a:satMod val="100000"/>
                <a:lumMod val="104000"/>
              </a:schemeClr>
            </a:gs>
            <a:gs pos="69000">
              <a:schemeClr val="phClr">
                <a:shade val="86000"/>
                <a:satMod val="130000"/>
                <a:lumMod val="102000"/>
              </a:schemeClr>
            </a:gs>
            <a:gs pos="100000">
              <a:schemeClr val="phClr">
                <a:shade val="72000"/>
                <a:satMod val="130000"/>
                <a:lumMod val="100000"/>
              </a:schemeClr>
            </a:gs>
          </a:gsLst>
          <a:lin ang="5400000" scaled="0"/>
        </a:gradFill>
      </a:fillStyleLst>
      <a:lnStyleLst>
        <a:ln w="12700" cap="flat" cmpd="sng" algn="ctr">
          <a:solidFill>
            <a:schemeClr val="phClr"/>
          </a:solidFill>
          <a:prstDash val="solid"/>
        </a:ln>
        <a:ln w="19050"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50800" dist="38100" dir="5400000" sy="96000" rotWithShape="0">
              <a:srgbClr val="000000">
                <a:alpha val="54000"/>
              </a:srgbClr>
            </a:outerShdw>
          </a:effectLst>
        </a:effectStyle>
        <a:effectStyle>
          <a:effectLst>
            <a:outerShdw blurRad="76200" dist="38100" dir="5400000" algn="ctr" rotWithShape="0">
              <a:srgbClr val="000000">
                <a:alpha val="76000"/>
              </a:srgbClr>
            </a:outerShdw>
          </a:effectLst>
          <a:scene3d>
            <a:camera prst="orthographicFront">
              <a:rot lat="0" lon="0" rev="0"/>
            </a:camera>
            <a:lightRig rig="balanced" dir="t"/>
          </a:scene3d>
          <a:sp3d prstMaterial="matte">
            <a:bevelT w="25400" h="25400" prst="relaxedInset"/>
          </a:sp3d>
        </a:effectStyle>
      </a:effectStyleLst>
      <a:bgFillStyleLst>
        <a:solidFill>
          <a:schemeClr val="phClr"/>
        </a:solidFill>
        <a:solidFill>
          <a:schemeClr val="phClr">
            <a:tint val="95000"/>
            <a:satMod val="170000"/>
          </a:schemeClr>
        </a:solidFill>
        <a:blipFill rotWithShape="1">
          <a:blip xmlns:r="http://schemas.openxmlformats.org/officeDocument/2006/relationships" r:embed="rId1">
            <a:duotone>
              <a:schemeClr val="phClr">
                <a:shade val="18000"/>
                <a:satMod val="160000"/>
                <a:lumMod val="28000"/>
              </a:schemeClr>
              <a:schemeClr val="phClr">
                <a:tint val="95000"/>
                <a:satMod val="160000"/>
                <a:lumMod val="116000"/>
              </a:schemeClr>
            </a:duotone>
          </a:blip>
          <a:stretch/>
        </a:blipFill>
      </a:bgFillStyleLst>
    </a:fmtScheme>
  </a:themeElements>
  <a:objectDefaults/>
  <a:extraClrSchemeLst/>
  <a:extLst>
    <a:ext uri="{05A4C25C-085E-4340-85A3-A5531E510DB2}">
      <thm15:themeFamily xmlns:thm15="http://schemas.microsoft.com/office/thememl/2012/main" name="Damask" id="{F9A299A0-33D0-4E0F-9F3F-7163E3744208}" vid="{746EEEEA-FB6A-406B-B510-531588D54811}"/>
    </a:ext>
  </a:extLst>
</a:theme>
</file>

<file path=ppt/theme/theme2.xml><?xml version="1.0" encoding="utf-8"?>
<a:theme xmlns:a="http://schemas.openxmlformats.org/drawingml/2006/main" name="Template PresentationGo Dark">
  <a:themeElements>
    <a:clrScheme name="PGO">
      <a:dk1>
        <a:sysClr val="windowText" lastClr="000000"/>
      </a:dk1>
      <a:lt1>
        <a:sysClr val="window" lastClr="FFFFFF"/>
      </a:lt1>
      <a:dk2>
        <a:srgbClr val="063951"/>
      </a:dk2>
      <a:lt2>
        <a:srgbClr val="F0EEEF"/>
      </a:lt2>
      <a:accent1>
        <a:srgbClr val="00B09B"/>
      </a:accent1>
      <a:accent2>
        <a:srgbClr val="F36F13"/>
      </a:accent2>
      <a:accent3>
        <a:srgbClr val="0D95BC"/>
      </a:accent3>
      <a:accent4>
        <a:srgbClr val="EBCB38"/>
      </a:accent4>
      <a:accent5>
        <a:srgbClr val="C13018"/>
      </a:accent5>
      <a:accent6>
        <a:srgbClr val="A2B969"/>
      </a:accent6>
      <a:hlink>
        <a:srgbClr val="6C2B43"/>
      </a:hlink>
      <a:folHlink>
        <a:srgbClr val="6C2B43"/>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FECCC0BA59AA64FB0367448F8D47976" ma:contentTypeVersion="7" ma:contentTypeDescription="Create a new document." ma:contentTypeScope="" ma:versionID="4a4df159fbb4f4e1d8ba22315983bb68">
  <xsd:schema xmlns:xsd="http://www.w3.org/2001/XMLSchema" xmlns:xs="http://www.w3.org/2001/XMLSchema" xmlns:p="http://schemas.microsoft.com/office/2006/metadata/properties" xmlns:ns2="b2aa3a93-7449-4c86-b9a9-51edb2569080" targetNamespace="http://schemas.microsoft.com/office/2006/metadata/properties" ma:root="true" ma:fieldsID="38120bc16408002dd4fe1aacbe9d943c" ns2:_="">
    <xsd:import namespace="b2aa3a93-7449-4c86-b9a9-51edb2569080"/>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GenerationTime" minOccurs="0"/>
                <xsd:element ref="ns2:MediaServiceEventHashCode"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2aa3a93-7449-4c86-b9a9-51edb256908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B0F9F8B-18AB-491D-9397-8DBCD06C9CCC}">
  <ds:schemaRefs>
    <ds:schemaRef ds:uri="http://schemas.microsoft.com/sharepoint/v3/contenttype/forms"/>
  </ds:schemaRefs>
</ds:datastoreItem>
</file>

<file path=customXml/itemProps2.xml><?xml version="1.0" encoding="utf-8"?>
<ds:datastoreItem xmlns:ds="http://schemas.openxmlformats.org/officeDocument/2006/customXml" ds:itemID="{BE23B975-08A8-4DC5-BCDD-757577ED4A7A}">
  <ds:schemaRefs>
    <ds:schemaRef ds:uri="http://purl.org/dc/elements/1.1/"/>
    <ds:schemaRef ds:uri="http://schemas.openxmlformats.org/package/2006/metadata/core-properties"/>
    <ds:schemaRef ds:uri="http://schemas.microsoft.com/office/infopath/2007/PartnerControls"/>
    <ds:schemaRef ds:uri="http://purl.org/dc/terms/"/>
    <ds:schemaRef ds:uri="http://schemas.microsoft.com/office/2006/metadata/properties"/>
    <ds:schemaRef ds:uri="http://schemas.microsoft.com/office/2006/documentManagement/types"/>
    <ds:schemaRef ds:uri="b2aa3a93-7449-4c86-b9a9-51edb2569080"/>
    <ds:schemaRef ds:uri="http://www.w3.org/XML/1998/namespace"/>
    <ds:schemaRef ds:uri="http://purl.org/dc/dcmitype/"/>
  </ds:schemaRefs>
</ds:datastoreItem>
</file>

<file path=customXml/itemProps3.xml><?xml version="1.0" encoding="utf-8"?>
<ds:datastoreItem xmlns:ds="http://schemas.openxmlformats.org/officeDocument/2006/customXml" ds:itemID="{A2EC115D-F150-492F-96EF-C92FE5A87D5B}">
  <ds:schemaRefs>
    <ds:schemaRef ds:uri="b2aa3a93-7449-4c86-b9a9-51edb256908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TM04033921[[fn=Damask]]</Template>
  <TotalTime>0</TotalTime>
  <Words>1089</Words>
  <Application>Microsoft Office PowerPoint</Application>
  <PresentationFormat>On-screen Show (16:9)</PresentationFormat>
  <Paragraphs>272</Paragraphs>
  <Slides>39</Slides>
  <Notes>18</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39</vt:i4>
      </vt:variant>
    </vt:vector>
  </HeadingPairs>
  <TitlesOfParts>
    <vt:vector size="54" baseType="lpstr">
      <vt:lpstr>Arial</vt:lpstr>
      <vt:lpstr>Bookman Old Style</vt:lpstr>
      <vt:lpstr>Calibri</vt:lpstr>
      <vt:lpstr>Calibri Light</vt:lpstr>
      <vt:lpstr>Fira Sans Extra Condensed Medium</vt:lpstr>
      <vt:lpstr>Hammersmith One</vt:lpstr>
      <vt:lpstr>Helvetica</vt:lpstr>
      <vt:lpstr>Noto Sans</vt:lpstr>
      <vt:lpstr>Open Sans</vt:lpstr>
      <vt:lpstr>Rockwell</vt:lpstr>
      <vt:lpstr>Source Sans Pro</vt:lpstr>
      <vt:lpstr>Wingdings</vt:lpstr>
      <vt:lpstr>Damask</vt:lpstr>
      <vt:lpstr>Template PresentationGo Dark</vt:lpstr>
      <vt:lpstr>Diapositiva think-cell</vt:lpstr>
      <vt:lpstr>PowerPoint Presentation</vt:lpstr>
      <vt:lpstr>Consultant Team</vt:lpstr>
      <vt:lpstr>01</vt:lpstr>
      <vt:lpstr>Background &amp; Objectives</vt:lpstr>
      <vt:lpstr>Background &amp; Objectives</vt:lpstr>
      <vt:lpstr>Problem Identification</vt:lpstr>
      <vt:lpstr>Problem Identification</vt:lpstr>
      <vt:lpstr>Analysis Overview</vt:lpstr>
      <vt:lpstr>Factors ANALYSED</vt:lpstr>
      <vt:lpstr>General Insights</vt:lpstr>
      <vt:lpstr>Modelling Customers</vt:lpstr>
      <vt:lpstr>Data Analysis Process</vt:lpstr>
      <vt:lpstr>Machine learning modelling</vt:lpstr>
      <vt:lpstr>BUSINESS THRESHOLD  DECISION TREE MODEL</vt:lpstr>
      <vt:lpstr>Customer Segmentation</vt:lpstr>
      <vt:lpstr>Classification Process</vt:lpstr>
      <vt:lpstr>Identified segments</vt:lpstr>
      <vt:lpstr>Segmentation Insights</vt:lpstr>
      <vt:lpstr>Implementation Process Overview</vt:lpstr>
      <vt:lpstr>Recommended Strategies</vt:lpstr>
      <vt:lpstr>Promotional Strategies</vt:lpstr>
      <vt:lpstr>Customer Development Strategies</vt:lpstr>
      <vt:lpstr>PowerPoint Presentation</vt:lpstr>
      <vt:lpstr>Appendix</vt:lpstr>
      <vt:lpstr>Appendix</vt:lpstr>
      <vt:lpstr>Appendix</vt:lpstr>
      <vt:lpstr>Appendix</vt:lpstr>
      <vt:lpstr>Appendix</vt:lpstr>
      <vt:lpstr>Appendix</vt:lpstr>
      <vt:lpstr>Appendix</vt:lpstr>
      <vt:lpstr>Appendix</vt:lpstr>
      <vt:lpstr>Appendix</vt:lpstr>
      <vt:lpstr>Appendix</vt:lpstr>
      <vt:lpstr>Appendix</vt:lpstr>
      <vt:lpstr>Appendix</vt:lpstr>
      <vt:lpstr>Appendix</vt:lpstr>
      <vt:lpstr>Appendix</vt:lpstr>
      <vt:lpstr>Appendix</vt:lpstr>
      <vt:lpstr>Appendix</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ifford  E-Commerce Strategy</dc:title>
  <dc:creator>Tirth Raval</dc:creator>
  <cp:lastModifiedBy>Tirth Raval</cp:lastModifiedBy>
  <cp:revision>2</cp:revision>
  <dcterms:modified xsi:type="dcterms:W3CDTF">2023-12-22T19:16: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FECCC0BA59AA64FB0367448F8D47976</vt:lpwstr>
  </property>
</Properties>
</file>